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69" r:id="rId3"/>
    <p:sldId id="258" r:id="rId4"/>
    <p:sldId id="277" r:id="rId5"/>
    <p:sldId id="278" r:id="rId6"/>
    <p:sldId id="270" r:id="rId7"/>
    <p:sldId id="280" r:id="rId8"/>
    <p:sldId id="281" r:id="rId9"/>
    <p:sldId id="271" r:id="rId10"/>
    <p:sldId id="323" r:id="rId11"/>
    <p:sldId id="324" r:id="rId12"/>
    <p:sldId id="272" r:id="rId13"/>
    <p:sldId id="286" r:id="rId14"/>
    <p:sldId id="325" r:id="rId15"/>
    <p:sldId id="261" r:id="rId16"/>
  </p:sldIdLst>
  <p:sldSz cx="12192000" cy="6858000"/>
  <p:notesSz cx="6858000" cy="9144000"/>
  <p:custDataLst>
    <p:tags r:id="rId1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7F1"/>
    <a:srgbClr val="333258"/>
    <a:srgbClr val="E6E6E6"/>
    <a:srgbClr val="E1F2F7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F72C1D-DF6F-4F83-8A75-80EEE7383280}" v="214" dt="2022-09-29T07:57:50.0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9" autoAdjust="0"/>
    <p:restoredTop sz="96182" autoAdjust="0"/>
  </p:normalViewPr>
  <p:slideViewPr>
    <p:cSldViewPr snapToGrid="0">
      <p:cViewPr varScale="1">
        <p:scale>
          <a:sx n="76" d="100"/>
          <a:sy n="76" d="100"/>
        </p:scale>
        <p:origin x="1186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customXml" Target="../customXml/item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28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Relationship Id="rId27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Zi yi Zhang (Chinasoft Shanghai)" userId="889434de-a257-482e-b37a-310609d597e0" providerId="ADAL" clId="{11F72C1D-DF6F-4F83-8A75-80EEE7383280}"/>
    <pc:docChg chg="custSel modSld modMainMaster">
      <pc:chgData name="Zi yi Zhang (Chinasoft Shanghai)" userId="889434de-a257-482e-b37a-310609d597e0" providerId="ADAL" clId="{11F72C1D-DF6F-4F83-8A75-80EEE7383280}" dt="2022-09-29T07:57:50.092" v="870" actId="947"/>
      <pc:docMkLst>
        <pc:docMk/>
      </pc:docMkLst>
      <pc:sldChg chg="modSp mod">
        <pc:chgData name="Zi yi Zhang (Chinasoft Shanghai)" userId="889434de-a257-482e-b37a-310609d597e0" providerId="ADAL" clId="{11F72C1D-DF6F-4F83-8A75-80EEE7383280}" dt="2022-09-29T07:57:48.282" v="50" actId="947"/>
        <pc:sldMkLst>
          <pc:docMk/>
          <pc:sldMk cId="2271741893" sldId="256"/>
        </pc:sldMkLst>
        <pc:spChg chg="mod">
          <ac:chgData name="Zi yi Zhang (Chinasoft Shanghai)" userId="889434de-a257-482e-b37a-310609d597e0" providerId="ADAL" clId="{11F72C1D-DF6F-4F83-8A75-80EEE7383280}" dt="2022-09-29T07:57:48.234" v="30" actId="947"/>
          <ac:spMkLst>
            <pc:docMk/>
            <pc:sldMk cId="2271741893" sldId="256"/>
            <ac:spMk id="2" creationId="{EC933494-1B63-4A32-964F-D05236799BAA}"/>
          </ac:spMkLst>
        </pc:spChg>
        <pc:spChg chg="mod">
          <ac:chgData name="Zi yi Zhang (Chinasoft Shanghai)" userId="889434de-a257-482e-b37a-310609d597e0" providerId="ADAL" clId="{11F72C1D-DF6F-4F83-8A75-80EEE7383280}" dt="2022-09-29T07:57:48.278" v="46" actId="947"/>
          <ac:spMkLst>
            <pc:docMk/>
            <pc:sldMk cId="2271741893" sldId="256"/>
            <ac:spMk id="4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280" v="48" actId="947"/>
          <ac:spMkLst>
            <pc:docMk/>
            <pc:sldMk cId="2271741893" sldId="256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282" v="50" actId="947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281" v="49" actId="947"/>
          <ac:spMkLst>
            <pc:docMk/>
            <pc:sldMk cId="2271741893" sldId="256"/>
            <ac:spMk id="7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279" v="47" actId="947"/>
          <ac:spMkLst>
            <pc:docMk/>
            <pc:sldMk cId="2271741893" sldId="256"/>
            <ac:spMk id="8" creationId="{8CCB2637-8908-4CDB-9283-B8C083BC3DB5}"/>
          </ac:spMkLst>
        </pc:spChg>
      </pc:sldChg>
      <pc:sldChg chg="modSp mod">
        <pc:chgData name="Zi yi Zhang (Chinasoft Shanghai)" userId="889434de-a257-482e-b37a-310609d597e0" providerId="ADAL" clId="{11F72C1D-DF6F-4F83-8A75-80EEE7383280}" dt="2022-09-29T07:57:48.422" v="98" actId="947"/>
        <pc:sldMkLst>
          <pc:docMk/>
          <pc:sldMk cId="2371597387" sldId="258"/>
        </pc:sldMkLst>
        <pc:spChg chg="mod">
          <ac:chgData name="Zi yi Zhang (Chinasoft Shanghai)" userId="889434de-a257-482e-b37a-310609d597e0" providerId="ADAL" clId="{11F72C1D-DF6F-4F83-8A75-80EEE7383280}" dt="2022-09-29T07:57:48.392" v="90" actId="947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419" v="96" actId="947"/>
          <ac:spMkLst>
            <pc:docMk/>
            <pc:sldMk cId="2371597387" sldId="258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422" v="98" actId="947"/>
          <ac:spMkLst>
            <pc:docMk/>
            <pc:sldMk cId="2371597387" sldId="258"/>
            <ac:spMk id="9" creationId="{04F69230-F3A6-4586-9371-A858F4763E9F}"/>
          </ac:spMkLst>
        </pc:spChg>
      </pc:sldChg>
      <pc:sldChg chg="modSp mod">
        <pc:chgData name="Zi yi Zhang (Chinasoft Shanghai)" userId="889434de-a257-482e-b37a-310609d597e0" providerId="ADAL" clId="{11F72C1D-DF6F-4F83-8A75-80EEE7383280}" dt="2022-09-29T07:57:50.092" v="870" actId="947"/>
        <pc:sldMkLst>
          <pc:docMk/>
          <pc:sldMk cId="1259043032" sldId="261"/>
        </pc:sldMkLst>
        <pc:spChg chg="mod">
          <ac:chgData name="Zi yi Zhang (Chinasoft Shanghai)" userId="889434de-a257-482e-b37a-310609d597e0" providerId="ADAL" clId="{11F72C1D-DF6F-4F83-8A75-80EEE7383280}" dt="2022-09-29T07:57:50.052" v="854" actId="947"/>
          <ac:spMkLst>
            <pc:docMk/>
            <pc:sldMk cId="1259043032" sldId="261"/>
            <ac:spMk id="2" creationId="{FF51F16D-1BAD-46EE-A6F4-B8B94C9DF628}"/>
          </ac:spMkLst>
        </pc:spChg>
        <pc:spChg chg="mod">
          <ac:chgData name="Zi yi Zhang (Chinasoft Shanghai)" userId="889434de-a257-482e-b37a-310609d597e0" providerId="ADAL" clId="{11F72C1D-DF6F-4F83-8A75-80EEE7383280}" dt="2022-09-29T07:57:50.092" v="870" actId="94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50.088" v="867" actId="947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50.090" v="869" actId="947"/>
          <ac:spMkLst>
            <pc:docMk/>
            <pc:sldMk cId="1259043032" sldId="261"/>
            <ac:spMk id="7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50.089" v="868" actId="947"/>
          <ac:spMkLst>
            <pc:docMk/>
            <pc:sldMk cId="1259043032" sldId="261"/>
            <ac:spMk id="8" creationId="{4117FB16-CA89-43F1-B7B2-B65FD3DD3E7A}"/>
          </ac:spMkLst>
        </pc:spChg>
      </pc:sldChg>
      <pc:sldChg chg="delSp modSp mod">
        <pc:chgData name="Zi yi Zhang (Chinasoft Shanghai)" userId="889434de-a257-482e-b37a-310609d597e0" providerId="ADAL" clId="{11F72C1D-DF6F-4F83-8A75-80EEE7383280}" dt="2022-09-29T07:57:48.381" v="86"/>
        <pc:sldMkLst>
          <pc:docMk/>
          <pc:sldMk cId="911933172" sldId="269"/>
        </pc:sldMkLst>
        <pc:spChg chg="mod">
          <ac:chgData name="Zi yi Zhang (Chinasoft Shanghai)" userId="889434de-a257-482e-b37a-310609d597e0" providerId="ADAL" clId="{11F72C1D-DF6F-4F83-8A75-80EEE7383280}" dt="2022-09-29T07:57:48.316" v="54" actId="947"/>
          <ac:spMkLst>
            <pc:docMk/>
            <pc:sldMk cId="911933172" sldId="269"/>
            <ac:spMk id="13" creationId="{62870B9E-CB04-476D-B69B-386687C4D39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79" v="83"/>
          <ac:spMkLst>
            <pc:docMk/>
            <pc:sldMk cId="911933172" sldId="269"/>
            <ac:spMk id="21" creationId="{3D428D32-9C19-422F-AC6C-7344A1AEDDE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77" v="79" actId="947"/>
          <ac:spMkLst>
            <pc:docMk/>
            <pc:sldMk cId="911933172" sldId="269"/>
            <ac:spMk id="22" creationId="{D7ADE1E6-DF43-469A-8C2A-C53ED953C09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79" v="82"/>
          <ac:spMkLst>
            <pc:docMk/>
            <pc:sldMk cId="911933172" sldId="269"/>
            <ac:spMk id="23" creationId="{85461BBA-F8EE-4404-8DFA-8ADDED70B26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81" v="85" actId="947"/>
          <ac:spMkLst>
            <pc:docMk/>
            <pc:sldMk cId="911933172" sldId="269"/>
            <ac:spMk id="24" creationId="{152EAD6F-4B0F-4AFC-A50B-33CE658FEF8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81" v="86"/>
          <ac:spMkLst>
            <pc:docMk/>
            <pc:sldMk cId="911933172" sldId="269"/>
            <ac:spMk id="25" creationId="{19BF383E-24B0-4876-A292-58F560D7EA3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78" v="81" actId="947"/>
          <ac:spMkLst>
            <pc:docMk/>
            <pc:sldMk cId="911933172" sldId="269"/>
            <ac:spMk id="26" creationId="{6A287B0D-EF72-4171-A611-2B7AB64BF8A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73" v="76"/>
          <ac:spMkLst>
            <pc:docMk/>
            <pc:sldMk cId="911933172" sldId="269"/>
            <ac:spMk id="27" creationId="{A8C8BB46-F470-4FFC-8BFC-84C5CFC65B5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380" v="84" actId="947"/>
          <ac:spMkLst>
            <pc:docMk/>
            <pc:sldMk cId="911933172" sldId="269"/>
            <ac:spMk id="28" creationId="{D64663F4-E1C6-4FC6-B625-EBA237ACED54}"/>
          </ac:spMkLst>
        </pc:spChg>
        <pc:grpChg chg="del">
          <ac:chgData name="Zi yi Zhang (Chinasoft Shanghai)" userId="889434de-a257-482e-b37a-310609d597e0" providerId="ADAL" clId="{11F72C1D-DF6F-4F83-8A75-80EEE7383280}" dt="2022-09-29T07:51:49.299" v="5" actId="478"/>
          <ac:grpSpMkLst>
            <pc:docMk/>
            <pc:sldMk cId="911933172" sldId="269"/>
            <ac:grpSpMk id="3" creationId="{FBC46FE1-0D64-4320-8C6F-42B69ECAE911}"/>
          </ac:grpSpMkLst>
        </pc:grpChg>
        <pc:grpChg chg="del">
          <ac:chgData name="Zi yi Zhang (Chinasoft Shanghai)" userId="889434de-a257-482e-b37a-310609d597e0" providerId="ADAL" clId="{11F72C1D-DF6F-4F83-8A75-80EEE7383280}" dt="2022-09-29T07:51:51.466" v="6" actId="165"/>
          <ac:grpSpMkLst>
            <pc:docMk/>
            <pc:sldMk cId="911933172" sldId="269"/>
            <ac:grpSpMk id="16" creationId="{F9BF87D7-24C1-4255-868D-2EB4CD9AA3FD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1:51.794" v="7" actId="165"/>
          <ac:grpSpMkLst>
            <pc:docMk/>
            <pc:sldMk cId="911933172" sldId="269"/>
            <ac:grpSpMk id="17" creationId="{8198F957-B192-4382-99A5-CEEDB5BA469B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1:51.794" v="7" actId="165"/>
          <ac:grpSpMkLst>
            <pc:docMk/>
            <pc:sldMk cId="911933172" sldId="269"/>
            <ac:grpSpMk id="18" creationId="{75F883F3-DC05-49BC-B84B-2FC9DA945910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1:51.794" v="7" actId="165"/>
          <ac:grpSpMkLst>
            <pc:docMk/>
            <pc:sldMk cId="911933172" sldId="269"/>
            <ac:grpSpMk id="19" creationId="{6AB8D5C3-29AD-49B5-8129-AEB6E31EC6E9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1:51.794" v="7" actId="165"/>
          <ac:grpSpMkLst>
            <pc:docMk/>
            <pc:sldMk cId="911933172" sldId="269"/>
            <ac:grpSpMk id="20" creationId="{51CF14AF-DF8B-4495-B14C-1CFF1687A77F}"/>
          </ac:grpSpMkLst>
        </pc:grpChg>
      </pc:sldChg>
      <pc:sldChg chg="modSp mod">
        <pc:chgData name="Zi yi Zhang (Chinasoft Shanghai)" userId="889434de-a257-482e-b37a-310609d597e0" providerId="ADAL" clId="{11F72C1D-DF6F-4F83-8A75-80EEE7383280}" dt="2022-09-29T07:57:48.911" v="294" actId="947"/>
        <pc:sldMkLst>
          <pc:docMk/>
          <pc:sldMk cId="898963817" sldId="270"/>
        </pc:sldMkLst>
        <pc:spChg chg="mod">
          <ac:chgData name="Zi yi Zhang (Chinasoft Shanghai)" userId="889434de-a257-482e-b37a-310609d597e0" providerId="ADAL" clId="{11F72C1D-DF6F-4F83-8A75-80EEE7383280}" dt="2022-09-29T07:57:48.884" v="286" actId="947"/>
          <ac:spMkLst>
            <pc:docMk/>
            <pc:sldMk cId="898963817" sldId="270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911" v="294" actId="947"/>
          <ac:spMkLst>
            <pc:docMk/>
            <pc:sldMk cId="898963817" sldId="270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8.910" v="293" actId="947"/>
          <ac:spMkLst>
            <pc:docMk/>
            <pc:sldMk cId="898963817" sldId="270"/>
            <ac:spMk id="9" creationId="{04F69230-F3A6-4586-9371-A858F4763E9F}"/>
          </ac:spMkLst>
        </pc:spChg>
      </pc:sldChg>
      <pc:sldChg chg="modSp mod">
        <pc:chgData name="Zi yi Zhang (Chinasoft Shanghai)" userId="889434de-a257-482e-b37a-310609d597e0" providerId="ADAL" clId="{11F72C1D-DF6F-4F83-8A75-80EEE7383280}" dt="2022-09-29T07:57:49.244" v="450" actId="947"/>
        <pc:sldMkLst>
          <pc:docMk/>
          <pc:sldMk cId="1646768832" sldId="271"/>
        </pc:sldMkLst>
        <pc:spChg chg="mod">
          <ac:chgData name="Zi yi Zhang (Chinasoft Shanghai)" userId="889434de-a257-482e-b37a-310609d597e0" providerId="ADAL" clId="{11F72C1D-DF6F-4F83-8A75-80EEE7383280}" dt="2022-09-29T07:57:49.219" v="442" actId="947"/>
          <ac:spMkLst>
            <pc:docMk/>
            <pc:sldMk cId="1646768832" sldId="271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9.243" v="449" actId="947"/>
          <ac:spMkLst>
            <pc:docMk/>
            <pc:sldMk cId="1646768832" sldId="271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9.244" v="450" actId="947"/>
          <ac:spMkLst>
            <pc:docMk/>
            <pc:sldMk cId="1646768832" sldId="271"/>
            <ac:spMk id="9" creationId="{04F69230-F3A6-4586-9371-A858F4763E9F}"/>
          </ac:spMkLst>
        </pc:spChg>
      </pc:sldChg>
      <pc:sldChg chg="modSp mod">
        <pc:chgData name="Zi yi Zhang (Chinasoft Shanghai)" userId="889434de-a257-482e-b37a-310609d597e0" providerId="ADAL" clId="{11F72C1D-DF6F-4F83-8A75-80EEE7383280}" dt="2022-09-29T07:57:49.667" v="642" actId="947"/>
        <pc:sldMkLst>
          <pc:docMk/>
          <pc:sldMk cId="2217813087" sldId="272"/>
        </pc:sldMkLst>
        <pc:spChg chg="mod">
          <ac:chgData name="Zi yi Zhang (Chinasoft Shanghai)" userId="889434de-a257-482e-b37a-310609d597e0" providerId="ADAL" clId="{11F72C1D-DF6F-4F83-8A75-80EEE7383280}" dt="2022-09-29T07:57:49.640" v="634" actId="947"/>
          <ac:spMkLst>
            <pc:docMk/>
            <pc:sldMk cId="2217813087" sldId="272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9.667" v="642" actId="947"/>
          <ac:spMkLst>
            <pc:docMk/>
            <pc:sldMk cId="2217813087" sldId="272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11F72C1D-DF6F-4F83-8A75-80EEE7383280}" dt="2022-09-29T07:57:49.663" v="640" actId="947"/>
          <ac:spMkLst>
            <pc:docMk/>
            <pc:sldMk cId="2217813087" sldId="272"/>
            <ac:spMk id="9" creationId="{04F69230-F3A6-4586-9371-A858F4763E9F}"/>
          </ac:spMkLst>
        </pc:spChg>
      </pc:sldChg>
      <pc:sldChg chg="delSp modSp mod">
        <pc:chgData name="Zi yi Zhang (Chinasoft Shanghai)" userId="889434de-a257-482e-b37a-310609d597e0" providerId="ADAL" clId="{11F72C1D-DF6F-4F83-8A75-80EEE7383280}" dt="2022-09-29T07:57:48.588" v="166" actId="947"/>
        <pc:sldMkLst>
          <pc:docMk/>
          <pc:sldMk cId="0" sldId="277"/>
        </pc:sldMkLst>
        <pc:spChg chg="mod">
          <ac:chgData name="Zi yi Zhang (Chinasoft Shanghai)" userId="889434de-a257-482e-b37a-310609d597e0" providerId="ADAL" clId="{11F72C1D-DF6F-4F83-8A75-80EEE7383280}" dt="2022-09-29T07:57:48.445" v="102" actId="947"/>
          <ac:spMkLst>
            <pc:docMk/>
            <pc:sldMk cId="0" sldId="277"/>
            <ac:spMk id="2" creationId="{00000000-0000-0000-0000-00000000000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2" v="160" actId="947"/>
          <ac:spMkLst>
            <pc:docMk/>
            <pc:sldMk cId="0" sldId="277"/>
            <ac:spMk id="38" creationId="{59834CF7-CBEF-4C52-8472-65A8AF9F6A7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8" v="166" actId="947"/>
          <ac:spMkLst>
            <pc:docMk/>
            <pc:sldMk cId="0" sldId="277"/>
            <ac:spMk id="39" creationId="{7882D2DE-1E40-4FF6-A6C6-42C93154A78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0" v="158" actId="947"/>
          <ac:spMkLst>
            <pc:docMk/>
            <pc:sldMk cId="0" sldId="277"/>
            <ac:spMk id="40" creationId="{568B0D84-8924-4DE4-912B-6D60955D27E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0" v="148" actId="947"/>
          <ac:spMkLst>
            <pc:docMk/>
            <pc:sldMk cId="0" sldId="277"/>
            <ac:spMk id="41" creationId="{F3F1940B-F975-442E-A2AD-B786C81938F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4" v="162" actId="947"/>
          <ac:spMkLst>
            <pc:docMk/>
            <pc:sldMk cId="0" sldId="277"/>
            <ac:spMk id="42" creationId="{7ED440B4-7200-4B07-A600-795840F7C9C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5" v="163" actId="947"/>
          <ac:spMkLst>
            <pc:docMk/>
            <pc:sldMk cId="0" sldId="277"/>
            <ac:spMk id="43" creationId="{5BC5A8A8-26B8-47AB-9864-2BD8626FCD1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6" v="153" actId="947"/>
          <ac:spMkLst>
            <pc:docMk/>
            <pc:sldMk cId="0" sldId="277"/>
            <ac:spMk id="44" creationId="{E9519D6D-2ADD-4730-965F-7AB26AFF542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9" v="156" actId="947"/>
          <ac:spMkLst>
            <pc:docMk/>
            <pc:sldMk cId="0" sldId="277"/>
            <ac:spMk id="45" creationId="{C7D03771-5056-4D03-9533-D263905E856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57" v="137" actId="947"/>
          <ac:spMkLst>
            <pc:docMk/>
            <pc:sldMk cId="0" sldId="277"/>
            <ac:spMk id="46" creationId="{F518FE50-4186-4494-AFAE-5CCD16DA01C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3" v="161" actId="947"/>
          <ac:spMkLst>
            <pc:docMk/>
            <pc:sldMk cId="0" sldId="277"/>
            <ac:spMk id="47" creationId="{5A61E26F-DA3C-48E2-B585-FD45432B563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2" v="150" actId="947"/>
          <ac:spMkLst>
            <pc:docMk/>
            <pc:sldMk cId="0" sldId="277"/>
            <ac:spMk id="48" creationId="{A54CA746-B744-4C01-922A-534DC0ED01D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3" v="151" actId="947"/>
          <ac:spMkLst>
            <pc:docMk/>
            <pc:sldMk cId="0" sldId="277"/>
            <ac:spMk id="49" creationId="{FDEA1EC8-D7ED-4409-A447-C22755A4A1A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87" v="165" actId="947"/>
          <ac:spMkLst>
            <pc:docMk/>
            <pc:sldMk cId="0" sldId="277"/>
            <ac:spMk id="50" creationId="{6AAA48B7-0576-4678-9EB0-E6597C01E69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9" v="157" actId="947"/>
          <ac:spMkLst>
            <pc:docMk/>
            <pc:sldMk cId="0" sldId="277"/>
            <ac:spMk id="51" creationId="{4A80B290-7ACE-41C6-8EFC-9C9CBB391ED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77" v="154" actId="947"/>
          <ac:spMkLst>
            <pc:docMk/>
            <pc:sldMk cId="0" sldId="277"/>
            <ac:spMk id="52" creationId="{53DC61E5-EC66-4157-B326-3CBF905B2FB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555" v="136" actId="947"/>
          <ac:spMkLst>
            <pc:docMk/>
            <pc:sldMk cId="0" sldId="277"/>
            <ac:spMk id="53" creationId="{84CCFC7A-DAA3-448C-B6CC-F70381F9CA2E}"/>
          </ac:spMkLst>
        </pc:spChg>
        <pc:grpChg chg="del">
          <ac:chgData name="Zi yi Zhang (Chinasoft Shanghai)" userId="889434de-a257-482e-b37a-310609d597e0" providerId="ADAL" clId="{11F72C1D-DF6F-4F83-8A75-80EEE7383280}" dt="2022-09-29T07:51:57.264" v="8" actId="165"/>
          <ac:grpSpMkLst>
            <pc:docMk/>
            <pc:sldMk cId="0" sldId="277"/>
            <ac:grpSpMk id="32" creationId="{28CCF14F-2265-41F3-B674-61216A35218D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1:57.550" v="9" actId="165"/>
          <ac:grpSpMkLst>
            <pc:docMk/>
            <pc:sldMk cId="0" sldId="277"/>
            <ac:grpSpMk id="33" creationId="{F585FABB-BB94-4C7D-8A14-BBC0E51F21E2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1:57.550" v="9" actId="165"/>
          <ac:grpSpMkLst>
            <pc:docMk/>
            <pc:sldMk cId="0" sldId="277"/>
            <ac:grpSpMk id="34" creationId="{B5E6B3D1-0F8A-4CFE-8CC9-D8F307FF9165}"/>
          </ac:grpSpMkLst>
        </pc:grpChg>
        <pc:cxnChg chg="mod topLvl">
          <ac:chgData name="Zi yi Zhang (Chinasoft Shanghai)" userId="889434de-a257-482e-b37a-310609d597e0" providerId="ADAL" clId="{11F72C1D-DF6F-4F83-8A75-80EEE7383280}" dt="2022-09-29T07:51:57.264" v="8" actId="165"/>
          <ac:cxnSpMkLst>
            <pc:docMk/>
            <pc:sldMk cId="0" sldId="277"/>
            <ac:cxnSpMk id="35" creationId="{178E7AC0-44DA-4A5B-BAEE-DA0422133562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1:57.264" v="8" actId="165"/>
          <ac:cxnSpMkLst>
            <pc:docMk/>
            <pc:sldMk cId="0" sldId="277"/>
            <ac:cxnSpMk id="36" creationId="{534ED030-9C9A-4564-94FF-16DC9DFD1703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1:57.264" v="8" actId="165"/>
          <ac:cxnSpMkLst>
            <pc:docMk/>
            <pc:sldMk cId="0" sldId="277"/>
            <ac:cxnSpMk id="37" creationId="{621DEDD0-0C83-45B5-9DD1-8A17BA2B3747}"/>
          </ac:cxnSpMkLst>
        </pc:cxnChg>
      </pc:sldChg>
      <pc:sldChg chg="delSp modSp mod">
        <pc:chgData name="Zi yi Zhang (Chinasoft Shanghai)" userId="889434de-a257-482e-b37a-310609d597e0" providerId="ADAL" clId="{11F72C1D-DF6F-4F83-8A75-80EEE7383280}" dt="2022-09-29T07:57:48.849" v="282" actId="947"/>
        <pc:sldMkLst>
          <pc:docMk/>
          <pc:sldMk cId="0" sldId="278"/>
        </pc:sldMkLst>
        <pc:spChg chg="mod">
          <ac:chgData name="Zi yi Zhang (Chinasoft Shanghai)" userId="889434de-a257-482e-b37a-310609d597e0" providerId="ADAL" clId="{11F72C1D-DF6F-4F83-8A75-80EEE7383280}" dt="2022-09-29T07:57:48.611" v="170" actId="947"/>
          <ac:spMkLst>
            <pc:docMk/>
            <pc:sldMk cId="0" sldId="278"/>
            <ac:spMk id="2" creationId="{00000000-0000-0000-0000-00000000000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9" v="282" actId="947"/>
          <ac:spMkLst>
            <pc:docMk/>
            <pc:sldMk cId="0" sldId="278"/>
            <ac:spMk id="938" creationId="{CDFFB33C-1DFF-4C00-A4DA-F73FD6806FB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26" v="257" actId="947"/>
          <ac:spMkLst>
            <pc:docMk/>
            <pc:sldMk cId="0" sldId="278"/>
            <ac:spMk id="939" creationId="{E0DFF941-9D6A-4504-A302-4970645D6D1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23" v="253" actId="947"/>
          <ac:spMkLst>
            <pc:docMk/>
            <pc:sldMk cId="0" sldId="278"/>
            <ac:spMk id="940" creationId="{A981902C-99D2-475C-B2ED-FD8B4E3D1D7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8" v="281" actId="947"/>
          <ac:spMkLst>
            <pc:docMk/>
            <pc:sldMk cId="0" sldId="278"/>
            <ac:spMk id="941" creationId="{FB702765-A91D-42C2-9B91-C7ACE3D09F3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782" v="214" actId="947"/>
          <ac:spMkLst>
            <pc:docMk/>
            <pc:sldMk cId="0" sldId="278"/>
            <ac:spMk id="949" creationId="{7774D8B3-F5B4-4A7C-9A59-6465B321B6F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2" v="273" actId="947"/>
          <ac:spMkLst>
            <pc:docMk/>
            <pc:sldMk cId="0" sldId="278"/>
            <ac:spMk id="954" creationId="{BFA538DF-7A80-4C8F-A98A-B9B0FD89DA3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5" v="277" actId="947"/>
          <ac:spMkLst>
            <pc:docMk/>
            <pc:sldMk cId="0" sldId="278"/>
            <ac:spMk id="955" creationId="{37CBBC94-D2AF-4D6E-BDB8-9BA8572ADDF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13" v="243" actId="947"/>
          <ac:spMkLst>
            <pc:docMk/>
            <pc:sldMk cId="0" sldId="278"/>
            <ac:spMk id="956" creationId="{D34C960D-7A49-4C39-B113-7D7C0151E93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37" v="266" actId="947"/>
          <ac:spMkLst>
            <pc:docMk/>
            <pc:sldMk cId="0" sldId="278"/>
            <ac:spMk id="957" creationId="{36F4B47F-3B13-4A73-BBA9-039A78F2737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28" v="259" actId="947"/>
          <ac:spMkLst>
            <pc:docMk/>
            <pc:sldMk cId="0" sldId="278"/>
            <ac:spMk id="958" creationId="{E86375DC-D757-4110-A5A9-AF1087C1115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10" v="241" actId="947"/>
          <ac:spMkLst>
            <pc:docMk/>
            <pc:sldMk cId="0" sldId="278"/>
            <ac:spMk id="959" creationId="{58AAD953-1BFB-4996-9955-2EA5F4E5B49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1" v="271" actId="947"/>
          <ac:spMkLst>
            <pc:docMk/>
            <pc:sldMk cId="0" sldId="278"/>
            <ac:spMk id="960" creationId="{EF77D14C-8625-4794-93D3-19498E339AA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04" v="234" actId="947"/>
          <ac:spMkLst>
            <pc:docMk/>
            <pc:sldMk cId="0" sldId="278"/>
            <ac:spMk id="961" creationId="{CBB900C4-42BA-42FC-8505-6C5F5BC1534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00" v="231"/>
          <ac:spMkLst>
            <pc:docMk/>
            <pc:sldMk cId="0" sldId="278"/>
            <ac:spMk id="962" creationId="{4568956E-65C3-4C65-9F9A-7DD57758380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3" v="275"/>
          <ac:spMkLst>
            <pc:docMk/>
            <pc:sldMk cId="0" sldId="278"/>
            <ac:spMk id="963" creationId="{62F003D1-4F32-4A43-B290-67CE3621C55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04" v="235"/>
          <ac:spMkLst>
            <pc:docMk/>
            <pc:sldMk cId="0" sldId="278"/>
            <ac:spMk id="964" creationId="{257D33E9-B41C-4848-A85F-34ACFC5E30B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797" v="228"/>
          <ac:spMkLst>
            <pc:docMk/>
            <pc:sldMk cId="0" sldId="278"/>
            <ac:spMk id="965" creationId="{F4D9035E-C32F-4C3D-9429-78CA6D54369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39" v="269"/>
          <ac:spMkLst>
            <pc:docMk/>
            <pc:sldMk cId="0" sldId="278"/>
            <ac:spMk id="966" creationId="{67A3BB5F-7310-431C-B5F0-BE18B4701F9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16" v="246"/>
          <ac:spMkLst>
            <pc:docMk/>
            <pc:sldMk cId="0" sldId="278"/>
            <ac:spMk id="967" creationId="{11C1EBC2-BF22-412C-A19F-42E00AD3E0D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23" v="254"/>
          <ac:spMkLst>
            <pc:docMk/>
            <pc:sldMk cId="0" sldId="278"/>
            <ac:spMk id="968" creationId="{E7E9EE0D-C510-4BEA-BECB-DE85D49A5F8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3" v="274"/>
          <ac:spMkLst>
            <pc:docMk/>
            <pc:sldMk cId="0" sldId="278"/>
            <ac:spMk id="969" creationId="{134CCFEA-A64A-42C6-8216-E734BE34861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29" v="260" actId="947"/>
          <ac:spMkLst>
            <pc:docMk/>
            <pc:sldMk cId="0" sldId="278"/>
            <ac:spMk id="970" creationId="{643AABDB-5864-4C1B-BC77-2940FD80374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39" v="268" actId="947"/>
          <ac:spMkLst>
            <pc:docMk/>
            <pc:sldMk cId="0" sldId="278"/>
            <ac:spMk id="971" creationId="{4EA8B4D4-CD36-4D5F-897D-983D060ADD5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7" v="279" actId="947"/>
          <ac:spMkLst>
            <pc:docMk/>
            <pc:sldMk cId="0" sldId="278"/>
            <ac:spMk id="972" creationId="{37ED1BCC-FF13-49ED-AC47-008FE73FB48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4" v="276" actId="947"/>
          <ac:spMkLst>
            <pc:docMk/>
            <pc:sldMk cId="0" sldId="278"/>
            <ac:spMk id="973" creationId="{A4A1AD5D-4F6C-47D6-953E-653E241CCB9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755" v="202" actId="947"/>
          <ac:spMkLst>
            <pc:docMk/>
            <pc:sldMk cId="0" sldId="278"/>
            <ac:spMk id="974" creationId="{36ADE620-A2E6-478A-B551-AAB204B2754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779" v="210" actId="947"/>
          <ac:spMkLst>
            <pc:docMk/>
            <pc:sldMk cId="0" sldId="278"/>
            <ac:spMk id="975" creationId="{511CF227-3EBA-4A61-B7B1-40CC0364721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8.847" v="280" actId="947"/>
          <ac:spMkLst>
            <pc:docMk/>
            <pc:sldMk cId="0" sldId="278"/>
            <ac:spMk id="976" creationId="{66A8EEBE-E8A0-45CA-BB24-3767F6B3F640}"/>
          </ac:spMkLst>
        </pc:spChg>
        <pc:grpChg chg="del">
          <ac:chgData name="Zi yi Zhang (Chinasoft Shanghai)" userId="889434de-a257-482e-b37a-310609d597e0" providerId="ADAL" clId="{11F72C1D-DF6F-4F83-8A75-80EEE7383280}" dt="2022-09-29T07:52:00.928" v="10" actId="165"/>
          <ac:grpSpMkLst>
            <pc:docMk/>
            <pc:sldMk cId="0" sldId="278"/>
            <ac:grpSpMk id="937" creationId="{8FBF2C8A-CDC3-4646-8D92-6F48ABDD484A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42" creationId="{E577BE23-0193-43B0-9501-38D75674C1C7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43" creationId="{1EA79FA4-56F9-4707-8C78-1CDDC90B86F2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44" creationId="{AB9060F9-CCDB-4B1A-A37E-C444AB673C6D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45" creationId="{5E750F4B-7AB1-4C3C-995C-55A0A52B8B12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46" creationId="{EA1D1210-CBAA-4832-9377-EAF72CBF6F8F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50" creationId="{128E18A2-AF2F-4E03-8E4B-88367D200C6F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51" creationId="{4DB85288-29FB-4CAE-96D2-986448507464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52" creationId="{6BFAF9C0-ADB1-4FF6-A34E-C5179650C839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2:01.212" v="11" actId="165"/>
          <ac:grpSpMkLst>
            <pc:docMk/>
            <pc:sldMk cId="0" sldId="278"/>
            <ac:grpSpMk id="953" creationId="{016C37D6-40A7-45FA-A8A2-725E3D3FEA27}"/>
          </ac:grpSpMkLst>
        </pc:grpChg>
        <pc:cxnChg chg="mod topLvl">
          <ac:chgData name="Zi yi Zhang (Chinasoft Shanghai)" userId="889434de-a257-482e-b37a-310609d597e0" providerId="ADAL" clId="{11F72C1D-DF6F-4F83-8A75-80EEE7383280}" dt="2022-09-29T07:52:00.928" v="10" actId="165"/>
          <ac:cxnSpMkLst>
            <pc:docMk/>
            <pc:sldMk cId="0" sldId="278"/>
            <ac:cxnSpMk id="947" creationId="{A42D814A-6D76-4680-8E2D-A7AB5CEE3999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2:00.928" v="10" actId="165"/>
          <ac:cxnSpMkLst>
            <pc:docMk/>
            <pc:sldMk cId="0" sldId="278"/>
            <ac:cxnSpMk id="948" creationId="{937EB04E-6422-4262-A2E8-5687DEDFD5D1}"/>
          </ac:cxnSpMkLst>
        </pc:cxnChg>
      </pc:sldChg>
      <pc:sldChg chg="delSp modSp mod">
        <pc:chgData name="Zi yi Zhang (Chinasoft Shanghai)" userId="889434de-a257-482e-b37a-310609d597e0" providerId="ADAL" clId="{11F72C1D-DF6F-4F83-8A75-80EEE7383280}" dt="2022-09-29T07:57:49.060" v="370"/>
        <pc:sldMkLst>
          <pc:docMk/>
          <pc:sldMk cId="0" sldId="280"/>
        </pc:sldMkLst>
        <pc:spChg chg="mod">
          <ac:chgData name="Zi yi Zhang (Chinasoft Shanghai)" userId="889434de-a257-482e-b37a-310609d597e0" providerId="ADAL" clId="{11F72C1D-DF6F-4F83-8A75-80EEE7383280}" dt="2022-09-29T07:57:48.924" v="298" actId="947"/>
          <ac:spMkLst>
            <pc:docMk/>
            <pc:sldMk cId="0" sldId="280"/>
            <ac:spMk id="2" creationId="{00000000-0000-0000-0000-00000000000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22" v="328"/>
          <ac:spMkLst>
            <pc:docMk/>
            <pc:sldMk cId="0" sldId="280"/>
            <ac:spMk id="198" creationId="{52645CBF-B751-45BB-A28B-5CF892FDFE7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60" v="370"/>
          <ac:spMkLst>
            <pc:docMk/>
            <pc:sldMk cId="0" sldId="280"/>
            <ac:spMk id="199" creationId="{39BBCF5A-AF50-4C32-9FA7-DCF08BA8D8B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44" v="352"/>
          <ac:spMkLst>
            <pc:docMk/>
            <pc:sldMk cId="0" sldId="280"/>
            <ac:spMk id="200" creationId="{725F3877-86CF-4DA6-A42E-0371F906909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5" v="364"/>
          <ac:spMkLst>
            <pc:docMk/>
            <pc:sldMk cId="0" sldId="280"/>
            <ac:spMk id="201" creationId="{C021139A-3D48-406C-97A4-A6C756A50D9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2" v="360" actId="947"/>
          <ac:spMkLst>
            <pc:docMk/>
            <pc:sldMk cId="0" sldId="280"/>
            <ac:spMk id="202" creationId="{9C0015BD-83F8-42B2-A859-1D18B36BA86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46" v="355" actId="947"/>
          <ac:spMkLst>
            <pc:docMk/>
            <pc:sldMk cId="0" sldId="280"/>
            <ac:spMk id="203" creationId="{9B9EF497-603F-4ABC-BA24-49C39E18216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9" v="369" actId="947"/>
          <ac:spMkLst>
            <pc:docMk/>
            <pc:sldMk cId="0" sldId="280"/>
            <ac:spMk id="204" creationId="{F7A6D75C-A1F9-4367-93AB-D4C02FC68E6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35" v="343" actId="947"/>
          <ac:spMkLst>
            <pc:docMk/>
            <pc:sldMk cId="0" sldId="280"/>
            <ac:spMk id="205" creationId="{5A72A738-F48C-4153-86BA-155E86DAB85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30" v="337" actId="947"/>
          <ac:spMkLst>
            <pc:docMk/>
            <pc:sldMk cId="0" sldId="280"/>
            <ac:spMk id="206" creationId="{2AA749EB-58EE-46AA-BC80-3F9F71A34E8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7" v="367" actId="947"/>
          <ac:spMkLst>
            <pc:docMk/>
            <pc:sldMk cId="0" sldId="280"/>
            <ac:spMk id="207" creationId="{327449F3-EAF4-4141-8353-AD3A9235052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26" v="333" actId="947"/>
          <ac:spMkLst>
            <pc:docMk/>
            <pc:sldMk cId="0" sldId="280"/>
            <ac:spMk id="208" creationId="{034C5F55-6C21-47EB-A87F-0602E5652E2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37" v="345"/>
          <ac:spMkLst>
            <pc:docMk/>
            <pc:sldMk cId="0" sldId="280"/>
            <ac:spMk id="209" creationId="{CBAF4950-0A9D-4405-9FD0-3AC07433607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6" v="366" actId="947"/>
          <ac:spMkLst>
            <pc:docMk/>
            <pc:sldMk cId="0" sldId="280"/>
            <ac:spMk id="210" creationId="{BBF4125F-1CC9-4ADA-BBA6-BB549997E55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4" v="363"/>
          <ac:spMkLst>
            <pc:docMk/>
            <pc:sldMk cId="0" sldId="280"/>
            <ac:spMk id="211" creationId="{88340A26-B560-4258-86F6-C600DC35CF2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31" v="338" actId="947"/>
          <ac:spMkLst>
            <pc:docMk/>
            <pc:sldMk cId="0" sldId="280"/>
            <ac:spMk id="212" creationId="{3FB55AF9-9B0D-4280-BE0D-64189162693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2" v="359"/>
          <ac:spMkLst>
            <pc:docMk/>
            <pc:sldMk cId="0" sldId="280"/>
            <ac:spMk id="213" creationId="{9D5F1A5B-0F84-463D-8F69-AA2506659EF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5" v="365" actId="947"/>
          <ac:spMkLst>
            <pc:docMk/>
            <pc:sldMk cId="0" sldId="280"/>
            <ac:spMk id="214" creationId="{303266C0-F0C6-4F49-A4BA-6A4BE01A509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053" v="361"/>
          <ac:spMkLst>
            <pc:docMk/>
            <pc:sldMk cId="0" sldId="280"/>
            <ac:spMk id="215" creationId="{0FB86B8A-C6EE-4CDA-84ED-9D52C99D2290}"/>
          </ac:spMkLst>
        </pc:spChg>
        <pc:grpChg chg="del">
          <ac:chgData name="Zi yi Zhang (Chinasoft Shanghai)" userId="889434de-a257-482e-b37a-310609d597e0" providerId="ADAL" clId="{11F72C1D-DF6F-4F83-8A75-80EEE7383280}" dt="2022-09-29T07:52:04.475" v="12" actId="165"/>
          <ac:grpSpMkLst>
            <pc:docMk/>
            <pc:sldMk cId="0" sldId="280"/>
            <ac:grpSpMk id="197" creationId="{06C7B812-F4E2-4405-AB71-D9D8BCB8A85E}"/>
          </ac:grpSpMkLst>
        </pc:grpChg>
      </pc:sldChg>
      <pc:sldChg chg="delSp modSp mod">
        <pc:chgData name="Zi yi Zhang (Chinasoft Shanghai)" userId="889434de-a257-482e-b37a-310609d597e0" providerId="ADAL" clId="{11F72C1D-DF6F-4F83-8A75-80EEE7383280}" dt="2022-09-29T07:57:49.212" v="438" actId="947"/>
        <pc:sldMkLst>
          <pc:docMk/>
          <pc:sldMk cId="0" sldId="281"/>
        </pc:sldMkLst>
        <pc:spChg chg="mod">
          <ac:chgData name="Zi yi Zhang (Chinasoft Shanghai)" userId="889434de-a257-482e-b37a-310609d597e0" providerId="ADAL" clId="{11F72C1D-DF6F-4F83-8A75-80EEE7383280}" dt="2022-09-29T07:57:49.077" v="374" actId="947"/>
          <ac:spMkLst>
            <pc:docMk/>
            <pc:sldMk cId="0" sldId="281"/>
            <ac:spMk id="2" creationId="{00000000-0000-0000-0000-00000000000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88" v="420" actId="947"/>
          <ac:spMkLst>
            <pc:docMk/>
            <pc:sldMk cId="0" sldId="281"/>
            <ac:spMk id="95" creationId="{5296FF39-504F-48F1-A050-0A20FD2FFB7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54" v="391" actId="947"/>
          <ac:spMkLst>
            <pc:docMk/>
            <pc:sldMk cId="0" sldId="281"/>
            <ac:spMk id="102" creationId="{88596F63-883D-4C79-86C9-024CF6B1F5FE}"/>
          </ac:spMkLst>
        </pc:spChg>
        <pc:spChg chg="mod">
          <ac:chgData name="Zi yi Zhang (Chinasoft Shanghai)" userId="889434de-a257-482e-b37a-310609d597e0" providerId="ADAL" clId="{11F72C1D-DF6F-4F83-8A75-80EEE7383280}" dt="2022-09-29T07:57:49.196" v="429" actId="947"/>
          <ac:spMkLst>
            <pc:docMk/>
            <pc:sldMk cId="0" sldId="281"/>
            <ac:spMk id="104" creationId="{2699A438-37B3-4173-8F21-ADEF97150E2C}"/>
          </ac:spMkLst>
        </pc:spChg>
        <pc:spChg chg="mod">
          <ac:chgData name="Zi yi Zhang (Chinasoft Shanghai)" userId="889434de-a257-482e-b37a-310609d597e0" providerId="ADAL" clId="{11F72C1D-DF6F-4F83-8A75-80EEE7383280}" dt="2022-09-29T07:57:49.212" v="438" actId="947"/>
          <ac:spMkLst>
            <pc:docMk/>
            <pc:sldMk cId="0" sldId="281"/>
            <ac:spMk id="105" creationId="{F6F41EFA-8A7F-43F6-B3C7-46329C4D1A5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79" v="414" actId="947"/>
          <ac:spMkLst>
            <pc:docMk/>
            <pc:sldMk cId="0" sldId="281"/>
            <ac:spMk id="106" creationId="{E56024A4-5E38-428F-9753-7950A288F8F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201" v="433" actId="947"/>
          <ac:spMkLst>
            <pc:docMk/>
            <pc:sldMk cId="0" sldId="281"/>
            <ac:spMk id="107" creationId="{16ABD782-4101-4D9D-8B70-E6AE1AE7F24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99" v="431" actId="947"/>
          <ac:spMkLst>
            <pc:docMk/>
            <pc:sldMk cId="0" sldId="281"/>
            <ac:spMk id="108" creationId="{397BC044-E6A9-4C00-9146-00F628B0D4E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200" v="432" actId="947"/>
          <ac:spMkLst>
            <pc:docMk/>
            <pc:sldMk cId="0" sldId="281"/>
            <ac:spMk id="109" creationId="{158355A4-C62E-4C3D-91B4-41CE7C1A921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68" v="404" actId="947"/>
          <ac:spMkLst>
            <pc:docMk/>
            <pc:sldMk cId="0" sldId="281"/>
            <ac:spMk id="110" creationId="{ECC6B6F0-33D9-4774-B209-A5589B566A9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97" v="430" actId="947"/>
          <ac:spMkLst>
            <pc:docMk/>
            <pc:sldMk cId="0" sldId="281"/>
            <ac:spMk id="111" creationId="{73ED7D82-B228-45CE-BDF8-03AB2B8B9D4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91" v="424" actId="947"/>
          <ac:spMkLst>
            <pc:docMk/>
            <pc:sldMk cId="0" sldId="281"/>
            <ac:spMk id="112" creationId="{8F8B44E4-0810-4F2C-8635-D10841146B2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89" v="421" actId="947"/>
          <ac:spMkLst>
            <pc:docMk/>
            <pc:sldMk cId="0" sldId="281"/>
            <ac:spMk id="113" creationId="{C37F29B9-8C48-43C7-ADED-DC4F96D001D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77" v="411" actId="947"/>
          <ac:spMkLst>
            <pc:docMk/>
            <pc:sldMk cId="0" sldId="281"/>
            <ac:spMk id="114" creationId="{C4D9AECF-DCA9-4B49-A0B0-86033369651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92" v="425" actId="947"/>
          <ac:spMkLst>
            <pc:docMk/>
            <pc:sldMk cId="0" sldId="281"/>
            <ac:spMk id="115" creationId="{CE61F9DD-6B67-4044-80EF-FD13B73EFF3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202" v="434" actId="947"/>
          <ac:spMkLst>
            <pc:docMk/>
            <pc:sldMk cId="0" sldId="281"/>
            <ac:spMk id="116" creationId="{135696F6-3118-4A27-B272-2B95F49DDDD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187" v="419" actId="947"/>
          <ac:spMkLst>
            <pc:docMk/>
            <pc:sldMk cId="0" sldId="281"/>
            <ac:spMk id="117" creationId="{B86AEB81-A3F0-43B8-8AB8-635EF7B7EA6F}"/>
          </ac:spMkLst>
        </pc:spChg>
        <pc:grpChg chg="del">
          <ac:chgData name="Zi yi Zhang (Chinasoft Shanghai)" userId="889434de-a257-482e-b37a-310609d597e0" providerId="ADAL" clId="{11F72C1D-DF6F-4F83-8A75-80EEE7383280}" dt="2022-09-29T07:57:12.922" v="13" actId="165"/>
          <ac:grpSpMkLst>
            <pc:docMk/>
            <pc:sldMk cId="0" sldId="281"/>
            <ac:grpSpMk id="94" creationId="{769EC5FA-546B-44CC-B3F8-D4E063AC05BD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96" creationId="{7AFEBDBA-D96F-498C-A06B-A2A4A1CD90A9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97" creationId="{E45C94E6-9FFB-417A-90FE-EBA342D34A08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98" creationId="{321843D1-A525-4C65-9D4D-2725BC6F31E9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99" creationId="{2A2F60EB-5C53-46F5-9BC8-46AA2375AE65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100" creationId="{0AD500E3-56E9-4DAB-A592-2DD75795A309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101" creationId="{24FD28B2-5D2C-4ED3-88CE-1CE2D2A53998}"/>
          </ac:grpSpMkLst>
        </pc:grpChg>
        <pc:grpChg chg="mod topLvl">
          <ac:chgData name="Zi yi Zhang (Chinasoft Shanghai)" userId="889434de-a257-482e-b37a-310609d597e0" providerId="ADAL" clId="{11F72C1D-DF6F-4F83-8A75-80EEE7383280}" dt="2022-09-29T07:57:13.286" v="14" actId="165"/>
          <ac:grpSpMkLst>
            <pc:docMk/>
            <pc:sldMk cId="0" sldId="281"/>
            <ac:grpSpMk id="103" creationId="{A2053C96-9A1B-45BC-81C2-1F677899F3BE}"/>
          </ac:grpSpMkLst>
        </pc:grpChg>
      </pc:sldChg>
      <pc:sldChg chg="delSp modSp mod">
        <pc:chgData name="Zi yi Zhang (Chinasoft Shanghai)" userId="889434de-a257-482e-b37a-310609d597e0" providerId="ADAL" clId="{11F72C1D-DF6F-4F83-8A75-80EEE7383280}" dt="2022-09-29T07:57:49.833" v="722" actId="947"/>
        <pc:sldMkLst>
          <pc:docMk/>
          <pc:sldMk cId="0" sldId="286"/>
        </pc:sldMkLst>
        <pc:spChg chg="mod">
          <ac:chgData name="Zi yi Zhang (Chinasoft Shanghai)" userId="889434de-a257-482e-b37a-310609d597e0" providerId="ADAL" clId="{11F72C1D-DF6F-4F83-8A75-80EEE7383280}" dt="2022-09-29T07:57:49.687" v="646" actId="947"/>
          <ac:spMkLst>
            <pc:docMk/>
            <pc:sldMk cId="0" sldId="286"/>
            <ac:spMk id="2" creationId="{00000000-0000-0000-0000-00000000000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6" v="714" actId="947"/>
          <ac:spMkLst>
            <pc:docMk/>
            <pc:sldMk cId="0" sldId="286"/>
            <ac:spMk id="37" creationId="{4C6D6191-0C44-444E-AFE4-A4B4D7435C9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99" v="658" actId="947"/>
          <ac:spMkLst>
            <pc:docMk/>
            <pc:sldMk cId="0" sldId="286"/>
            <ac:spMk id="38" creationId="{12160924-89AE-4F25-949D-396B58BF81B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08" v="698"/>
          <ac:spMkLst>
            <pc:docMk/>
            <pc:sldMk cId="0" sldId="286"/>
            <ac:spMk id="39" creationId="{3AA05FC8-2981-43CF-95FE-485CC171EA2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19" v="708" actId="947"/>
          <ac:spMkLst>
            <pc:docMk/>
            <pc:sldMk cId="0" sldId="286"/>
            <ac:spMk id="42" creationId="{502DF840-EA2F-48FE-9FB8-DCC0D282ED5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95" v="654" actId="947"/>
          <ac:spMkLst>
            <pc:docMk/>
            <pc:sldMk cId="0" sldId="286"/>
            <ac:spMk id="43" creationId="{800C30F5-022B-43CA-A3E4-F0824A35406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31" v="720"/>
          <ac:spMkLst>
            <pc:docMk/>
            <pc:sldMk cId="0" sldId="286"/>
            <ac:spMk id="44" creationId="{D36924A8-B54E-4FF7-A243-B9E176D0843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06" v="696" actId="947"/>
          <ac:spMkLst>
            <pc:docMk/>
            <pc:sldMk cId="0" sldId="286"/>
            <ac:spMk id="45" creationId="{95C5CDAD-FCEF-4D66-A676-F70519B8D36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4" v="712" actId="947"/>
          <ac:spMkLst>
            <pc:docMk/>
            <pc:sldMk cId="0" sldId="286"/>
            <ac:spMk id="46" creationId="{604F5681-A451-4AC4-B641-3AE4A16DD7C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91" v="650" actId="947"/>
          <ac:spMkLst>
            <pc:docMk/>
            <pc:sldMk cId="0" sldId="286"/>
            <ac:spMk id="47" creationId="{03106123-6711-4B40-BA1F-CBC5B73D6F3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797" v="688" actId="947"/>
          <ac:spMkLst>
            <pc:docMk/>
            <pc:sldMk cId="0" sldId="286"/>
            <ac:spMk id="49" creationId="{7F877AAF-68BD-460F-A187-2382416EF8D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32" v="721" actId="947"/>
          <ac:spMkLst>
            <pc:docMk/>
            <pc:sldMk cId="0" sldId="286"/>
            <ac:spMk id="50" creationId="{D93BD21E-3782-48D9-8BD3-8F9459E11CA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8" v="717" actId="947"/>
          <ac:spMkLst>
            <pc:docMk/>
            <pc:sldMk cId="0" sldId="286"/>
            <ac:spMk id="51" creationId="{C020E4B0-B56F-4CC2-B5EC-DF639A0FEB1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3" v="711" actId="947"/>
          <ac:spMkLst>
            <pc:docMk/>
            <pc:sldMk cId="0" sldId="286"/>
            <ac:spMk id="52" creationId="{C7A4A60A-3D75-4AAE-B40F-69730807847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7" v="715" actId="947"/>
          <ac:spMkLst>
            <pc:docMk/>
            <pc:sldMk cId="0" sldId="286"/>
            <ac:spMk id="53" creationId="{12A23301-AE86-4D48-B2B2-54B04751DF2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30" v="719" actId="947"/>
          <ac:spMkLst>
            <pc:docMk/>
            <pc:sldMk cId="0" sldId="286"/>
            <ac:spMk id="54" creationId="{D2403CDD-4678-4FB5-B83D-A386068E157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0" v="709" actId="947"/>
          <ac:spMkLst>
            <pc:docMk/>
            <pc:sldMk cId="0" sldId="286"/>
            <ac:spMk id="55" creationId="{A75EEECF-328E-4638-B109-39450EAC019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29" v="718" actId="947"/>
          <ac:spMkLst>
            <pc:docMk/>
            <pc:sldMk cId="0" sldId="286"/>
            <ac:spMk id="56" creationId="{3E2BCE0A-27F1-4DF1-BDB5-DC2BFBD192B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33" v="722" actId="947"/>
          <ac:spMkLst>
            <pc:docMk/>
            <pc:sldMk cId="0" sldId="286"/>
            <ac:spMk id="57" creationId="{9DC21EA9-C83F-40C3-8DA9-E8634821365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11" v="701" actId="947"/>
          <ac:spMkLst>
            <pc:docMk/>
            <pc:sldMk cId="0" sldId="286"/>
            <ac:spMk id="58" creationId="{D84895E5-1279-497B-BC7A-19D92D82F07C}"/>
          </ac:spMkLst>
        </pc:spChg>
        <pc:grpChg chg="del">
          <ac:chgData name="Zi yi Zhang (Chinasoft Shanghai)" userId="889434de-a257-482e-b37a-310609d597e0" providerId="ADAL" clId="{11F72C1D-DF6F-4F83-8A75-80EEE7383280}" dt="2022-09-29T07:57:26.064" v="19" actId="165"/>
          <ac:grpSpMkLst>
            <pc:docMk/>
            <pc:sldMk cId="0" sldId="286"/>
            <ac:grpSpMk id="31" creationId="{67D85470-903B-4A94-8426-A0A1DDA53F02}"/>
          </ac:grpSpMkLst>
        </pc:grpChg>
        <pc:grpChg chg="del">
          <ac:chgData name="Zi yi Zhang (Chinasoft Shanghai)" userId="889434de-a257-482e-b37a-310609d597e0" providerId="ADAL" clId="{11F72C1D-DF6F-4F83-8A75-80EEE7383280}" dt="2022-09-29T07:57:27.905" v="20" actId="165"/>
          <ac:grpSpMkLst>
            <pc:docMk/>
            <pc:sldMk cId="0" sldId="286"/>
            <ac:grpSpMk id="32" creationId="{D4754EDC-2666-4353-AF20-91612CC9A62E}"/>
          </ac:grpSpMkLst>
        </pc:grpChg>
        <pc:grpChg chg="del">
          <ac:chgData name="Zi yi Zhang (Chinasoft Shanghai)" userId="889434de-a257-482e-b37a-310609d597e0" providerId="ADAL" clId="{11F72C1D-DF6F-4F83-8A75-80EEE7383280}" dt="2022-09-29T07:57:29.592" v="21" actId="165"/>
          <ac:grpSpMkLst>
            <pc:docMk/>
            <pc:sldMk cId="0" sldId="286"/>
            <ac:grpSpMk id="33" creationId="{43699E5A-F60F-450C-ACDC-E40CF05B7D0D}"/>
          </ac:grpSpMkLst>
        </pc:grpChg>
        <pc:grpChg chg="del">
          <ac:chgData name="Zi yi Zhang (Chinasoft Shanghai)" userId="889434de-a257-482e-b37a-310609d597e0" providerId="ADAL" clId="{11F72C1D-DF6F-4F83-8A75-80EEE7383280}" dt="2022-09-29T07:57:29.592" v="21" actId="165"/>
          <ac:grpSpMkLst>
            <pc:docMk/>
            <pc:sldMk cId="0" sldId="286"/>
            <ac:grpSpMk id="34" creationId="{F237385B-1870-4FBA-9CA1-52CB5209014B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1.656" v="22" actId="165"/>
          <ac:grpSpMkLst>
            <pc:docMk/>
            <pc:sldMk cId="0" sldId="286"/>
            <ac:grpSpMk id="35" creationId="{D36DB496-660C-453C-BBB4-3B383304CEA1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1.656" v="22" actId="165"/>
          <ac:grpSpMkLst>
            <pc:docMk/>
            <pc:sldMk cId="0" sldId="286"/>
            <ac:grpSpMk id="40" creationId="{156C22E0-1FCF-42B9-A891-1AD337D1530D}"/>
          </ac:grpSpMkLst>
        </pc:grpChg>
        <pc:cxnChg chg="mod topLvl">
          <ac:chgData name="Zi yi Zhang (Chinasoft Shanghai)" userId="889434de-a257-482e-b37a-310609d597e0" providerId="ADAL" clId="{11F72C1D-DF6F-4F83-8A75-80EEE7383280}" dt="2022-09-29T07:57:29.592" v="21" actId="165"/>
          <ac:cxnSpMkLst>
            <pc:docMk/>
            <pc:sldMk cId="0" sldId="286"/>
            <ac:cxnSpMk id="36" creationId="{65ED2D8D-AAB7-4AB1-BAD4-09A45D1453D0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7:29.592" v="21" actId="165"/>
          <ac:cxnSpMkLst>
            <pc:docMk/>
            <pc:sldMk cId="0" sldId="286"/>
            <ac:cxnSpMk id="41" creationId="{99156384-26E8-4B6C-9497-A70D4F2F0255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7:27.905" v="20" actId="165"/>
          <ac:cxnSpMkLst>
            <pc:docMk/>
            <pc:sldMk cId="0" sldId="286"/>
            <ac:cxnSpMk id="48" creationId="{62B3F9E4-52E9-40A3-B812-E5F06A3F3B02}"/>
          </ac:cxnSpMkLst>
        </pc:cxnChg>
      </pc:sldChg>
      <pc:sldChg chg="delSp modSp mod">
        <pc:chgData name="Zi yi Zhang (Chinasoft Shanghai)" userId="889434de-a257-482e-b37a-310609d597e0" providerId="ADAL" clId="{11F72C1D-DF6F-4F83-8A75-80EEE7383280}" dt="2022-09-29T07:57:49.536" v="586" actId="947"/>
        <pc:sldMkLst>
          <pc:docMk/>
          <pc:sldMk cId="2365686751" sldId="323"/>
        </pc:sldMkLst>
        <pc:spChg chg="mod">
          <ac:chgData name="Zi yi Zhang (Chinasoft Shanghai)" userId="889434de-a257-482e-b37a-310609d597e0" providerId="ADAL" clId="{11F72C1D-DF6F-4F83-8A75-80EEE7383280}" dt="2022-09-29T07:57:49.276" v="454" actId="947"/>
          <ac:spMkLst>
            <pc:docMk/>
            <pc:sldMk cId="2365686751" sldId="323"/>
            <ac:spMk id="2" creationId="{DF5B02A1-6C1F-4D9A-B6D6-52EE6ECBA0E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279" v="458"/>
          <ac:spMkLst>
            <pc:docMk/>
            <pc:sldMk cId="2365686751" sldId="323"/>
            <ac:spMk id="172" creationId="{762E6286-894E-4975-AD5D-BD9020D19EE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6" v="585"/>
          <ac:spMkLst>
            <pc:docMk/>
            <pc:sldMk cId="2365686751" sldId="323"/>
            <ac:spMk id="173" creationId="{839A5D19-EF4B-47E3-97DA-1AB4CAB9D4E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91" v="535"/>
          <ac:spMkLst>
            <pc:docMk/>
            <pc:sldMk cId="2365686751" sldId="323"/>
            <ac:spMk id="174" creationId="{06989862-B7ED-4C45-8AC3-4D1D63592A5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99" v="543"/>
          <ac:spMkLst>
            <pc:docMk/>
            <pc:sldMk cId="2365686751" sldId="323"/>
            <ac:spMk id="175" creationId="{9A691399-F024-4B82-AA96-F27DD24268E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02" v="548"/>
          <ac:spMkLst>
            <pc:docMk/>
            <pc:sldMk cId="2365686751" sldId="323"/>
            <ac:spMk id="176" creationId="{05B9013F-63DF-4DA2-86BE-995C82E5A20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15" v="561"/>
          <ac:spMkLst>
            <pc:docMk/>
            <pc:sldMk cId="2365686751" sldId="323"/>
            <ac:spMk id="177" creationId="{E2106DDA-5E21-41BA-B2E8-239983C5F6A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12" v="558" actId="947"/>
          <ac:spMkLst>
            <pc:docMk/>
            <pc:sldMk cId="2365686751" sldId="323"/>
            <ac:spMk id="178" creationId="{A7630918-F166-49C7-895F-EB17D32CEF8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95" v="540" actId="947"/>
          <ac:spMkLst>
            <pc:docMk/>
            <pc:sldMk cId="2365686751" sldId="323"/>
            <ac:spMk id="179" creationId="{F01ECB90-529F-4788-87E3-A9233DCA1DB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92" v="536" actId="947"/>
          <ac:spMkLst>
            <pc:docMk/>
            <pc:sldMk cId="2365686751" sldId="323"/>
            <ac:spMk id="180" creationId="{91465C48-2FF7-4315-8029-077ABCFDDBE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07" v="552" actId="947"/>
          <ac:spMkLst>
            <pc:docMk/>
            <pc:sldMk cId="2365686751" sldId="323"/>
            <ac:spMk id="181" creationId="{2049F9AD-79F7-4CBF-8B04-EEEE297747D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71" v="515" actId="947"/>
          <ac:spMkLst>
            <pc:docMk/>
            <pc:sldMk cId="2365686751" sldId="323"/>
            <ac:spMk id="182" creationId="{80A14F00-7A2F-4A2D-9CF1-CE4717E3C46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74" v="519" actId="947"/>
          <ac:spMkLst>
            <pc:docMk/>
            <pc:sldMk cId="2365686751" sldId="323"/>
            <ac:spMk id="183" creationId="{18DD9563-C816-49BC-B5D5-406DE098901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80" v="524" actId="947"/>
          <ac:spMkLst>
            <pc:docMk/>
            <pc:sldMk cId="2365686751" sldId="323"/>
            <ac:spMk id="184" creationId="{CFA44F4C-1BB0-41B8-A7EE-06483D919F2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03" v="549" actId="947"/>
          <ac:spMkLst>
            <pc:docMk/>
            <pc:sldMk cId="2365686751" sldId="323"/>
            <ac:spMk id="185" creationId="{EC7B2BC1-1DE6-42F5-A766-49C9693E02F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4" v="582" actId="947"/>
          <ac:spMkLst>
            <pc:docMk/>
            <pc:sldMk cId="2365686751" sldId="323"/>
            <ac:spMk id="186" creationId="{00B84B9F-7C0B-4F89-BAC4-84FABC07AB3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25" v="572" actId="947"/>
          <ac:spMkLst>
            <pc:docMk/>
            <pc:sldMk cId="2365686751" sldId="323"/>
            <ac:spMk id="187" creationId="{C4912E7C-8525-4868-9962-C8D2FD18CC6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31" v="480" actId="947"/>
          <ac:spMkLst>
            <pc:docMk/>
            <pc:sldMk cId="2365686751" sldId="323"/>
            <ac:spMk id="188" creationId="{3EAE3C2F-CDA6-4EF9-AB5C-F331B4649089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1" v="579" actId="947"/>
          <ac:spMkLst>
            <pc:docMk/>
            <pc:sldMk cId="2365686751" sldId="323"/>
            <ac:spMk id="189" creationId="{7100AEB0-8CE8-41FB-8508-FD28EEFFD735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75" v="520" actId="947"/>
          <ac:spMkLst>
            <pc:docMk/>
            <pc:sldMk cId="2365686751" sldId="323"/>
            <ac:spMk id="190" creationId="{441715CD-C876-42D0-A540-42233347BC8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08" v="554" actId="947"/>
          <ac:spMkLst>
            <pc:docMk/>
            <pc:sldMk cId="2365686751" sldId="323"/>
            <ac:spMk id="191" creationId="{D4116FAF-66FC-4DCD-9C6D-076B0674537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5" v="584"/>
          <ac:spMkLst>
            <pc:docMk/>
            <pc:sldMk cId="2365686751" sldId="323"/>
            <ac:spMk id="192" creationId="{4C09290D-2D48-4E75-A524-5BCA727C888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87" v="532" actId="947"/>
          <ac:spMkLst>
            <pc:docMk/>
            <pc:sldMk cId="2365686751" sldId="323"/>
            <ac:spMk id="193" creationId="{2BBC5A82-C60A-4A75-A630-0F934D1F837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17" v="563" actId="947"/>
          <ac:spMkLst>
            <pc:docMk/>
            <pc:sldMk cId="2365686751" sldId="323"/>
            <ac:spMk id="194" creationId="{94AC0ED2-63F0-466C-9D15-31EC2BD7B36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24" v="571" actId="947"/>
          <ac:spMkLst>
            <pc:docMk/>
            <pc:sldMk cId="2365686751" sldId="323"/>
            <ac:spMk id="195" creationId="{FF3D50D8-D1D5-4913-8CDC-4AB03C2E637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23" v="569"/>
          <ac:spMkLst>
            <pc:docMk/>
            <pc:sldMk cId="2365686751" sldId="323"/>
            <ac:spMk id="196" creationId="{65530576-ECCC-4B88-BF5A-D322EE54F46C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93" v="537" actId="947"/>
          <ac:spMkLst>
            <pc:docMk/>
            <pc:sldMk cId="2365686751" sldId="323"/>
            <ac:spMk id="197" creationId="{9E22F089-40D8-426B-8108-5BE80D4AF9C1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6" v="586" actId="947"/>
          <ac:spMkLst>
            <pc:docMk/>
            <pc:sldMk cId="2365686751" sldId="323"/>
            <ac:spMk id="198" creationId="{315A9B47-D92A-419A-A171-C6F1C76539B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22" v="567" actId="947"/>
          <ac:spMkLst>
            <pc:docMk/>
            <pc:sldMk cId="2365686751" sldId="323"/>
            <ac:spMk id="199" creationId="{C8ABA0C0-1B67-4C20-89C0-8B05C672DE1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0" v="577" actId="947"/>
          <ac:spMkLst>
            <pc:docMk/>
            <pc:sldMk cId="2365686751" sldId="323"/>
            <ac:spMk id="200" creationId="{CC2B0D3D-E506-413B-93C0-4487919F012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494" v="538" actId="947"/>
          <ac:spMkLst>
            <pc:docMk/>
            <pc:sldMk cId="2365686751" sldId="323"/>
            <ac:spMk id="201" creationId="{C8D51A23-0727-4F10-8539-D13582586AC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33" v="581"/>
          <ac:spMkLst>
            <pc:docMk/>
            <pc:sldMk cId="2365686751" sldId="323"/>
            <ac:spMk id="202" creationId="{E7369EB2-463B-405E-A390-E0474328EB9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27" v="574" actId="947"/>
          <ac:spMkLst>
            <pc:docMk/>
            <pc:sldMk cId="2365686751" sldId="323"/>
            <ac:spMk id="203" creationId="{14B328C8-6258-4AC0-8D78-5873ABD15A5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520" v="565" actId="947"/>
          <ac:spMkLst>
            <pc:docMk/>
            <pc:sldMk cId="2365686751" sldId="323"/>
            <ac:spMk id="204" creationId="{F340204A-5962-43C9-AD8E-2C17D3FE552D}"/>
          </ac:spMkLst>
        </pc:spChg>
        <pc:grpChg chg="del">
          <ac:chgData name="Zi yi Zhang (Chinasoft Shanghai)" userId="889434de-a257-482e-b37a-310609d597e0" providerId="ADAL" clId="{11F72C1D-DF6F-4F83-8A75-80EEE7383280}" dt="2022-09-29T07:57:17.515" v="15" actId="165"/>
          <ac:grpSpMkLst>
            <pc:docMk/>
            <pc:sldMk cId="2365686751" sldId="323"/>
            <ac:grpSpMk id="158" creationId="{C6071D76-8410-4E47-9983-A403943D9FDE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59" creationId="{43666BBA-D616-4FBA-BF78-960CD9B6DC74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3" creationId="{99CFD36B-DCEA-4299-A562-EF4F86338700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4" creationId="{50709715-32BF-4D72-A394-4926F46E90BE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5" creationId="{54B52C5B-AC51-4ACA-97BD-90E2F37FD758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6" creationId="{BDA481E4-F64B-40E1-BCFB-494F63D71645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7" creationId="{A679F1D6-871D-4B5E-B244-7EA7236FE6A6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8" creationId="{13A9B63E-504D-48CE-96F0-411FAE395255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17.816" v="16" actId="165"/>
          <ac:grpSpMkLst>
            <pc:docMk/>
            <pc:sldMk cId="2365686751" sldId="323"/>
            <ac:grpSpMk id="169" creationId="{83E2424E-7C24-4F84-803B-F219F392E5F7}"/>
          </ac:grpSpMkLst>
        </pc:grpChg>
        <pc:cxnChg chg="mod topLvl">
          <ac:chgData name="Zi yi Zhang (Chinasoft Shanghai)" userId="889434de-a257-482e-b37a-310609d597e0" providerId="ADAL" clId="{11F72C1D-DF6F-4F83-8A75-80EEE7383280}" dt="2022-09-29T07:57:17.515" v="15" actId="165"/>
          <ac:cxnSpMkLst>
            <pc:docMk/>
            <pc:sldMk cId="2365686751" sldId="323"/>
            <ac:cxnSpMk id="160" creationId="{C9E1D040-EA37-4BAB-ABA6-B4B17BDDE6F5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7:17.515" v="15" actId="165"/>
          <ac:cxnSpMkLst>
            <pc:docMk/>
            <pc:sldMk cId="2365686751" sldId="323"/>
            <ac:cxnSpMk id="161" creationId="{2F2C5579-1F5E-43F3-A3FA-29B4ADF55BEB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7:17.515" v="15" actId="165"/>
          <ac:cxnSpMkLst>
            <pc:docMk/>
            <pc:sldMk cId="2365686751" sldId="323"/>
            <ac:cxnSpMk id="162" creationId="{394C7208-B99D-4686-8E9A-F353088130FB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7:17.515" v="15" actId="165"/>
          <ac:cxnSpMkLst>
            <pc:docMk/>
            <pc:sldMk cId="2365686751" sldId="323"/>
            <ac:cxnSpMk id="170" creationId="{B59B2CE7-768B-4DF9-872F-E1AB4E1E6D74}"/>
          </ac:cxnSpMkLst>
        </pc:cxnChg>
        <pc:cxnChg chg="mod topLvl">
          <ac:chgData name="Zi yi Zhang (Chinasoft Shanghai)" userId="889434de-a257-482e-b37a-310609d597e0" providerId="ADAL" clId="{11F72C1D-DF6F-4F83-8A75-80EEE7383280}" dt="2022-09-29T07:57:17.515" v="15" actId="165"/>
          <ac:cxnSpMkLst>
            <pc:docMk/>
            <pc:sldMk cId="2365686751" sldId="323"/>
            <ac:cxnSpMk id="171" creationId="{7DA720B8-DDEC-46B3-9C36-AD8AA11CF605}"/>
          </ac:cxnSpMkLst>
        </pc:cxnChg>
      </pc:sldChg>
      <pc:sldChg chg="delSp modSp mod">
        <pc:chgData name="Zi yi Zhang (Chinasoft Shanghai)" userId="889434de-a257-482e-b37a-310609d597e0" providerId="ADAL" clId="{11F72C1D-DF6F-4F83-8A75-80EEE7383280}" dt="2022-09-29T07:57:49.630" v="630" actId="947"/>
        <pc:sldMkLst>
          <pc:docMk/>
          <pc:sldMk cId="3130489245" sldId="324"/>
        </pc:sldMkLst>
        <pc:spChg chg="mod">
          <ac:chgData name="Zi yi Zhang (Chinasoft Shanghai)" userId="889434de-a257-482e-b37a-310609d597e0" providerId="ADAL" clId="{11F72C1D-DF6F-4F83-8A75-80EEE7383280}" dt="2022-09-29T07:57:49.551" v="590" actId="947"/>
          <ac:spMkLst>
            <pc:docMk/>
            <pc:sldMk cId="3130489245" sldId="324"/>
            <ac:spMk id="2" creationId="{98A44525-39A2-4797-8595-CA6DDAEE779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12" v="622"/>
          <ac:spMkLst>
            <pc:docMk/>
            <pc:sldMk cId="3130489245" sldId="324"/>
            <ac:spMk id="42" creationId="{33ABDA40-D0C2-418D-935E-9C6574C34E77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08" v="616"/>
          <ac:spMkLst>
            <pc:docMk/>
            <pc:sldMk cId="3130489245" sldId="324"/>
            <ac:spMk id="43" creationId="{00A69A59-D343-4E66-A0A5-7A1EFAEADBD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09" v="619"/>
          <ac:spMkLst>
            <pc:docMk/>
            <pc:sldMk cId="3130489245" sldId="324"/>
            <ac:spMk id="44" creationId="{BDE5C9A7-22D6-4A86-81B2-A778AF5AA45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10" v="620"/>
          <ac:spMkLst>
            <pc:docMk/>
            <pc:sldMk cId="3130489245" sldId="324"/>
            <ac:spMk id="45" creationId="{605EC5FD-99EB-439E-98B0-2F2D7F907E8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08" v="617"/>
          <ac:spMkLst>
            <pc:docMk/>
            <pc:sldMk cId="3130489245" sldId="324"/>
            <ac:spMk id="46" creationId="{CF804CF4-5D50-4963-BE3E-3E841615709F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11" v="621"/>
          <ac:spMkLst>
            <pc:docMk/>
            <pc:sldMk cId="3130489245" sldId="324"/>
            <ac:spMk id="47" creationId="{F6C4F99B-AEEE-47FE-B155-F5D2B259AED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606" v="614"/>
          <ac:spMkLst>
            <pc:docMk/>
            <pc:sldMk cId="3130489245" sldId="324"/>
            <ac:spMk id="49" creationId="{9A52AF94-CE3A-458E-842C-B743B411045F}"/>
          </ac:spMkLst>
        </pc:spChg>
        <pc:spChg chg="mod">
          <ac:chgData name="Zi yi Zhang (Chinasoft Shanghai)" userId="889434de-a257-482e-b37a-310609d597e0" providerId="ADAL" clId="{11F72C1D-DF6F-4F83-8A75-80EEE7383280}" dt="2022-09-29T07:57:49.597" v="604" actId="947"/>
          <ac:spMkLst>
            <pc:docMk/>
            <pc:sldMk cId="3130489245" sldId="324"/>
            <ac:spMk id="50" creationId="{71843D40-F883-4210-A981-24D4DBC83E59}"/>
          </ac:spMkLst>
        </pc:spChg>
        <pc:spChg chg="mod">
          <ac:chgData name="Zi yi Zhang (Chinasoft Shanghai)" userId="889434de-a257-482e-b37a-310609d597e0" providerId="ADAL" clId="{11F72C1D-DF6F-4F83-8A75-80EEE7383280}" dt="2022-09-29T07:57:49.617" v="626" actId="947"/>
          <ac:spMkLst>
            <pc:docMk/>
            <pc:sldMk cId="3130489245" sldId="324"/>
            <ac:spMk id="51" creationId="{80CC9AD4-0CBD-4319-A419-4CD774A1CA24}"/>
          </ac:spMkLst>
        </pc:spChg>
        <pc:spChg chg="mod">
          <ac:chgData name="Zi yi Zhang (Chinasoft Shanghai)" userId="889434de-a257-482e-b37a-310609d597e0" providerId="ADAL" clId="{11F72C1D-DF6F-4F83-8A75-80EEE7383280}" dt="2022-09-29T07:57:49.630" v="630" actId="947"/>
          <ac:spMkLst>
            <pc:docMk/>
            <pc:sldMk cId="3130489245" sldId="324"/>
            <ac:spMk id="52" creationId="{D92C8066-5B8A-4210-9E0C-2D96F4DAA8B4}"/>
          </ac:spMkLst>
        </pc:spChg>
        <pc:grpChg chg="del">
          <ac:chgData name="Zi yi Zhang (Chinasoft Shanghai)" userId="889434de-a257-482e-b37a-310609d597e0" providerId="ADAL" clId="{11F72C1D-DF6F-4F83-8A75-80EEE7383280}" dt="2022-09-29T07:57:21.496" v="17" actId="165"/>
          <ac:grpSpMkLst>
            <pc:docMk/>
            <pc:sldMk cId="3130489245" sldId="324"/>
            <ac:grpSpMk id="40" creationId="{D1D520F6-BFF7-4D12-8FF0-20D3AA244B14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21.775" v="18" actId="165"/>
          <ac:grpSpMkLst>
            <pc:docMk/>
            <pc:sldMk cId="3130489245" sldId="324"/>
            <ac:grpSpMk id="41" creationId="{02662C0B-4481-4DF8-9DBA-3CCF05E03C44}"/>
          </ac:grpSpMkLst>
        </pc:grpChg>
        <pc:grpChg chg="mod topLvl">
          <ac:chgData name="Zi yi Zhang (Chinasoft Shanghai)" userId="889434de-a257-482e-b37a-310609d597e0" providerId="ADAL" clId="{11F72C1D-DF6F-4F83-8A75-80EEE7383280}" dt="2022-09-29T07:57:21.775" v="18" actId="165"/>
          <ac:grpSpMkLst>
            <pc:docMk/>
            <pc:sldMk cId="3130489245" sldId="324"/>
            <ac:grpSpMk id="48" creationId="{88C19F19-07EC-44EE-A98A-3037A893A3EB}"/>
          </ac:grpSpMkLst>
        </pc:grpChg>
      </pc:sldChg>
      <pc:sldChg chg="delSp modSp mod">
        <pc:chgData name="Zi yi Zhang (Chinasoft Shanghai)" userId="889434de-a257-482e-b37a-310609d597e0" providerId="ADAL" clId="{11F72C1D-DF6F-4F83-8A75-80EEE7383280}" dt="2022-09-29T07:57:50.020" v="850" actId="947"/>
        <pc:sldMkLst>
          <pc:docMk/>
          <pc:sldMk cId="1855419021" sldId="325"/>
        </pc:sldMkLst>
        <pc:spChg chg="mod">
          <ac:chgData name="Zi yi Zhang (Chinasoft Shanghai)" userId="889434de-a257-482e-b37a-310609d597e0" providerId="ADAL" clId="{11F72C1D-DF6F-4F83-8A75-80EEE7383280}" dt="2022-09-29T07:57:49.847" v="726" actId="947"/>
          <ac:spMkLst>
            <pc:docMk/>
            <pc:sldMk cId="1855419021" sldId="325"/>
            <ac:spMk id="2" creationId="{EEEC77C2-6AAC-41B2-8D24-B7378963452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87" v="778"/>
          <ac:spMkLst>
            <pc:docMk/>
            <pc:sldMk cId="1855419021" sldId="325"/>
            <ac:spMk id="27" creationId="{4D659CD0-186A-4B72-B957-56B072B2D90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90" v="782"/>
          <ac:spMkLst>
            <pc:docMk/>
            <pc:sldMk cId="1855419021" sldId="325"/>
            <ac:spMk id="28" creationId="{D117C944-5127-44C9-9E7C-E66A8B796AC1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09" v="836"/>
          <ac:spMkLst>
            <pc:docMk/>
            <pc:sldMk cId="1855419021" sldId="325"/>
            <ac:spMk id="29" creationId="{45CF7D32-EF9C-4EAA-A8EF-0989F186BF02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9" v="849"/>
          <ac:spMkLst>
            <pc:docMk/>
            <pc:sldMk cId="1855419021" sldId="325"/>
            <ac:spMk id="30" creationId="{9C201CC3-0050-43E8-911E-890FE7041B1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82" v="770"/>
          <ac:spMkLst>
            <pc:docMk/>
            <pc:sldMk cId="1855419021" sldId="325"/>
            <ac:spMk id="31" creationId="{00DD7FA3-753F-44D3-BEE3-DD3FD652FE28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85" v="774"/>
          <ac:spMkLst>
            <pc:docMk/>
            <pc:sldMk cId="1855419021" sldId="325"/>
            <ac:spMk id="32" creationId="{A749B007-EFF6-4E35-BEF9-C5655FA34F0B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8" v="848"/>
          <ac:spMkLst>
            <pc:docMk/>
            <pc:sldMk cId="1855419021" sldId="325"/>
            <ac:spMk id="33" creationId="{D02A5529-3444-48C3-A3DB-0A8D61704670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01" v="828"/>
          <ac:spMkLst>
            <pc:docMk/>
            <pc:sldMk cId="1855419021" sldId="325"/>
            <ac:spMk id="34" creationId="{4380506C-C70A-445F-B4E9-D9027226940B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986" v="811" actId="947"/>
          <ac:spMkLst>
            <pc:docMk/>
            <pc:sldMk cId="1855419021" sldId="325"/>
            <ac:spMk id="35" creationId="{83C8B1A7-25BD-4E06-B453-778AB9EA3397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02" v="829" actId="947"/>
          <ac:spMkLst>
            <pc:docMk/>
            <pc:sldMk cId="1855419021" sldId="325"/>
            <ac:spMk id="36" creationId="{C61378A1-206A-4095-9DA5-1EE506E888D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50" v="730" actId="947"/>
          <ac:spMkLst>
            <pc:docMk/>
            <pc:sldMk cId="1855419021" sldId="325"/>
            <ac:spMk id="37" creationId="{4D8B1E1A-7740-4724-8212-C201742A7F45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5" v="844" actId="947"/>
          <ac:spMkLst>
            <pc:docMk/>
            <pc:sldMk cId="1855419021" sldId="325"/>
            <ac:spMk id="38" creationId="{0C4BB827-DCB1-4C8D-A115-C9122D07D34D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4" v="843" actId="947"/>
          <ac:spMkLst>
            <pc:docMk/>
            <pc:sldMk cId="1855419021" sldId="325"/>
            <ac:spMk id="39" creationId="{E450EEAB-F593-4A58-AA5F-420EE621C699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" v="826" actId="947"/>
          <ac:spMkLst>
            <pc:docMk/>
            <pc:sldMk cId="1855419021" sldId="325"/>
            <ac:spMk id="40" creationId="{0FD8274B-A9EB-4A00-AB2C-3709CB9552FD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53" v="734" actId="947"/>
          <ac:spMkLst>
            <pc:docMk/>
            <pc:sldMk cId="1855419021" sldId="325"/>
            <ac:spMk id="41" creationId="{0818F0C5-B5FF-47F2-84AB-CEC1AB6CB606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0" v="837" actId="947"/>
          <ac:spMkLst>
            <pc:docMk/>
            <pc:sldMk cId="1855419021" sldId="325"/>
            <ac:spMk id="42" creationId="{B1266379-0D4A-4324-9F59-32847380EBFD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05" v="832"/>
          <ac:spMkLst>
            <pc:docMk/>
            <pc:sldMk cId="1855419021" sldId="325"/>
            <ac:spMk id="43" creationId="{C83CD83F-3F81-417D-A6C6-55BEBEE95B7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56" v="738" actId="947"/>
          <ac:spMkLst>
            <pc:docMk/>
            <pc:sldMk cId="1855419021" sldId="325"/>
            <ac:spMk id="44" creationId="{8148E285-D648-4E08-974C-89AE2B6353D0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60" v="742" actId="947"/>
          <ac:spMkLst>
            <pc:docMk/>
            <pc:sldMk cId="1855419021" sldId="325"/>
            <ac:spMk id="45" creationId="{1E4BD720-2CF5-4D99-A1AA-F870C556508A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0" v="838" actId="947"/>
          <ac:spMkLst>
            <pc:docMk/>
            <pc:sldMk cId="1855419021" sldId="325"/>
            <ac:spMk id="46" creationId="{705F1E8F-BF83-419D-BCE9-3591AC70A0D9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20" v="850" actId="947"/>
          <ac:spMkLst>
            <pc:docMk/>
            <pc:sldMk cId="1855419021" sldId="325"/>
            <ac:spMk id="47" creationId="{71738E5C-A838-4092-8F8D-9E284C07284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63" v="746" actId="947"/>
          <ac:spMkLst>
            <pc:docMk/>
            <pc:sldMk cId="1855419021" sldId="325"/>
            <ac:spMk id="48" creationId="{4550EED4-8CF6-42AD-AE0A-55A9C4AE2DA4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67" v="750" actId="947"/>
          <ac:spMkLst>
            <pc:docMk/>
            <pc:sldMk cId="1855419021" sldId="325"/>
            <ac:spMk id="49" creationId="{23FB3A72-3AF3-42C5-BEED-0022AB152A7C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08" v="835" actId="947"/>
          <ac:spMkLst>
            <pc:docMk/>
            <pc:sldMk cId="1855419021" sldId="325"/>
            <ac:spMk id="50" creationId="{1A7470FF-94A1-4158-93AC-1E37D49D04AF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07" v="833" actId="947"/>
          <ac:spMkLst>
            <pc:docMk/>
            <pc:sldMk cId="1855419021" sldId="325"/>
            <ac:spMk id="51" creationId="{3E658E32-FE15-4963-AF92-E1731E18D166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70" v="754" actId="947"/>
          <ac:spMkLst>
            <pc:docMk/>
            <pc:sldMk cId="1855419021" sldId="325"/>
            <ac:spMk id="52" creationId="{AC99AC92-A042-4E07-B6C1-5E9F8AC11273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73" v="758" actId="947"/>
          <ac:spMkLst>
            <pc:docMk/>
            <pc:sldMk cId="1855419021" sldId="325"/>
            <ac:spMk id="53" creationId="{90BD1377-1595-477E-9AAF-FBC962F4DE8E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999" v="825" actId="947"/>
          <ac:spMkLst>
            <pc:docMk/>
            <pc:sldMk cId="1855419021" sldId="325"/>
            <ac:spMk id="54" creationId="{E8ADA359-A7F8-4606-979B-89864B750336}"/>
          </ac:spMkLst>
        </pc:spChg>
        <pc:spChg chg="mod topLvl">
          <ac:chgData name="Zi yi Zhang (Chinasoft Shanghai)" userId="889434de-a257-482e-b37a-310609d597e0" providerId="ADAL" clId="{11F72C1D-DF6F-4F83-8A75-80EEE7383280}" dt="2022-09-29T07:57:50.018" v="847" actId="947"/>
          <ac:spMkLst>
            <pc:docMk/>
            <pc:sldMk cId="1855419021" sldId="325"/>
            <ac:spMk id="55" creationId="{7EFEF29C-C0BA-4971-BAD2-51C57520EFBA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76" v="762" actId="947"/>
          <ac:spMkLst>
            <pc:docMk/>
            <pc:sldMk cId="1855419021" sldId="325"/>
            <ac:spMk id="56" creationId="{4878CA4F-2876-47F9-B66A-361CFAF77D72}"/>
          </ac:spMkLst>
        </pc:spChg>
        <pc:spChg chg="mod topLvl">
          <ac:chgData name="Zi yi Zhang (Chinasoft Shanghai)" userId="889434de-a257-482e-b37a-310609d597e0" providerId="ADAL" clId="{11F72C1D-DF6F-4F83-8A75-80EEE7383280}" dt="2022-09-29T07:57:49.879" v="766" actId="947"/>
          <ac:spMkLst>
            <pc:docMk/>
            <pc:sldMk cId="1855419021" sldId="325"/>
            <ac:spMk id="57" creationId="{A3DD5E79-1759-413E-B4E9-0BE4325B0BFD}"/>
          </ac:spMkLst>
        </pc:spChg>
        <pc:grpChg chg="del">
          <ac:chgData name="Zi yi Zhang (Chinasoft Shanghai)" userId="889434de-a257-482e-b37a-310609d597e0" providerId="ADAL" clId="{11F72C1D-DF6F-4F83-8A75-80EEE7383280}" dt="2022-09-29T07:57:34.626" v="23" actId="165"/>
          <ac:grpSpMkLst>
            <pc:docMk/>
            <pc:sldMk cId="1855419021" sldId="325"/>
            <ac:grpSpMk id="21" creationId="{A7A21F2B-D577-4AD3-BD9F-59523EB45446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4.899" v="24" actId="165"/>
          <ac:grpSpMkLst>
            <pc:docMk/>
            <pc:sldMk cId="1855419021" sldId="325"/>
            <ac:grpSpMk id="22" creationId="{4EE66268-E589-4CA7-9CE2-1191B43C03F6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4.899" v="24" actId="165"/>
          <ac:grpSpMkLst>
            <pc:docMk/>
            <pc:sldMk cId="1855419021" sldId="325"/>
            <ac:grpSpMk id="23" creationId="{56F1B0A1-5844-44BB-B4DE-1B9BCF552E6C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4.899" v="24" actId="165"/>
          <ac:grpSpMkLst>
            <pc:docMk/>
            <pc:sldMk cId="1855419021" sldId="325"/>
            <ac:grpSpMk id="24" creationId="{0AFDECD8-A076-4CBA-8383-5504858864CA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4.899" v="24" actId="165"/>
          <ac:grpSpMkLst>
            <pc:docMk/>
            <pc:sldMk cId="1855419021" sldId="325"/>
            <ac:grpSpMk id="25" creationId="{B6939825-E4BD-4CDA-9DAC-4AA1322DF979}"/>
          </ac:grpSpMkLst>
        </pc:grpChg>
        <pc:grpChg chg="del mod topLvl">
          <ac:chgData name="Zi yi Zhang (Chinasoft Shanghai)" userId="889434de-a257-482e-b37a-310609d597e0" providerId="ADAL" clId="{11F72C1D-DF6F-4F83-8A75-80EEE7383280}" dt="2022-09-29T07:57:34.899" v="24" actId="165"/>
          <ac:grpSpMkLst>
            <pc:docMk/>
            <pc:sldMk cId="1855419021" sldId="325"/>
            <ac:grpSpMk id="26" creationId="{EDE719FC-9FB1-44E1-B028-9EF9BF610BEE}"/>
          </ac:grpSpMkLst>
        </pc:grpChg>
      </pc:sldChg>
      <pc:sldMasterChg chg="modSldLayout">
        <pc:chgData name="Zi yi Zhang (Chinasoft Shanghai)" userId="889434de-a257-482e-b37a-310609d597e0" providerId="ADAL" clId="{11F72C1D-DF6F-4F83-8A75-80EEE7383280}" dt="2022-09-29T07:51:40.909" v="4" actId="478"/>
        <pc:sldMasterMkLst>
          <pc:docMk/>
          <pc:sldMasterMk cId="3784027784" sldId="2147483648"/>
        </pc:sldMasterMkLst>
        <pc:sldLayoutChg chg="delSp mod">
          <pc:chgData name="Zi yi Zhang (Chinasoft Shanghai)" userId="889434de-a257-482e-b37a-310609d597e0" providerId="ADAL" clId="{11F72C1D-DF6F-4F83-8A75-80EEE7383280}" dt="2022-09-29T07:51:40.909" v="4" actId="478"/>
          <pc:sldLayoutMkLst>
            <pc:docMk/>
            <pc:sldMasterMk cId="3784027784" sldId="2147483648"/>
            <pc:sldLayoutMk cId="2853334272" sldId="2147483651"/>
          </pc:sldLayoutMkLst>
          <pc:grpChg chg="del">
            <ac:chgData name="Zi yi Zhang (Chinasoft Shanghai)" userId="889434de-a257-482e-b37a-310609d597e0" providerId="ADAL" clId="{11F72C1D-DF6F-4F83-8A75-80EEE7383280}" dt="2022-09-29T07:51:40.909" v="4" actId="478"/>
            <ac:grpSpMkLst>
              <pc:docMk/>
              <pc:sldMasterMk cId="3784027784" sldId="2147483648"/>
              <pc:sldLayoutMk cId="2853334272" sldId="2147483651"/>
              <ac:grpSpMk id="977" creationId="{1651B329-5681-49CE-8488-3E898BA1BF1E}"/>
            </ac:grpSpMkLst>
          </pc:grpChg>
        </pc:sldLayoutChg>
        <pc:sldLayoutChg chg="delSp mod">
          <pc:chgData name="Zi yi Zhang (Chinasoft Shanghai)" userId="889434de-a257-482e-b37a-310609d597e0" providerId="ADAL" clId="{11F72C1D-DF6F-4F83-8A75-80EEE7383280}" dt="2022-09-29T07:51:33.557" v="3" actId="478"/>
          <pc:sldLayoutMkLst>
            <pc:docMk/>
            <pc:sldMasterMk cId="3784027784" sldId="2147483648"/>
            <pc:sldLayoutMk cId="2882586885" sldId="2147483660"/>
          </pc:sldLayoutMkLst>
          <pc:grpChg chg="del">
            <ac:chgData name="Zi yi Zhang (Chinasoft Shanghai)" userId="889434de-a257-482e-b37a-310609d597e0" providerId="ADAL" clId="{11F72C1D-DF6F-4F83-8A75-80EEE7383280}" dt="2022-09-29T07:51:33.557" v="3" actId="478"/>
            <ac:grpSpMkLst>
              <pc:docMk/>
              <pc:sldMasterMk cId="3784027784" sldId="2147483648"/>
              <pc:sldLayoutMk cId="2882586885" sldId="2147483660"/>
              <ac:grpSpMk id="2" creationId="{0B31EBC2-D4C0-498D-A6F5-286C9053FAF5}"/>
            </ac:grpSpMkLst>
          </pc:gr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2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57500" y="4489923"/>
            <a:ext cx="8661398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2857500" y="1150937"/>
            <a:ext cx="8661398" cy="3338986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857500" y="5410792"/>
            <a:ext cx="86613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857500" y="5707063"/>
            <a:ext cx="86613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0621" name="组合 10620">
            <a:extLst>
              <a:ext uri="{FF2B5EF4-FFF2-40B4-BE49-F238E27FC236}">
                <a16:creationId xmlns:a16="http://schemas.microsoft.com/office/drawing/2014/main" id="{3778B93A-7701-4EB0-A45C-F89573A4F1DB}"/>
              </a:ext>
            </a:extLst>
          </p:cNvPr>
          <p:cNvGrpSpPr/>
          <p:nvPr userDrawn="1"/>
        </p:nvGrpSpPr>
        <p:grpSpPr>
          <a:xfrm>
            <a:off x="-1" y="3177231"/>
            <a:ext cx="5722204" cy="3677676"/>
            <a:chOff x="-1" y="3177231"/>
            <a:chExt cx="5722204" cy="3677676"/>
          </a:xfrm>
        </p:grpSpPr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A50A7935-D898-4516-B06A-B67ACC71EA7D}"/>
                </a:ext>
              </a:extLst>
            </p:cNvPr>
            <p:cNvSpPr/>
            <p:nvPr/>
          </p:nvSpPr>
          <p:spPr>
            <a:xfrm>
              <a:off x="374262" y="5602208"/>
              <a:ext cx="5251838" cy="1237233"/>
            </a:xfrm>
            <a:custGeom>
              <a:avLst/>
              <a:gdLst>
                <a:gd name="connsiteX0" fmla="*/ 5369593 w 5351034"/>
                <a:gd name="connsiteY0" fmla="*/ 1252699 h 1237233"/>
                <a:gd name="connsiteX1" fmla="*/ 0 w 5351034"/>
                <a:gd name="connsiteY1" fmla="*/ 1252699 h 1237233"/>
                <a:gd name="connsiteX2" fmla="*/ 0 w 5351034"/>
                <a:gd name="connsiteY2" fmla="*/ 89699 h 1237233"/>
                <a:gd name="connsiteX3" fmla="*/ 5369593 w 5351034"/>
                <a:gd name="connsiteY3" fmla="*/ 0 h 123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51034" h="1237233">
                  <a:moveTo>
                    <a:pt x="5369593" y="1252699"/>
                  </a:moveTo>
                  <a:lnTo>
                    <a:pt x="0" y="1252699"/>
                  </a:lnTo>
                  <a:lnTo>
                    <a:pt x="0" y="89699"/>
                  </a:lnTo>
                  <a:lnTo>
                    <a:pt x="5369593" y="0"/>
                  </a:lnTo>
                  <a:close/>
                </a:path>
              </a:pathLst>
            </a:custGeom>
            <a:solidFill>
              <a:srgbClr val="4B5D7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30E189E8-7397-4777-8E75-47C6BFC444FE}"/>
                </a:ext>
              </a:extLst>
            </p:cNvPr>
            <p:cNvSpPr/>
            <p:nvPr/>
          </p:nvSpPr>
          <p:spPr>
            <a:xfrm>
              <a:off x="6185" y="3786568"/>
              <a:ext cx="154654" cy="3062152"/>
            </a:xfrm>
            <a:custGeom>
              <a:avLst/>
              <a:gdLst>
                <a:gd name="connsiteX0" fmla="*/ 0 w 154654"/>
                <a:gd name="connsiteY0" fmla="*/ 0 h 3062152"/>
                <a:gd name="connsiteX1" fmla="*/ 167027 w 154654"/>
                <a:gd name="connsiteY1" fmla="*/ 0 h 3062152"/>
                <a:gd name="connsiteX2" fmla="*/ 167027 w 154654"/>
                <a:gd name="connsiteY2" fmla="*/ 3068339 h 3062152"/>
                <a:gd name="connsiteX3" fmla="*/ 0 w 154654"/>
                <a:gd name="connsiteY3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3062152">
                  <a:moveTo>
                    <a:pt x="0" y="0"/>
                  </a:moveTo>
                  <a:lnTo>
                    <a:pt x="167027" y="0"/>
                  </a:lnTo>
                  <a:lnTo>
                    <a:pt x="167027" y="3068339"/>
                  </a:lnTo>
                  <a:lnTo>
                    <a:pt x="0" y="3068339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BCC4CD8-2E0F-4ED6-B6E8-21C9F3BEEB73}"/>
                </a:ext>
              </a:extLst>
            </p:cNvPr>
            <p:cNvSpPr/>
            <p:nvPr/>
          </p:nvSpPr>
          <p:spPr>
            <a:xfrm>
              <a:off x="-1" y="3780382"/>
              <a:ext cx="154654" cy="3062152"/>
            </a:xfrm>
            <a:custGeom>
              <a:avLst/>
              <a:gdLst>
                <a:gd name="connsiteX0" fmla="*/ 173213 w 154654"/>
                <a:gd name="connsiteY0" fmla="*/ 3080711 h 3062152"/>
                <a:gd name="connsiteX1" fmla="*/ 0 w 154654"/>
                <a:gd name="connsiteY1" fmla="*/ 3080711 h 3062152"/>
                <a:gd name="connsiteX2" fmla="*/ 0 w 154654"/>
                <a:gd name="connsiteY2" fmla="*/ 0 h 3062152"/>
                <a:gd name="connsiteX3" fmla="*/ 173213 w 154654"/>
                <a:gd name="connsiteY3" fmla="*/ 0 h 3062152"/>
                <a:gd name="connsiteX4" fmla="*/ 173213 w 154654"/>
                <a:gd name="connsiteY4" fmla="*/ 12372 h 3062152"/>
                <a:gd name="connsiteX5" fmla="*/ 12372 w 154654"/>
                <a:gd name="connsiteY5" fmla="*/ 12372 h 3062152"/>
                <a:gd name="connsiteX6" fmla="*/ 12372 w 154654"/>
                <a:gd name="connsiteY6" fmla="*/ 3068339 h 3062152"/>
                <a:gd name="connsiteX7" fmla="*/ 173213 w 154654"/>
                <a:gd name="connsiteY7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654" h="3062152">
                  <a:moveTo>
                    <a:pt x="173213" y="3080711"/>
                  </a:moveTo>
                  <a:lnTo>
                    <a:pt x="0" y="3080711"/>
                  </a:lnTo>
                  <a:lnTo>
                    <a:pt x="0" y="0"/>
                  </a:lnTo>
                  <a:lnTo>
                    <a:pt x="173213" y="0"/>
                  </a:lnTo>
                  <a:lnTo>
                    <a:pt x="173213" y="12372"/>
                  </a:lnTo>
                  <a:lnTo>
                    <a:pt x="12372" y="12372"/>
                  </a:lnTo>
                  <a:lnTo>
                    <a:pt x="12372" y="3068339"/>
                  </a:lnTo>
                  <a:lnTo>
                    <a:pt x="173213" y="3068339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48C6D6F-79ED-4683-B8FF-EE8454EEEAF3}"/>
                </a:ext>
              </a:extLst>
            </p:cNvPr>
            <p:cNvSpPr/>
            <p:nvPr/>
          </p:nvSpPr>
          <p:spPr>
            <a:xfrm>
              <a:off x="173212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0 w 0"/>
                <a:gd name="connsiteY1" fmla="*/ 3068339 h 3062152"/>
                <a:gd name="connsiteX2" fmla="*/ 0 w 0"/>
                <a:gd name="connsiteY2" fmla="*/ 0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0" y="3068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D74F441-60AA-40AF-820E-F7F77AA51A96}"/>
                </a:ext>
              </a:extLst>
            </p:cNvPr>
            <p:cNvSpPr/>
            <p:nvPr/>
          </p:nvSpPr>
          <p:spPr>
            <a:xfrm>
              <a:off x="167026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12372 w 0"/>
                <a:gd name="connsiteY1" fmla="*/ 0 h 3062152"/>
                <a:gd name="connsiteX2" fmla="*/ 12372 w 0"/>
                <a:gd name="connsiteY2" fmla="*/ 3068339 h 3062152"/>
                <a:gd name="connsiteX3" fmla="*/ 0 w 0"/>
                <a:gd name="connsiteY3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12372" y="0"/>
                  </a:lnTo>
                  <a:lnTo>
                    <a:pt x="12372" y="3068339"/>
                  </a:lnTo>
                  <a:lnTo>
                    <a:pt x="0" y="3068339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14245C68-690E-4906-9745-00C1584262B2}"/>
                </a:ext>
              </a:extLst>
            </p:cNvPr>
            <p:cNvSpPr/>
            <p:nvPr/>
          </p:nvSpPr>
          <p:spPr>
            <a:xfrm>
              <a:off x="6185" y="671262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F913B2F-269E-4034-8C61-49FD93ED094B}"/>
                </a:ext>
              </a:extLst>
            </p:cNvPr>
            <p:cNvSpPr/>
            <p:nvPr/>
          </p:nvSpPr>
          <p:spPr>
            <a:xfrm>
              <a:off x="6185" y="670643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32724FE-7DD9-46FF-9F09-00A7DFBF868C}"/>
                </a:ext>
              </a:extLst>
            </p:cNvPr>
            <p:cNvSpPr/>
            <p:nvPr/>
          </p:nvSpPr>
          <p:spPr>
            <a:xfrm>
              <a:off x="6185" y="656725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8D19DE18-142E-4708-AE13-13ED48C66AE8}"/>
                </a:ext>
              </a:extLst>
            </p:cNvPr>
            <p:cNvSpPr/>
            <p:nvPr/>
          </p:nvSpPr>
          <p:spPr>
            <a:xfrm>
              <a:off x="6185" y="656106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4719D0A-3965-429D-8446-6822162DCF6F}"/>
                </a:ext>
              </a:extLst>
            </p:cNvPr>
            <p:cNvSpPr/>
            <p:nvPr/>
          </p:nvSpPr>
          <p:spPr>
            <a:xfrm>
              <a:off x="6185" y="642187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B1A0272-DB86-4E00-843D-EEC33206FFA9}"/>
                </a:ext>
              </a:extLst>
            </p:cNvPr>
            <p:cNvSpPr/>
            <p:nvPr/>
          </p:nvSpPr>
          <p:spPr>
            <a:xfrm>
              <a:off x="6185" y="641568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4E0FC908-C3E3-4941-9F60-ED49D76CD1E2}"/>
                </a:ext>
              </a:extLst>
            </p:cNvPr>
            <p:cNvSpPr/>
            <p:nvPr/>
          </p:nvSpPr>
          <p:spPr>
            <a:xfrm>
              <a:off x="6185" y="627340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695D0D69-D489-446C-A050-1A5DE7E4C409}"/>
                </a:ext>
              </a:extLst>
            </p:cNvPr>
            <p:cNvSpPr/>
            <p:nvPr/>
          </p:nvSpPr>
          <p:spPr>
            <a:xfrm>
              <a:off x="6185" y="626722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1D26CF53-7F5A-4169-B2F5-C02E2B034742}"/>
                </a:ext>
              </a:extLst>
            </p:cNvPr>
            <p:cNvSpPr/>
            <p:nvPr/>
          </p:nvSpPr>
          <p:spPr>
            <a:xfrm>
              <a:off x="6185" y="6128032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F82C03D-E5B1-4813-8FA4-EEE9F19C02E9}"/>
                </a:ext>
              </a:extLst>
            </p:cNvPr>
            <p:cNvSpPr/>
            <p:nvPr/>
          </p:nvSpPr>
          <p:spPr>
            <a:xfrm>
              <a:off x="6185" y="612184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56F7D06E-5F9D-4245-B18B-70910A74DAE6}"/>
                </a:ext>
              </a:extLst>
            </p:cNvPr>
            <p:cNvSpPr/>
            <p:nvPr/>
          </p:nvSpPr>
          <p:spPr>
            <a:xfrm>
              <a:off x="6185" y="598265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FB2E62A-201A-46E3-9830-831B38F7D3FA}"/>
                </a:ext>
              </a:extLst>
            </p:cNvPr>
            <p:cNvSpPr/>
            <p:nvPr/>
          </p:nvSpPr>
          <p:spPr>
            <a:xfrm>
              <a:off x="6185" y="597647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4176B056-AAE0-4795-B2D7-452704B9ED50}"/>
                </a:ext>
              </a:extLst>
            </p:cNvPr>
            <p:cNvSpPr/>
            <p:nvPr/>
          </p:nvSpPr>
          <p:spPr>
            <a:xfrm>
              <a:off x="6185" y="583419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79B4EF7-5995-493C-9124-A94A40CB1733}"/>
                </a:ext>
              </a:extLst>
            </p:cNvPr>
            <p:cNvSpPr/>
            <p:nvPr/>
          </p:nvSpPr>
          <p:spPr>
            <a:xfrm>
              <a:off x="6185" y="582800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180A944-FD5C-4845-AC08-482FCAEF0FE6}"/>
                </a:ext>
              </a:extLst>
            </p:cNvPr>
            <p:cNvSpPr/>
            <p:nvPr/>
          </p:nvSpPr>
          <p:spPr>
            <a:xfrm>
              <a:off x="6185" y="568881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0582A156-D5E0-403E-941E-B986330D5031}"/>
                </a:ext>
              </a:extLst>
            </p:cNvPr>
            <p:cNvSpPr/>
            <p:nvPr/>
          </p:nvSpPr>
          <p:spPr>
            <a:xfrm>
              <a:off x="6185" y="5682628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8CA6ED6-ABC1-4F98-8AAC-79AEB9CFC0ED}"/>
                </a:ext>
              </a:extLst>
            </p:cNvPr>
            <p:cNvSpPr/>
            <p:nvPr/>
          </p:nvSpPr>
          <p:spPr>
            <a:xfrm>
              <a:off x="6185" y="554344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605BF19-E661-4A47-9DAB-2FDEBAF1958D}"/>
                </a:ext>
              </a:extLst>
            </p:cNvPr>
            <p:cNvSpPr/>
            <p:nvPr/>
          </p:nvSpPr>
          <p:spPr>
            <a:xfrm>
              <a:off x="6185" y="553725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0861867-C146-42B9-81B3-968456560D19}"/>
                </a:ext>
              </a:extLst>
            </p:cNvPr>
            <p:cNvSpPr/>
            <p:nvPr/>
          </p:nvSpPr>
          <p:spPr>
            <a:xfrm>
              <a:off x="6185" y="5394972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34850604-BF7B-4C40-959E-4770D7272843}"/>
                </a:ext>
              </a:extLst>
            </p:cNvPr>
            <p:cNvSpPr/>
            <p:nvPr/>
          </p:nvSpPr>
          <p:spPr>
            <a:xfrm>
              <a:off x="6185" y="539187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348ED104-CB08-4F12-8746-E043C27C3FA9}"/>
                </a:ext>
              </a:extLst>
            </p:cNvPr>
            <p:cNvSpPr/>
            <p:nvPr/>
          </p:nvSpPr>
          <p:spPr>
            <a:xfrm>
              <a:off x="6185" y="524959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F42CB264-533D-437C-A28D-3147C02A5C18}"/>
                </a:ext>
              </a:extLst>
            </p:cNvPr>
            <p:cNvSpPr/>
            <p:nvPr/>
          </p:nvSpPr>
          <p:spPr>
            <a:xfrm>
              <a:off x="6185" y="524341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6FCEBDD7-68F5-4F45-AB32-BD3451737FEA}"/>
                </a:ext>
              </a:extLst>
            </p:cNvPr>
            <p:cNvSpPr/>
            <p:nvPr/>
          </p:nvSpPr>
          <p:spPr>
            <a:xfrm>
              <a:off x="6185" y="5104222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0458484-4C9A-4AF9-967B-247F9F0AA0FA}"/>
                </a:ext>
              </a:extLst>
            </p:cNvPr>
            <p:cNvSpPr/>
            <p:nvPr/>
          </p:nvSpPr>
          <p:spPr>
            <a:xfrm>
              <a:off x="6185" y="509803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3277006-8D7E-4AD9-B382-BC5F51744EF3}"/>
                </a:ext>
              </a:extLst>
            </p:cNvPr>
            <p:cNvSpPr/>
            <p:nvPr/>
          </p:nvSpPr>
          <p:spPr>
            <a:xfrm>
              <a:off x="6185" y="495575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319C225-60A1-4DC3-BFA7-8E6B3AD73671}"/>
                </a:ext>
              </a:extLst>
            </p:cNvPr>
            <p:cNvSpPr/>
            <p:nvPr/>
          </p:nvSpPr>
          <p:spPr>
            <a:xfrm>
              <a:off x="6185" y="495266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1B5BE16-3AD5-485E-B7CF-35F0DE3F69E8}"/>
                </a:ext>
              </a:extLst>
            </p:cNvPr>
            <p:cNvSpPr/>
            <p:nvPr/>
          </p:nvSpPr>
          <p:spPr>
            <a:xfrm>
              <a:off x="6185" y="481037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381A08B-ACC9-4E58-8045-458497CEEAC2}"/>
                </a:ext>
              </a:extLst>
            </p:cNvPr>
            <p:cNvSpPr/>
            <p:nvPr/>
          </p:nvSpPr>
          <p:spPr>
            <a:xfrm>
              <a:off x="6185" y="480419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921C5FD4-2D76-4547-B1A3-74C57B6EE3A7}"/>
                </a:ext>
              </a:extLst>
            </p:cNvPr>
            <p:cNvSpPr/>
            <p:nvPr/>
          </p:nvSpPr>
          <p:spPr>
            <a:xfrm>
              <a:off x="6185" y="466500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9E311E54-2280-495A-B5A5-DD1E1BFE5F18}"/>
                </a:ext>
              </a:extLst>
            </p:cNvPr>
            <p:cNvSpPr/>
            <p:nvPr/>
          </p:nvSpPr>
          <p:spPr>
            <a:xfrm>
              <a:off x="6185" y="4658818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4B110ED-D497-405F-A6C5-77D40B6B29A3}"/>
                </a:ext>
              </a:extLst>
            </p:cNvPr>
            <p:cNvSpPr/>
            <p:nvPr/>
          </p:nvSpPr>
          <p:spPr>
            <a:xfrm>
              <a:off x="6185" y="451653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0D0424E-B1D3-4BB4-965B-4FDB210013CE}"/>
                </a:ext>
              </a:extLst>
            </p:cNvPr>
            <p:cNvSpPr/>
            <p:nvPr/>
          </p:nvSpPr>
          <p:spPr>
            <a:xfrm>
              <a:off x="6185" y="451344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01EA36A-4710-4B25-948C-5532F144EE72}"/>
                </a:ext>
              </a:extLst>
            </p:cNvPr>
            <p:cNvSpPr/>
            <p:nvPr/>
          </p:nvSpPr>
          <p:spPr>
            <a:xfrm>
              <a:off x="6185" y="437116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7C6CE258-CF56-41BF-92AF-FFECBED41A32}"/>
                </a:ext>
              </a:extLst>
            </p:cNvPr>
            <p:cNvSpPr/>
            <p:nvPr/>
          </p:nvSpPr>
          <p:spPr>
            <a:xfrm>
              <a:off x="6185" y="436497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2E2EE64E-014B-4F44-94ED-447EEF8F9C8F}"/>
                </a:ext>
              </a:extLst>
            </p:cNvPr>
            <p:cNvSpPr/>
            <p:nvPr/>
          </p:nvSpPr>
          <p:spPr>
            <a:xfrm>
              <a:off x="6185" y="422578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F9BB7E80-4A7F-44B5-B169-D1AB28F19C6B}"/>
                </a:ext>
              </a:extLst>
            </p:cNvPr>
            <p:cNvSpPr/>
            <p:nvPr/>
          </p:nvSpPr>
          <p:spPr>
            <a:xfrm>
              <a:off x="6185" y="421960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8A46B0FD-B8A4-493E-B055-74994AB6A3B7}"/>
                </a:ext>
              </a:extLst>
            </p:cNvPr>
            <p:cNvSpPr/>
            <p:nvPr/>
          </p:nvSpPr>
          <p:spPr>
            <a:xfrm>
              <a:off x="6185" y="408041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7451E230-C4B2-4471-8B93-16510858C4C8}"/>
                </a:ext>
              </a:extLst>
            </p:cNvPr>
            <p:cNvSpPr/>
            <p:nvPr/>
          </p:nvSpPr>
          <p:spPr>
            <a:xfrm>
              <a:off x="6185" y="407422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F8AAB452-7273-49EF-9B0D-43B448246DCE}"/>
                </a:ext>
              </a:extLst>
            </p:cNvPr>
            <p:cNvSpPr/>
            <p:nvPr/>
          </p:nvSpPr>
          <p:spPr>
            <a:xfrm>
              <a:off x="6185" y="393194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1D1EC5AA-2B61-4028-826D-562310439692}"/>
                </a:ext>
              </a:extLst>
            </p:cNvPr>
            <p:cNvSpPr/>
            <p:nvPr/>
          </p:nvSpPr>
          <p:spPr>
            <a:xfrm>
              <a:off x="6185" y="392575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39C7A812-F94E-4EA5-8C99-97E5532BA409}"/>
                </a:ext>
              </a:extLst>
            </p:cNvPr>
            <p:cNvSpPr/>
            <p:nvPr/>
          </p:nvSpPr>
          <p:spPr>
            <a:xfrm>
              <a:off x="89698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0 w 0"/>
                <a:gd name="connsiteY1" fmla="*/ 3068339 h 3062152"/>
                <a:gd name="connsiteX2" fmla="*/ 0 w 0"/>
                <a:gd name="connsiteY2" fmla="*/ 0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0" y="3068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DC23A152-ABC7-46B9-92A5-5F7DCD723EE6}"/>
                </a:ext>
              </a:extLst>
            </p:cNvPr>
            <p:cNvSpPr/>
            <p:nvPr/>
          </p:nvSpPr>
          <p:spPr>
            <a:xfrm>
              <a:off x="83512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12372 w 0"/>
                <a:gd name="connsiteY1" fmla="*/ 0 h 3062152"/>
                <a:gd name="connsiteX2" fmla="*/ 12372 w 0"/>
                <a:gd name="connsiteY2" fmla="*/ 3068339 h 3062152"/>
                <a:gd name="connsiteX3" fmla="*/ 0 w 0"/>
                <a:gd name="connsiteY3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12372" y="0"/>
                  </a:lnTo>
                  <a:lnTo>
                    <a:pt x="12372" y="3068339"/>
                  </a:lnTo>
                  <a:lnTo>
                    <a:pt x="0" y="3068339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BF45BECA-8B71-42F6-A686-B8DDDA18D0D6}"/>
                </a:ext>
              </a:extLst>
            </p:cNvPr>
            <p:cNvSpPr/>
            <p:nvPr/>
          </p:nvSpPr>
          <p:spPr>
            <a:xfrm>
              <a:off x="167026" y="3786568"/>
              <a:ext cx="30931" cy="3062152"/>
            </a:xfrm>
            <a:custGeom>
              <a:avLst/>
              <a:gdLst>
                <a:gd name="connsiteX0" fmla="*/ 15465 w 0"/>
                <a:gd name="connsiteY0" fmla="*/ 3068339 h 3062152"/>
                <a:gd name="connsiteX1" fmla="*/ 15465 w 0"/>
                <a:gd name="connsiteY1" fmla="*/ 3068339 h 3062152"/>
                <a:gd name="connsiteX2" fmla="*/ 6186 w 0"/>
                <a:gd name="connsiteY2" fmla="*/ 3068339 h 3062152"/>
                <a:gd name="connsiteX3" fmla="*/ 6186 w 0"/>
                <a:gd name="connsiteY3" fmla="*/ 3068339 h 3062152"/>
                <a:gd name="connsiteX4" fmla="*/ 6186 w 0"/>
                <a:gd name="connsiteY4" fmla="*/ 3068339 h 3062152"/>
                <a:gd name="connsiteX5" fmla="*/ 6186 w 0"/>
                <a:gd name="connsiteY5" fmla="*/ 2950801 h 3062152"/>
                <a:gd name="connsiteX6" fmla="*/ 3093 w 0"/>
                <a:gd name="connsiteY6" fmla="*/ 1543449 h 3062152"/>
                <a:gd name="connsiteX7" fmla="*/ 0 w 0"/>
                <a:gd name="connsiteY7" fmla="*/ 0 h 3062152"/>
                <a:gd name="connsiteX8" fmla="*/ 12372 w 0"/>
                <a:gd name="connsiteY8" fmla="*/ 0 h 3062152"/>
                <a:gd name="connsiteX9" fmla="*/ 12372 w 0"/>
                <a:gd name="connsiteY9" fmla="*/ 3093 h 3062152"/>
                <a:gd name="connsiteX10" fmla="*/ 12372 w 0"/>
                <a:gd name="connsiteY10" fmla="*/ 133003 h 3062152"/>
                <a:gd name="connsiteX11" fmla="*/ 12372 w 0"/>
                <a:gd name="connsiteY11" fmla="*/ 139189 h 3062152"/>
                <a:gd name="connsiteX12" fmla="*/ 12372 w 0"/>
                <a:gd name="connsiteY12" fmla="*/ 145375 h 3062152"/>
                <a:gd name="connsiteX13" fmla="*/ 12372 w 0"/>
                <a:gd name="connsiteY13" fmla="*/ 287657 h 3062152"/>
                <a:gd name="connsiteX14" fmla="*/ 12372 w 0"/>
                <a:gd name="connsiteY14" fmla="*/ 293843 h 3062152"/>
                <a:gd name="connsiteX15" fmla="*/ 12372 w 0"/>
                <a:gd name="connsiteY15" fmla="*/ 436125 h 3062152"/>
                <a:gd name="connsiteX16" fmla="*/ 12372 w 0"/>
                <a:gd name="connsiteY16" fmla="*/ 442311 h 3062152"/>
                <a:gd name="connsiteX17" fmla="*/ 12372 w 0"/>
                <a:gd name="connsiteY17" fmla="*/ 584593 h 3062152"/>
                <a:gd name="connsiteX18" fmla="*/ 12372 w 0"/>
                <a:gd name="connsiteY18" fmla="*/ 590779 h 3062152"/>
                <a:gd name="connsiteX19" fmla="*/ 12372 w 0"/>
                <a:gd name="connsiteY19" fmla="*/ 729968 h 3062152"/>
                <a:gd name="connsiteX20" fmla="*/ 12372 w 0"/>
                <a:gd name="connsiteY20" fmla="*/ 736154 h 3062152"/>
                <a:gd name="connsiteX21" fmla="*/ 12372 w 0"/>
                <a:gd name="connsiteY21" fmla="*/ 736154 h 3062152"/>
                <a:gd name="connsiteX22" fmla="*/ 12372 w 0"/>
                <a:gd name="connsiteY22" fmla="*/ 736154 h 3062152"/>
                <a:gd name="connsiteX23" fmla="*/ 12372 w 0"/>
                <a:gd name="connsiteY23" fmla="*/ 875343 h 3062152"/>
                <a:gd name="connsiteX24" fmla="*/ 12372 w 0"/>
                <a:gd name="connsiteY24" fmla="*/ 884622 h 3062152"/>
                <a:gd name="connsiteX25" fmla="*/ 12372 w 0"/>
                <a:gd name="connsiteY25" fmla="*/ 1023811 h 3062152"/>
                <a:gd name="connsiteX26" fmla="*/ 12372 w 0"/>
                <a:gd name="connsiteY26" fmla="*/ 1029997 h 3062152"/>
                <a:gd name="connsiteX27" fmla="*/ 12372 w 0"/>
                <a:gd name="connsiteY27" fmla="*/ 1033090 h 3062152"/>
                <a:gd name="connsiteX28" fmla="*/ 12372 w 0"/>
                <a:gd name="connsiteY28" fmla="*/ 1169185 h 3062152"/>
                <a:gd name="connsiteX29" fmla="*/ 12372 w 0"/>
                <a:gd name="connsiteY29" fmla="*/ 1178465 h 3062152"/>
                <a:gd name="connsiteX30" fmla="*/ 12372 w 0"/>
                <a:gd name="connsiteY30" fmla="*/ 1314560 h 3062152"/>
                <a:gd name="connsiteX31" fmla="*/ 12372 w 0"/>
                <a:gd name="connsiteY31" fmla="*/ 1326933 h 3062152"/>
                <a:gd name="connsiteX32" fmla="*/ 12372 w 0"/>
                <a:gd name="connsiteY32" fmla="*/ 1463028 h 3062152"/>
                <a:gd name="connsiteX33" fmla="*/ 12372 w 0"/>
                <a:gd name="connsiteY33" fmla="*/ 1469214 h 3062152"/>
                <a:gd name="connsiteX34" fmla="*/ 12372 w 0"/>
                <a:gd name="connsiteY34" fmla="*/ 1475401 h 3062152"/>
                <a:gd name="connsiteX35" fmla="*/ 12372 w 0"/>
                <a:gd name="connsiteY35" fmla="*/ 1543449 h 3062152"/>
                <a:gd name="connsiteX36" fmla="*/ 12372 w 0"/>
                <a:gd name="connsiteY36" fmla="*/ 1608403 h 3062152"/>
                <a:gd name="connsiteX37" fmla="*/ 12372 w 0"/>
                <a:gd name="connsiteY37" fmla="*/ 1614590 h 3062152"/>
                <a:gd name="connsiteX38" fmla="*/ 12372 w 0"/>
                <a:gd name="connsiteY38" fmla="*/ 1620776 h 3062152"/>
                <a:gd name="connsiteX39" fmla="*/ 12372 w 0"/>
                <a:gd name="connsiteY39" fmla="*/ 1753778 h 3062152"/>
                <a:gd name="connsiteX40" fmla="*/ 12372 w 0"/>
                <a:gd name="connsiteY40" fmla="*/ 1759964 h 3062152"/>
                <a:gd name="connsiteX41" fmla="*/ 12372 w 0"/>
                <a:gd name="connsiteY41" fmla="*/ 1763057 h 3062152"/>
                <a:gd name="connsiteX42" fmla="*/ 12372 w 0"/>
                <a:gd name="connsiteY42" fmla="*/ 1769244 h 3062152"/>
                <a:gd name="connsiteX43" fmla="*/ 12372 w 0"/>
                <a:gd name="connsiteY43" fmla="*/ 1902246 h 3062152"/>
                <a:gd name="connsiteX44" fmla="*/ 12372 w 0"/>
                <a:gd name="connsiteY44" fmla="*/ 1914618 h 3062152"/>
                <a:gd name="connsiteX45" fmla="*/ 12372 w 0"/>
                <a:gd name="connsiteY45" fmla="*/ 2047621 h 3062152"/>
                <a:gd name="connsiteX46" fmla="*/ 12372 w 0"/>
                <a:gd name="connsiteY46" fmla="*/ 2053807 h 3062152"/>
                <a:gd name="connsiteX47" fmla="*/ 12372 w 0"/>
                <a:gd name="connsiteY47" fmla="*/ 2056900 h 3062152"/>
                <a:gd name="connsiteX48" fmla="*/ 12372 w 0"/>
                <a:gd name="connsiteY48" fmla="*/ 2059994 h 3062152"/>
                <a:gd name="connsiteX49" fmla="*/ 12372 w 0"/>
                <a:gd name="connsiteY49" fmla="*/ 2192996 h 3062152"/>
                <a:gd name="connsiteX50" fmla="*/ 12372 w 0"/>
                <a:gd name="connsiteY50" fmla="*/ 2205368 h 3062152"/>
                <a:gd name="connsiteX51" fmla="*/ 12372 w 0"/>
                <a:gd name="connsiteY51" fmla="*/ 2338371 h 3062152"/>
                <a:gd name="connsiteX52" fmla="*/ 12372 w 0"/>
                <a:gd name="connsiteY52" fmla="*/ 2344557 h 3062152"/>
                <a:gd name="connsiteX53" fmla="*/ 12372 w 0"/>
                <a:gd name="connsiteY53" fmla="*/ 2350743 h 3062152"/>
                <a:gd name="connsiteX54" fmla="*/ 12372 w 0"/>
                <a:gd name="connsiteY54" fmla="*/ 2483746 h 3062152"/>
                <a:gd name="connsiteX55" fmla="*/ 12372 w 0"/>
                <a:gd name="connsiteY55" fmla="*/ 2496118 h 3062152"/>
                <a:gd name="connsiteX56" fmla="*/ 12372 w 0"/>
                <a:gd name="connsiteY56" fmla="*/ 2629121 h 3062152"/>
                <a:gd name="connsiteX57" fmla="*/ 12372 w 0"/>
                <a:gd name="connsiteY57" fmla="*/ 2644586 h 3062152"/>
                <a:gd name="connsiteX58" fmla="*/ 12372 w 0"/>
                <a:gd name="connsiteY58" fmla="*/ 2777589 h 3062152"/>
                <a:gd name="connsiteX59" fmla="*/ 12372 w 0"/>
                <a:gd name="connsiteY59" fmla="*/ 2783775 h 3062152"/>
                <a:gd name="connsiteX60" fmla="*/ 12372 w 0"/>
                <a:gd name="connsiteY60" fmla="*/ 2786868 h 3062152"/>
                <a:gd name="connsiteX61" fmla="*/ 12372 w 0"/>
                <a:gd name="connsiteY61" fmla="*/ 2789961 h 3062152"/>
                <a:gd name="connsiteX62" fmla="*/ 12372 w 0"/>
                <a:gd name="connsiteY62" fmla="*/ 2922964 h 3062152"/>
                <a:gd name="connsiteX63" fmla="*/ 12372 w 0"/>
                <a:gd name="connsiteY63" fmla="*/ 2929150 h 3062152"/>
                <a:gd name="connsiteX64" fmla="*/ 12372 w 0"/>
                <a:gd name="connsiteY64" fmla="*/ 2932243 h 3062152"/>
                <a:gd name="connsiteX65" fmla="*/ 12372 w 0"/>
                <a:gd name="connsiteY65" fmla="*/ 2935336 h 3062152"/>
                <a:gd name="connsiteX66" fmla="*/ 15465 w 0"/>
                <a:gd name="connsiteY66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h="3062152">
                  <a:moveTo>
                    <a:pt x="15465" y="3068339"/>
                  </a:moveTo>
                  <a:lnTo>
                    <a:pt x="15465" y="3068339"/>
                  </a:lnTo>
                  <a:lnTo>
                    <a:pt x="6186" y="3068339"/>
                  </a:lnTo>
                  <a:cubicBezTo>
                    <a:pt x="6186" y="3068339"/>
                    <a:pt x="6186" y="3068339"/>
                    <a:pt x="6186" y="3068339"/>
                  </a:cubicBezTo>
                  <a:lnTo>
                    <a:pt x="6186" y="3068339"/>
                  </a:lnTo>
                  <a:cubicBezTo>
                    <a:pt x="6186" y="3025035"/>
                    <a:pt x="6186" y="2994105"/>
                    <a:pt x="6186" y="2950801"/>
                  </a:cubicBezTo>
                  <a:cubicBezTo>
                    <a:pt x="6186" y="2480653"/>
                    <a:pt x="6186" y="2004318"/>
                    <a:pt x="3093" y="1543449"/>
                  </a:cubicBezTo>
                  <a:cubicBezTo>
                    <a:pt x="0" y="1036183"/>
                    <a:pt x="0" y="513452"/>
                    <a:pt x="0" y="0"/>
                  </a:cubicBezTo>
                  <a:lnTo>
                    <a:pt x="12372" y="0"/>
                  </a:lnTo>
                  <a:lnTo>
                    <a:pt x="12372" y="3093"/>
                  </a:lnTo>
                  <a:cubicBezTo>
                    <a:pt x="12372" y="46396"/>
                    <a:pt x="12372" y="89699"/>
                    <a:pt x="12372" y="133003"/>
                  </a:cubicBezTo>
                  <a:lnTo>
                    <a:pt x="12372" y="139189"/>
                  </a:lnTo>
                  <a:cubicBezTo>
                    <a:pt x="12372" y="142282"/>
                    <a:pt x="12372" y="142282"/>
                    <a:pt x="12372" y="145375"/>
                  </a:cubicBezTo>
                  <a:lnTo>
                    <a:pt x="12372" y="287657"/>
                  </a:lnTo>
                  <a:cubicBezTo>
                    <a:pt x="12372" y="290750"/>
                    <a:pt x="12372" y="290750"/>
                    <a:pt x="12372" y="293843"/>
                  </a:cubicBezTo>
                  <a:cubicBezTo>
                    <a:pt x="12372" y="340239"/>
                    <a:pt x="12372" y="386635"/>
                    <a:pt x="12372" y="436125"/>
                  </a:cubicBezTo>
                  <a:lnTo>
                    <a:pt x="12372" y="442311"/>
                  </a:lnTo>
                  <a:cubicBezTo>
                    <a:pt x="12372" y="488707"/>
                    <a:pt x="12372" y="535103"/>
                    <a:pt x="12372" y="584593"/>
                  </a:cubicBezTo>
                  <a:lnTo>
                    <a:pt x="12372" y="590779"/>
                  </a:lnTo>
                  <a:cubicBezTo>
                    <a:pt x="12372" y="637175"/>
                    <a:pt x="12372" y="683571"/>
                    <a:pt x="12372" y="729968"/>
                  </a:cubicBezTo>
                  <a:lnTo>
                    <a:pt x="12372" y="736154"/>
                  </a:lnTo>
                  <a:cubicBezTo>
                    <a:pt x="12372" y="736154"/>
                    <a:pt x="12372" y="736154"/>
                    <a:pt x="12372" y="736154"/>
                  </a:cubicBezTo>
                  <a:lnTo>
                    <a:pt x="12372" y="736154"/>
                  </a:lnTo>
                  <a:cubicBezTo>
                    <a:pt x="12372" y="782550"/>
                    <a:pt x="12372" y="828946"/>
                    <a:pt x="12372" y="875343"/>
                  </a:cubicBezTo>
                  <a:lnTo>
                    <a:pt x="12372" y="884622"/>
                  </a:lnTo>
                  <a:cubicBezTo>
                    <a:pt x="12372" y="931018"/>
                    <a:pt x="12372" y="977414"/>
                    <a:pt x="12372" y="1023811"/>
                  </a:cubicBezTo>
                  <a:lnTo>
                    <a:pt x="12372" y="1029997"/>
                  </a:lnTo>
                  <a:cubicBezTo>
                    <a:pt x="12372" y="1029997"/>
                    <a:pt x="12372" y="1033090"/>
                    <a:pt x="12372" y="1033090"/>
                  </a:cubicBezTo>
                  <a:cubicBezTo>
                    <a:pt x="12372" y="1079486"/>
                    <a:pt x="12372" y="1125882"/>
                    <a:pt x="12372" y="1169185"/>
                  </a:cubicBezTo>
                  <a:lnTo>
                    <a:pt x="12372" y="1178465"/>
                  </a:lnTo>
                  <a:cubicBezTo>
                    <a:pt x="12372" y="1224861"/>
                    <a:pt x="12372" y="1268164"/>
                    <a:pt x="12372" y="1314560"/>
                  </a:cubicBezTo>
                  <a:lnTo>
                    <a:pt x="12372" y="1326933"/>
                  </a:lnTo>
                  <a:cubicBezTo>
                    <a:pt x="12372" y="1373329"/>
                    <a:pt x="12372" y="1416632"/>
                    <a:pt x="12372" y="1463028"/>
                  </a:cubicBezTo>
                  <a:cubicBezTo>
                    <a:pt x="12372" y="1466121"/>
                    <a:pt x="12372" y="1466121"/>
                    <a:pt x="12372" y="1469214"/>
                  </a:cubicBezTo>
                  <a:lnTo>
                    <a:pt x="12372" y="1475401"/>
                  </a:lnTo>
                  <a:cubicBezTo>
                    <a:pt x="12372" y="1497052"/>
                    <a:pt x="12372" y="1521797"/>
                    <a:pt x="12372" y="1543449"/>
                  </a:cubicBezTo>
                  <a:cubicBezTo>
                    <a:pt x="12372" y="1565100"/>
                    <a:pt x="12372" y="1586752"/>
                    <a:pt x="12372" y="1608403"/>
                  </a:cubicBezTo>
                  <a:cubicBezTo>
                    <a:pt x="12372" y="1611496"/>
                    <a:pt x="12372" y="1611496"/>
                    <a:pt x="12372" y="1614590"/>
                  </a:cubicBezTo>
                  <a:lnTo>
                    <a:pt x="12372" y="1620776"/>
                  </a:lnTo>
                  <a:cubicBezTo>
                    <a:pt x="12372" y="1664079"/>
                    <a:pt x="12372" y="1710475"/>
                    <a:pt x="12372" y="1753778"/>
                  </a:cubicBezTo>
                  <a:cubicBezTo>
                    <a:pt x="12372" y="1756871"/>
                    <a:pt x="12372" y="1756871"/>
                    <a:pt x="12372" y="1759964"/>
                  </a:cubicBezTo>
                  <a:cubicBezTo>
                    <a:pt x="12372" y="1759964"/>
                    <a:pt x="12372" y="1759964"/>
                    <a:pt x="12372" y="1763057"/>
                  </a:cubicBezTo>
                  <a:cubicBezTo>
                    <a:pt x="12372" y="1766151"/>
                    <a:pt x="12372" y="1766151"/>
                    <a:pt x="12372" y="1769244"/>
                  </a:cubicBezTo>
                  <a:cubicBezTo>
                    <a:pt x="12372" y="1812547"/>
                    <a:pt x="12372" y="1858943"/>
                    <a:pt x="12372" y="1902246"/>
                  </a:cubicBezTo>
                  <a:lnTo>
                    <a:pt x="12372" y="1914618"/>
                  </a:lnTo>
                  <a:cubicBezTo>
                    <a:pt x="12372" y="1957922"/>
                    <a:pt x="12372" y="2004318"/>
                    <a:pt x="12372" y="2047621"/>
                  </a:cubicBezTo>
                  <a:cubicBezTo>
                    <a:pt x="12372" y="2050714"/>
                    <a:pt x="12372" y="2050714"/>
                    <a:pt x="12372" y="2053807"/>
                  </a:cubicBezTo>
                  <a:cubicBezTo>
                    <a:pt x="12372" y="2053807"/>
                    <a:pt x="12372" y="2053807"/>
                    <a:pt x="12372" y="2056900"/>
                  </a:cubicBezTo>
                  <a:lnTo>
                    <a:pt x="12372" y="2059994"/>
                  </a:lnTo>
                  <a:cubicBezTo>
                    <a:pt x="12372" y="2103297"/>
                    <a:pt x="12372" y="2149693"/>
                    <a:pt x="12372" y="2192996"/>
                  </a:cubicBezTo>
                  <a:lnTo>
                    <a:pt x="12372" y="2205368"/>
                  </a:lnTo>
                  <a:cubicBezTo>
                    <a:pt x="12372" y="2248672"/>
                    <a:pt x="12372" y="2295068"/>
                    <a:pt x="12372" y="2338371"/>
                  </a:cubicBezTo>
                  <a:cubicBezTo>
                    <a:pt x="12372" y="2341464"/>
                    <a:pt x="12372" y="2341464"/>
                    <a:pt x="12372" y="2344557"/>
                  </a:cubicBezTo>
                  <a:lnTo>
                    <a:pt x="12372" y="2350743"/>
                  </a:lnTo>
                  <a:cubicBezTo>
                    <a:pt x="12372" y="2394046"/>
                    <a:pt x="12372" y="2440443"/>
                    <a:pt x="12372" y="2483746"/>
                  </a:cubicBezTo>
                  <a:lnTo>
                    <a:pt x="12372" y="2496118"/>
                  </a:lnTo>
                  <a:cubicBezTo>
                    <a:pt x="12372" y="2539421"/>
                    <a:pt x="12372" y="2585818"/>
                    <a:pt x="12372" y="2629121"/>
                  </a:cubicBezTo>
                  <a:lnTo>
                    <a:pt x="12372" y="2644586"/>
                  </a:lnTo>
                  <a:cubicBezTo>
                    <a:pt x="12372" y="2687889"/>
                    <a:pt x="12372" y="2734286"/>
                    <a:pt x="12372" y="2777589"/>
                  </a:cubicBezTo>
                  <a:cubicBezTo>
                    <a:pt x="12372" y="2780682"/>
                    <a:pt x="12372" y="2783775"/>
                    <a:pt x="12372" y="2783775"/>
                  </a:cubicBezTo>
                  <a:cubicBezTo>
                    <a:pt x="12372" y="2783775"/>
                    <a:pt x="12372" y="2786868"/>
                    <a:pt x="12372" y="2786868"/>
                  </a:cubicBezTo>
                  <a:cubicBezTo>
                    <a:pt x="12372" y="2786868"/>
                    <a:pt x="12372" y="2789961"/>
                    <a:pt x="12372" y="2789961"/>
                  </a:cubicBezTo>
                  <a:cubicBezTo>
                    <a:pt x="12372" y="2833264"/>
                    <a:pt x="12372" y="2879661"/>
                    <a:pt x="12372" y="2922964"/>
                  </a:cubicBezTo>
                  <a:cubicBezTo>
                    <a:pt x="12372" y="2926057"/>
                    <a:pt x="12372" y="2929150"/>
                    <a:pt x="12372" y="2929150"/>
                  </a:cubicBezTo>
                  <a:cubicBezTo>
                    <a:pt x="12372" y="2929150"/>
                    <a:pt x="12372" y="2932243"/>
                    <a:pt x="12372" y="2932243"/>
                  </a:cubicBezTo>
                  <a:cubicBezTo>
                    <a:pt x="12372" y="2932243"/>
                    <a:pt x="12372" y="2935336"/>
                    <a:pt x="12372" y="2935336"/>
                  </a:cubicBezTo>
                  <a:cubicBezTo>
                    <a:pt x="15465" y="2984825"/>
                    <a:pt x="15465" y="3028129"/>
                    <a:pt x="15465" y="3068339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D25CF3D-4002-4F64-9C5B-1964FF03859E}"/>
                </a:ext>
              </a:extLst>
            </p:cNvPr>
            <p:cNvSpPr/>
            <p:nvPr/>
          </p:nvSpPr>
          <p:spPr>
            <a:xfrm>
              <a:off x="170119" y="3786568"/>
              <a:ext cx="494893" cy="3062152"/>
            </a:xfrm>
            <a:custGeom>
              <a:avLst/>
              <a:gdLst>
                <a:gd name="connsiteX0" fmla="*/ 513452 w 494893"/>
                <a:gd name="connsiteY0" fmla="*/ 497986 h 3062152"/>
                <a:gd name="connsiteX1" fmla="*/ 519638 w 494893"/>
                <a:gd name="connsiteY1" fmla="*/ 516545 h 3062152"/>
                <a:gd name="connsiteX2" fmla="*/ 519638 w 494893"/>
                <a:gd name="connsiteY2" fmla="*/ 2941522 h 3062152"/>
                <a:gd name="connsiteX3" fmla="*/ 12372 w 494893"/>
                <a:gd name="connsiteY3" fmla="*/ 3068339 h 3062152"/>
                <a:gd name="connsiteX4" fmla="*/ 6186 w 494893"/>
                <a:gd name="connsiteY4" fmla="*/ 3068339 h 3062152"/>
                <a:gd name="connsiteX5" fmla="*/ 0 w 494893"/>
                <a:gd name="connsiteY5" fmla="*/ 3068339 h 3062152"/>
                <a:gd name="connsiteX6" fmla="*/ 0 w 494893"/>
                <a:gd name="connsiteY6" fmla="*/ 3068339 h 3062152"/>
                <a:gd name="connsiteX7" fmla="*/ 0 w 494893"/>
                <a:gd name="connsiteY7" fmla="*/ 3068339 h 3062152"/>
                <a:gd name="connsiteX8" fmla="*/ 0 w 494893"/>
                <a:gd name="connsiteY8" fmla="*/ 2950801 h 3062152"/>
                <a:gd name="connsiteX9" fmla="*/ 6186 w 494893"/>
                <a:gd name="connsiteY9" fmla="*/ 1555821 h 3062152"/>
                <a:gd name="connsiteX10" fmla="*/ 6186 w 494893"/>
                <a:gd name="connsiteY10" fmla="*/ 1531076 h 3062152"/>
                <a:gd name="connsiteX11" fmla="*/ 6186 w 494893"/>
                <a:gd name="connsiteY11" fmla="*/ 1169185 h 3062152"/>
                <a:gd name="connsiteX12" fmla="*/ 6186 w 494893"/>
                <a:gd name="connsiteY12" fmla="*/ 1023811 h 3062152"/>
                <a:gd name="connsiteX13" fmla="*/ 6186 w 494893"/>
                <a:gd name="connsiteY13" fmla="*/ 1023811 h 3062152"/>
                <a:gd name="connsiteX14" fmla="*/ 6186 w 494893"/>
                <a:gd name="connsiteY14" fmla="*/ 878436 h 3062152"/>
                <a:gd name="connsiteX15" fmla="*/ 6186 w 494893"/>
                <a:gd name="connsiteY15" fmla="*/ 878436 h 3062152"/>
                <a:gd name="connsiteX16" fmla="*/ 6186 w 494893"/>
                <a:gd name="connsiteY16" fmla="*/ 733061 h 3062152"/>
                <a:gd name="connsiteX17" fmla="*/ 6186 w 494893"/>
                <a:gd name="connsiteY17" fmla="*/ 733061 h 3062152"/>
                <a:gd name="connsiteX18" fmla="*/ 6186 w 494893"/>
                <a:gd name="connsiteY18" fmla="*/ 587686 h 3062152"/>
                <a:gd name="connsiteX19" fmla="*/ 6186 w 494893"/>
                <a:gd name="connsiteY19" fmla="*/ 584593 h 3062152"/>
                <a:gd name="connsiteX20" fmla="*/ 6186 w 494893"/>
                <a:gd name="connsiteY20" fmla="*/ 439218 h 3062152"/>
                <a:gd name="connsiteX21" fmla="*/ 6186 w 494893"/>
                <a:gd name="connsiteY21" fmla="*/ 439218 h 3062152"/>
                <a:gd name="connsiteX22" fmla="*/ 6186 w 494893"/>
                <a:gd name="connsiteY22" fmla="*/ 436125 h 3062152"/>
                <a:gd name="connsiteX23" fmla="*/ 6186 w 494893"/>
                <a:gd name="connsiteY23" fmla="*/ 293843 h 3062152"/>
                <a:gd name="connsiteX24" fmla="*/ 6186 w 494893"/>
                <a:gd name="connsiteY24" fmla="*/ 287657 h 3062152"/>
                <a:gd name="connsiteX25" fmla="*/ 6186 w 494893"/>
                <a:gd name="connsiteY25" fmla="*/ 145375 h 3062152"/>
                <a:gd name="connsiteX26" fmla="*/ 6186 w 494893"/>
                <a:gd name="connsiteY26" fmla="*/ 145375 h 3062152"/>
                <a:gd name="connsiteX27" fmla="*/ 6186 w 494893"/>
                <a:gd name="connsiteY27" fmla="*/ 142282 h 3062152"/>
                <a:gd name="connsiteX28" fmla="*/ 6186 w 494893"/>
                <a:gd name="connsiteY28" fmla="*/ 133003 h 3062152"/>
                <a:gd name="connsiteX29" fmla="*/ 6186 w 494893"/>
                <a:gd name="connsiteY29" fmla="*/ 3093 h 3062152"/>
                <a:gd name="connsiteX30" fmla="*/ 6186 w 494893"/>
                <a:gd name="connsiteY30" fmla="*/ 0 h 3062152"/>
                <a:gd name="connsiteX31" fmla="*/ 6186 w 494893"/>
                <a:gd name="connsiteY31" fmla="*/ 3093 h 3062152"/>
                <a:gd name="connsiteX32" fmla="*/ 15465 w 494893"/>
                <a:gd name="connsiteY32" fmla="*/ 6186 h 3062152"/>
                <a:gd name="connsiteX33" fmla="*/ 287657 w 494893"/>
                <a:gd name="connsiteY33" fmla="*/ 154654 h 3062152"/>
                <a:gd name="connsiteX34" fmla="*/ 296936 w 494893"/>
                <a:gd name="connsiteY34" fmla="*/ 163933 h 3062152"/>
                <a:gd name="connsiteX35" fmla="*/ 306215 w 494893"/>
                <a:gd name="connsiteY35" fmla="*/ 173213 h 3062152"/>
                <a:gd name="connsiteX36" fmla="*/ 371170 w 494893"/>
                <a:gd name="connsiteY36" fmla="*/ 241260 h 3062152"/>
                <a:gd name="connsiteX37" fmla="*/ 395915 w 494893"/>
                <a:gd name="connsiteY37" fmla="*/ 272191 h 3062152"/>
                <a:gd name="connsiteX38" fmla="*/ 451590 w 494893"/>
                <a:gd name="connsiteY38" fmla="*/ 361891 h 3062152"/>
                <a:gd name="connsiteX39" fmla="*/ 457776 w 494893"/>
                <a:gd name="connsiteY39" fmla="*/ 371170 h 3062152"/>
                <a:gd name="connsiteX40" fmla="*/ 463963 w 494893"/>
                <a:gd name="connsiteY40" fmla="*/ 380449 h 3062152"/>
                <a:gd name="connsiteX41" fmla="*/ 473242 w 494893"/>
                <a:gd name="connsiteY41" fmla="*/ 402101 h 3062152"/>
                <a:gd name="connsiteX42" fmla="*/ 513452 w 494893"/>
                <a:gd name="connsiteY42" fmla="*/ 497986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94893" h="3062152">
                  <a:moveTo>
                    <a:pt x="513452" y="497986"/>
                  </a:moveTo>
                  <a:cubicBezTo>
                    <a:pt x="516545" y="504173"/>
                    <a:pt x="516545" y="510359"/>
                    <a:pt x="519638" y="516545"/>
                  </a:cubicBezTo>
                  <a:lnTo>
                    <a:pt x="519638" y="2941522"/>
                  </a:lnTo>
                  <a:cubicBezTo>
                    <a:pt x="361891" y="2910591"/>
                    <a:pt x="173213" y="2947708"/>
                    <a:pt x="12372" y="3068339"/>
                  </a:cubicBezTo>
                  <a:cubicBezTo>
                    <a:pt x="9279" y="3068339"/>
                    <a:pt x="9279" y="3068339"/>
                    <a:pt x="6186" y="3068339"/>
                  </a:cubicBezTo>
                  <a:cubicBezTo>
                    <a:pt x="3093" y="3068339"/>
                    <a:pt x="3093" y="3068339"/>
                    <a:pt x="0" y="3068339"/>
                  </a:cubicBezTo>
                  <a:cubicBezTo>
                    <a:pt x="0" y="3068339"/>
                    <a:pt x="0" y="3068339"/>
                    <a:pt x="0" y="3068339"/>
                  </a:cubicBezTo>
                  <a:lnTo>
                    <a:pt x="0" y="3068339"/>
                  </a:lnTo>
                  <a:lnTo>
                    <a:pt x="0" y="2950801"/>
                  </a:lnTo>
                  <a:lnTo>
                    <a:pt x="6186" y="1555821"/>
                  </a:lnTo>
                  <a:lnTo>
                    <a:pt x="6186" y="1531076"/>
                  </a:lnTo>
                  <a:lnTo>
                    <a:pt x="6186" y="1169185"/>
                  </a:lnTo>
                  <a:lnTo>
                    <a:pt x="6186" y="1023811"/>
                  </a:lnTo>
                  <a:lnTo>
                    <a:pt x="6186" y="1023811"/>
                  </a:lnTo>
                  <a:lnTo>
                    <a:pt x="6186" y="878436"/>
                  </a:lnTo>
                  <a:lnTo>
                    <a:pt x="6186" y="878436"/>
                  </a:lnTo>
                  <a:lnTo>
                    <a:pt x="6186" y="733061"/>
                  </a:lnTo>
                  <a:lnTo>
                    <a:pt x="6186" y="733061"/>
                  </a:lnTo>
                  <a:lnTo>
                    <a:pt x="6186" y="587686"/>
                  </a:lnTo>
                  <a:lnTo>
                    <a:pt x="6186" y="584593"/>
                  </a:lnTo>
                  <a:lnTo>
                    <a:pt x="6186" y="439218"/>
                  </a:lnTo>
                  <a:lnTo>
                    <a:pt x="6186" y="439218"/>
                  </a:lnTo>
                  <a:lnTo>
                    <a:pt x="6186" y="436125"/>
                  </a:lnTo>
                  <a:lnTo>
                    <a:pt x="6186" y="293843"/>
                  </a:lnTo>
                  <a:lnTo>
                    <a:pt x="6186" y="287657"/>
                  </a:lnTo>
                  <a:lnTo>
                    <a:pt x="6186" y="145375"/>
                  </a:lnTo>
                  <a:lnTo>
                    <a:pt x="6186" y="145375"/>
                  </a:lnTo>
                  <a:lnTo>
                    <a:pt x="6186" y="142282"/>
                  </a:lnTo>
                  <a:lnTo>
                    <a:pt x="6186" y="133003"/>
                  </a:lnTo>
                  <a:lnTo>
                    <a:pt x="6186" y="3093"/>
                  </a:lnTo>
                  <a:lnTo>
                    <a:pt x="6186" y="0"/>
                  </a:lnTo>
                  <a:lnTo>
                    <a:pt x="6186" y="3093"/>
                  </a:lnTo>
                  <a:cubicBezTo>
                    <a:pt x="9279" y="3093"/>
                    <a:pt x="12372" y="3093"/>
                    <a:pt x="15465" y="6186"/>
                  </a:cubicBezTo>
                  <a:cubicBezTo>
                    <a:pt x="61862" y="21652"/>
                    <a:pt x="179399" y="61862"/>
                    <a:pt x="287657" y="154654"/>
                  </a:cubicBezTo>
                  <a:cubicBezTo>
                    <a:pt x="290750" y="157747"/>
                    <a:pt x="293843" y="160840"/>
                    <a:pt x="296936" y="163933"/>
                  </a:cubicBezTo>
                  <a:cubicBezTo>
                    <a:pt x="300029" y="167026"/>
                    <a:pt x="303122" y="170120"/>
                    <a:pt x="306215" y="173213"/>
                  </a:cubicBezTo>
                  <a:cubicBezTo>
                    <a:pt x="327867" y="194864"/>
                    <a:pt x="349518" y="216516"/>
                    <a:pt x="371170" y="241260"/>
                  </a:cubicBezTo>
                  <a:cubicBezTo>
                    <a:pt x="380449" y="250540"/>
                    <a:pt x="386635" y="262912"/>
                    <a:pt x="395915" y="272191"/>
                  </a:cubicBezTo>
                  <a:cubicBezTo>
                    <a:pt x="417566" y="303122"/>
                    <a:pt x="436125" y="330960"/>
                    <a:pt x="451590" y="361891"/>
                  </a:cubicBezTo>
                  <a:cubicBezTo>
                    <a:pt x="454683" y="364984"/>
                    <a:pt x="454683" y="368077"/>
                    <a:pt x="457776" y="371170"/>
                  </a:cubicBezTo>
                  <a:cubicBezTo>
                    <a:pt x="460869" y="374263"/>
                    <a:pt x="460869" y="377356"/>
                    <a:pt x="463963" y="380449"/>
                  </a:cubicBezTo>
                  <a:cubicBezTo>
                    <a:pt x="467056" y="386635"/>
                    <a:pt x="470149" y="392822"/>
                    <a:pt x="473242" y="402101"/>
                  </a:cubicBezTo>
                  <a:cubicBezTo>
                    <a:pt x="488707" y="433032"/>
                    <a:pt x="504173" y="467056"/>
                    <a:pt x="513452" y="497986"/>
                  </a:cubicBezTo>
                  <a:close/>
                </a:path>
              </a:pathLst>
            </a:custGeom>
            <a:solidFill>
              <a:srgbClr val="13D6D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AE8077AD-C3EE-4E43-BECB-48D504D481D7}"/>
                </a:ext>
              </a:extLst>
            </p:cNvPr>
            <p:cNvSpPr/>
            <p:nvPr/>
          </p:nvSpPr>
          <p:spPr>
            <a:xfrm>
              <a:off x="176305" y="3789661"/>
              <a:ext cx="30931" cy="30931"/>
            </a:xfrm>
            <a:custGeom>
              <a:avLst/>
              <a:gdLst>
                <a:gd name="connsiteX0" fmla="*/ 9279 w 0"/>
                <a:gd name="connsiteY0" fmla="*/ 3093 h 0"/>
                <a:gd name="connsiteX1" fmla="*/ 0 w 0"/>
                <a:gd name="connsiteY1" fmla="*/ 3093 h 0"/>
                <a:gd name="connsiteX2" fmla="*/ 0 w 0"/>
                <a:gd name="connsiteY2" fmla="*/ 0 h 0"/>
                <a:gd name="connsiteX3" fmla="*/ 9279 w 0"/>
                <a:gd name="connsiteY3" fmla="*/ 30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279" y="3093"/>
                  </a:moveTo>
                  <a:cubicBezTo>
                    <a:pt x="6186" y="3093"/>
                    <a:pt x="3093" y="3093"/>
                    <a:pt x="0" y="3093"/>
                  </a:cubicBezTo>
                  <a:lnTo>
                    <a:pt x="0" y="0"/>
                  </a:lnTo>
                  <a:cubicBezTo>
                    <a:pt x="3093" y="0"/>
                    <a:pt x="6186" y="3093"/>
                    <a:pt x="9279" y="3093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43E060C-0D71-4745-8085-E47CC314F604}"/>
                </a:ext>
              </a:extLst>
            </p:cNvPr>
            <p:cNvSpPr/>
            <p:nvPr/>
          </p:nvSpPr>
          <p:spPr>
            <a:xfrm>
              <a:off x="167026" y="4284555"/>
              <a:ext cx="525824" cy="2567259"/>
            </a:xfrm>
            <a:custGeom>
              <a:avLst/>
              <a:gdLst>
                <a:gd name="connsiteX0" fmla="*/ 528917 w 525824"/>
                <a:gd name="connsiteY0" fmla="*/ 37117 h 2567259"/>
                <a:gd name="connsiteX1" fmla="*/ 528917 w 525824"/>
                <a:gd name="connsiteY1" fmla="*/ 2449722 h 2567259"/>
                <a:gd name="connsiteX2" fmla="*/ 522731 w 525824"/>
                <a:gd name="connsiteY2" fmla="*/ 2449722 h 2567259"/>
                <a:gd name="connsiteX3" fmla="*/ 18558 w 525824"/>
                <a:gd name="connsiteY3" fmla="*/ 2570352 h 2567259"/>
                <a:gd name="connsiteX4" fmla="*/ 15465 w 525824"/>
                <a:gd name="connsiteY4" fmla="*/ 2570352 h 2567259"/>
                <a:gd name="connsiteX5" fmla="*/ 9279 w 525824"/>
                <a:gd name="connsiteY5" fmla="*/ 2570352 h 2567259"/>
                <a:gd name="connsiteX6" fmla="*/ 6186 w 525824"/>
                <a:gd name="connsiteY6" fmla="*/ 2570352 h 2567259"/>
                <a:gd name="connsiteX7" fmla="*/ 0 w 525824"/>
                <a:gd name="connsiteY7" fmla="*/ 2570352 h 2567259"/>
                <a:gd name="connsiteX8" fmla="*/ 3093 w 525824"/>
                <a:gd name="connsiteY8" fmla="*/ 2570352 h 2567259"/>
                <a:gd name="connsiteX9" fmla="*/ 3093 w 525824"/>
                <a:gd name="connsiteY9" fmla="*/ 2570352 h 2567259"/>
                <a:gd name="connsiteX10" fmla="*/ 9279 w 525824"/>
                <a:gd name="connsiteY10" fmla="*/ 2570352 h 2567259"/>
                <a:gd name="connsiteX11" fmla="*/ 15465 w 525824"/>
                <a:gd name="connsiteY11" fmla="*/ 2570352 h 2567259"/>
                <a:gd name="connsiteX12" fmla="*/ 516545 w 525824"/>
                <a:gd name="connsiteY12" fmla="*/ 2437350 h 2567259"/>
                <a:gd name="connsiteX13" fmla="*/ 516545 w 525824"/>
                <a:gd name="connsiteY13" fmla="*/ 0 h 2567259"/>
                <a:gd name="connsiteX14" fmla="*/ 522731 w 525824"/>
                <a:gd name="connsiteY14" fmla="*/ 18559 h 2567259"/>
                <a:gd name="connsiteX15" fmla="*/ 528917 w 525824"/>
                <a:gd name="connsiteY15" fmla="*/ 37117 h 256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5824" h="2567259">
                  <a:moveTo>
                    <a:pt x="528917" y="37117"/>
                  </a:moveTo>
                  <a:lnTo>
                    <a:pt x="528917" y="2449722"/>
                  </a:lnTo>
                  <a:lnTo>
                    <a:pt x="522731" y="2449722"/>
                  </a:lnTo>
                  <a:cubicBezTo>
                    <a:pt x="358798" y="2418791"/>
                    <a:pt x="170120" y="2452815"/>
                    <a:pt x="18558" y="2570352"/>
                  </a:cubicBezTo>
                  <a:cubicBezTo>
                    <a:pt x="18558" y="2570352"/>
                    <a:pt x="15465" y="2570352"/>
                    <a:pt x="15465" y="2570352"/>
                  </a:cubicBezTo>
                  <a:lnTo>
                    <a:pt x="9279" y="2570352"/>
                  </a:lnTo>
                  <a:lnTo>
                    <a:pt x="6186" y="2570352"/>
                  </a:lnTo>
                  <a:lnTo>
                    <a:pt x="0" y="2570352"/>
                  </a:lnTo>
                  <a:cubicBezTo>
                    <a:pt x="0" y="2570352"/>
                    <a:pt x="3093" y="2570352"/>
                    <a:pt x="3093" y="2570352"/>
                  </a:cubicBezTo>
                  <a:cubicBezTo>
                    <a:pt x="3093" y="2570352"/>
                    <a:pt x="3093" y="2570352"/>
                    <a:pt x="3093" y="2570352"/>
                  </a:cubicBezTo>
                  <a:cubicBezTo>
                    <a:pt x="6186" y="2567259"/>
                    <a:pt x="6186" y="2570352"/>
                    <a:pt x="9279" y="2570352"/>
                  </a:cubicBezTo>
                  <a:cubicBezTo>
                    <a:pt x="12372" y="2570352"/>
                    <a:pt x="12372" y="2570352"/>
                    <a:pt x="15465" y="2570352"/>
                  </a:cubicBezTo>
                  <a:cubicBezTo>
                    <a:pt x="167027" y="2455908"/>
                    <a:pt x="352611" y="2406419"/>
                    <a:pt x="516545" y="2437350"/>
                  </a:cubicBezTo>
                  <a:lnTo>
                    <a:pt x="516545" y="0"/>
                  </a:lnTo>
                  <a:cubicBezTo>
                    <a:pt x="519638" y="6186"/>
                    <a:pt x="519638" y="12372"/>
                    <a:pt x="522731" y="18559"/>
                  </a:cubicBezTo>
                  <a:cubicBezTo>
                    <a:pt x="525824" y="24745"/>
                    <a:pt x="525824" y="30931"/>
                    <a:pt x="528917" y="3711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9D2868C9-A0B8-4D92-9350-10C99A987B94}"/>
                </a:ext>
              </a:extLst>
            </p:cNvPr>
            <p:cNvSpPr/>
            <p:nvPr/>
          </p:nvSpPr>
          <p:spPr>
            <a:xfrm>
              <a:off x="176305" y="6578259"/>
              <a:ext cx="494893" cy="123723"/>
            </a:xfrm>
            <a:custGeom>
              <a:avLst/>
              <a:gdLst>
                <a:gd name="connsiteX0" fmla="*/ 6186 w 494893"/>
                <a:gd name="connsiteY0" fmla="*/ 152924 h 123723"/>
                <a:gd name="connsiteX1" fmla="*/ 0 w 494893"/>
                <a:gd name="connsiteY1" fmla="*/ 143645 h 123723"/>
                <a:gd name="connsiteX2" fmla="*/ 516545 w 494893"/>
                <a:gd name="connsiteY2" fmla="*/ 13736 h 123723"/>
                <a:gd name="connsiteX3" fmla="*/ 513452 w 494893"/>
                <a:gd name="connsiteY3" fmla="*/ 26108 h 123723"/>
                <a:gd name="connsiteX4" fmla="*/ 6186 w 494893"/>
                <a:gd name="connsiteY4" fmla="*/ 152924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6186" y="152924"/>
                  </a:moveTo>
                  <a:lnTo>
                    <a:pt x="0" y="143645"/>
                  </a:lnTo>
                  <a:cubicBezTo>
                    <a:pt x="160840" y="23015"/>
                    <a:pt x="346425" y="-26475"/>
                    <a:pt x="516545" y="13736"/>
                  </a:cubicBezTo>
                  <a:lnTo>
                    <a:pt x="513452" y="26108"/>
                  </a:lnTo>
                  <a:cubicBezTo>
                    <a:pt x="346425" y="-14102"/>
                    <a:pt x="160840" y="32294"/>
                    <a:pt x="6186" y="152924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0B228679-6EA7-40C6-9E26-AAC6472C3366}"/>
                </a:ext>
              </a:extLst>
            </p:cNvPr>
            <p:cNvSpPr/>
            <p:nvPr/>
          </p:nvSpPr>
          <p:spPr>
            <a:xfrm>
              <a:off x="176305" y="6439462"/>
              <a:ext cx="494893" cy="123723"/>
            </a:xfrm>
            <a:custGeom>
              <a:avLst/>
              <a:gdLst>
                <a:gd name="connsiteX0" fmla="*/ 6186 w 494893"/>
                <a:gd name="connsiteY0" fmla="*/ 143254 h 123723"/>
                <a:gd name="connsiteX1" fmla="*/ 0 w 494893"/>
                <a:gd name="connsiteY1" fmla="*/ 133975 h 123723"/>
                <a:gd name="connsiteX2" fmla="*/ 516545 w 494893"/>
                <a:gd name="connsiteY2" fmla="*/ 16437 h 123723"/>
                <a:gd name="connsiteX3" fmla="*/ 513452 w 494893"/>
                <a:gd name="connsiteY3" fmla="*/ 28810 h 123723"/>
                <a:gd name="connsiteX4" fmla="*/ 6186 w 494893"/>
                <a:gd name="connsiteY4" fmla="*/ 143254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6186" y="143254"/>
                  </a:moveTo>
                  <a:lnTo>
                    <a:pt x="0" y="133975"/>
                  </a:lnTo>
                  <a:cubicBezTo>
                    <a:pt x="160840" y="16437"/>
                    <a:pt x="349518" y="-26866"/>
                    <a:pt x="516545" y="16437"/>
                  </a:cubicBezTo>
                  <a:lnTo>
                    <a:pt x="513452" y="28810"/>
                  </a:lnTo>
                  <a:cubicBezTo>
                    <a:pt x="346425" y="-14493"/>
                    <a:pt x="163933" y="28810"/>
                    <a:pt x="6186" y="143254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8BCC84F4-D3B1-443A-B709-E69D533E66A6}"/>
                </a:ext>
              </a:extLst>
            </p:cNvPr>
            <p:cNvSpPr/>
            <p:nvPr/>
          </p:nvSpPr>
          <p:spPr>
            <a:xfrm>
              <a:off x="176305" y="6304558"/>
              <a:ext cx="494893" cy="123723"/>
            </a:xfrm>
            <a:custGeom>
              <a:avLst/>
              <a:gdLst>
                <a:gd name="connsiteX0" fmla="*/ 6186 w 494893"/>
                <a:gd name="connsiteY0" fmla="*/ 132782 h 123723"/>
                <a:gd name="connsiteX1" fmla="*/ 0 w 494893"/>
                <a:gd name="connsiteY1" fmla="*/ 123503 h 123723"/>
                <a:gd name="connsiteX2" fmla="*/ 516545 w 494893"/>
                <a:gd name="connsiteY2" fmla="*/ 21431 h 123723"/>
                <a:gd name="connsiteX3" fmla="*/ 513452 w 494893"/>
                <a:gd name="connsiteY3" fmla="*/ 33804 h 123723"/>
                <a:gd name="connsiteX4" fmla="*/ 6186 w 494893"/>
                <a:gd name="connsiteY4" fmla="*/ 132782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6186" y="132782"/>
                  </a:moveTo>
                  <a:lnTo>
                    <a:pt x="0" y="123503"/>
                  </a:lnTo>
                  <a:cubicBezTo>
                    <a:pt x="160840" y="9059"/>
                    <a:pt x="349518" y="-28058"/>
                    <a:pt x="516545" y="21431"/>
                  </a:cubicBezTo>
                  <a:lnTo>
                    <a:pt x="513452" y="33804"/>
                  </a:lnTo>
                  <a:cubicBezTo>
                    <a:pt x="346425" y="-15686"/>
                    <a:pt x="163933" y="21431"/>
                    <a:pt x="6186" y="132782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349AF9F-ACC0-4B8B-BB12-826543770C3B}"/>
                </a:ext>
              </a:extLst>
            </p:cNvPr>
            <p:cNvSpPr/>
            <p:nvPr/>
          </p:nvSpPr>
          <p:spPr>
            <a:xfrm>
              <a:off x="176305" y="6165592"/>
              <a:ext cx="494893" cy="92792"/>
            </a:xfrm>
            <a:custGeom>
              <a:avLst/>
              <a:gdLst>
                <a:gd name="connsiteX0" fmla="*/ 6186 w 494893"/>
                <a:gd name="connsiteY0" fmla="*/ 123280 h 92792"/>
                <a:gd name="connsiteX1" fmla="*/ 0 w 494893"/>
                <a:gd name="connsiteY1" fmla="*/ 114001 h 92792"/>
                <a:gd name="connsiteX2" fmla="*/ 516545 w 494893"/>
                <a:gd name="connsiteY2" fmla="*/ 24302 h 92792"/>
                <a:gd name="connsiteX3" fmla="*/ 513452 w 494893"/>
                <a:gd name="connsiteY3" fmla="*/ 36674 h 92792"/>
                <a:gd name="connsiteX4" fmla="*/ 6186 w 494893"/>
                <a:gd name="connsiteY4" fmla="*/ 12328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23280"/>
                  </a:moveTo>
                  <a:lnTo>
                    <a:pt x="0" y="114001"/>
                  </a:lnTo>
                  <a:cubicBezTo>
                    <a:pt x="160840" y="5743"/>
                    <a:pt x="349518" y="-28281"/>
                    <a:pt x="516545" y="24302"/>
                  </a:cubicBezTo>
                  <a:lnTo>
                    <a:pt x="513452" y="36674"/>
                  </a:lnTo>
                  <a:cubicBezTo>
                    <a:pt x="346425" y="-15908"/>
                    <a:pt x="163933" y="18115"/>
                    <a:pt x="6186" y="123280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A8AE3E21-33BF-4C95-9AD4-F51D6A00476D}"/>
                </a:ext>
              </a:extLst>
            </p:cNvPr>
            <p:cNvSpPr/>
            <p:nvPr/>
          </p:nvSpPr>
          <p:spPr>
            <a:xfrm>
              <a:off x="176305" y="6028820"/>
              <a:ext cx="494893" cy="92792"/>
            </a:xfrm>
            <a:custGeom>
              <a:avLst/>
              <a:gdLst>
                <a:gd name="connsiteX0" fmla="*/ 6186 w 494893"/>
                <a:gd name="connsiteY0" fmla="*/ 114678 h 92792"/>
                <a:gd name="connsiteX1" fmla="*/ 0 w 494893"/>
                <a:gd name="connsiteY1" fmla="*/ 105398 h 92792"/>
                <a:gd name="connsiteX2" fmla="*/ 516545 w 494893"/>
                <a:gd name="connsiteY2" fmla="*/ 28071 h 92792"/>
                <a:gd name="connsiteX3" fmla="*/ 513452 w 494893"/>
                <a:gd name="connsiteY3" fmla="*/ 40444 h 92792"/>
                <a:gd name="connsiteX4" fmla="*/ 6186 w 494893"/>
                <a:gd name="connsiteY4" fmla="*/ 114678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14678"/>
                  </a:moveTo>
                  <a:lnTo>
                    <a:pt x="0" y="105398"/>
                  </a:lnTo>
                  <a:cubicBezTo>
                    <a:pt x="160840" y="233"/>
                    <a:pt x="349518" y="-27604"/>
                    <a:pt x="516545" y="28071"/>
                  </a:cubicBezTo>
                  <a:lnTo>
                    <a:pt x="513452" y="40444"/>
                  </a:lnTo>
                  <a:cubicBezTo>
                    <a:pt x="349518" y="-15232"/>
                    <a:pt x="163933" y="9513"/>
                    <a:pt x="6186" y="114678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F59D38E-C7CC-4EBD-849C-E9CC533E7C34}"/>
                </a:ext>
              </a:extLst>
            </p:cNvPr>
            <p:cNvSpPr/>
            <p:nvPr/>
          </p:nvSpPr>
          <p:spPr>
            <a:xfrm>
              <a:off x="176305" y="5889363"/>
              <a:ext cx="494893" cy="92792"/>
            </a:xfrm>
            <a:custGeom>
              <a:avLst/>
              <a:gdLst>
                <a:gd name="connsiteX0" fmla="*/ 6186 w 494893"/>
                <a:gd name="connsiteY0" fmla="*/ 105667 h 92792"/>
                <a:gd name="connsiteX1" fmla="*/ 0 w 494893"/>
                <a:gd name="connsiteY1" fmla="*/ 96388 h 92792"/>
                <a:gd name="connsiteX2" fmla="*/ 516545 w 494893"/>
                <a:gd name="connsiteY2" fmla="*/ 34526 h 92792"/>
                <a:gd name="connsiteX3" fmla="*/ 513452 w 494893"/>
                <a:gd name="connsiteY3" fmla="*/ 43806 h 92792"/>
                <a:gd name="connsiteX4" fmla="*/ 6186 w 494893"/>
                <a:gd name="connsiteY4" fmla="*/ 105667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05667"/>
                  </a:moveTo>
                  <a:lnTo>
                    <a:pt x="0" y="96388"/>
                  </a:lnTo>
                  <a:cubicBezTo>
                    <a:pt x="160840" y="-5684"/>
                    <a:pt x="349518" y="-27335"/>
                    <a:pt x="516545" y="34526"/>
                  </a:cubicBezTo>
                  <a:lnTo>
                    <a:pt x="513452" y="43806"/>
                  </a:lnTo>
                  <a:cubicBezTo>
                    <a:pt x="349518" y="-14963"/>
                    <a:pt x="163933" y="6689"/>
                    <a:pt x="6186" y="10566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812B2C6E-C399-4897-AC38-BDA8AF41396F}"/>
                </a:ext>
              </a:extLst>
            </p:cNvPr>
            <p:cNvSpPr/>
            <p:nvPr/>
          </p:nvSpPr>
          <p:spPr>
            <a:xfrm>
              <a:off x="176305" y="5749531"/>
              <a:ext cx="494893" cy="92792"/>
            </a:xfrm>
            <a:custGeom>
              <a:avLst/>
              <a:gdLst>
                <a:gd name="connsiteX0" fmla="*/ 6186 w 494893"/>
                <a:gd name="connsiteY0" fmla="*/ 100124 h 92792"/>
                <a:gd name="connsiteX1" fmla="*/ 0 w 494893"/>
                <a:gd name="connsiteY1" fmla="*/ 87751 h 92792"/>
                <a:gd name="connsiteX2" fmla="*/ 516545 w 494893"/>
                <a:gd name="connsiteY2" fmla="*/ 38262 h 92792"/>
                <a:gd name="connsiteX3" fmla="*/ 513452 w 494893"/>
                <a:gd name="connsiteY3" fmla="*/ 47541 h 92792"/>
                <a:gd name="connsiteX4" fmla="*/ 6186 w 494893"/>
                <a:gd name="connsiteY4" fmla="*/ 100124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00124"/>
                  </a:moveTo>
                  <a:lnTo>
                    <a:pt x="0" y="87751"/>
                  </a:lnTo>
                  <a:cubicBezTo>
                    <a:pt x="163933" y="-8134"/>
                    <a:pt x="349518" y="-26693"/>
                    <a:pt x="516545" y="38262"/>
                  </a:cubicBezTo>
                  <a:lnTo>
                    <a:pt x="513452" y="47541"/>
                  </a:lnTo>
                  <a:cubicBezTo>
                    <a:pt x="349518" y="-11227"/>
                    <a:pt x="163933" y="4238"/>
                    <a:pt x="6186" y="100124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136D1D24-7657-4637-9111-7C89F919AC7B}"/>
                </a:ext>
              </a:extLst>
            </p:cNvPr>
            <p:cNvSpPr/>
            <p:nvPr/>
          </p:nvSpPr>
          <p:spPr>
            <a:xfrm>
              <a:off x="173212" y="5612191"/>
              <a:ext cx="494893" cy="61862"/>
            </a:xfrm>
            <a:custGeom>
              <a:avLst/>
              <a:gdLst>
                <a:gd name="connsiteX0" fmla="*/ 6186 w 494893"/>
                <a:gd name="connsiteY0" fmla="*/ 88996 h 61861"/>
                <a:gd name="connsiteX1" fmla="*/ 0 w 494893"/>
                <a:gd name="connsiteY1" fmla="*/ 79717 h 61861"/>
                <a:gd name="connsiteX2" fmla="*/ 516545 w 494893"/>
                <a:gd name="connsiteY2" fmla="*/ 45693 h 61861"/>
                <a:gd name="connsiteX3" fmla="*/ 513452 w 494893"/>
                <a:gd name="connsiteY3" fmla="*/ 54972 h 61861"/>
                <a:gd name="connsiteX4" fmla="*/ 6186 w 494893"/>
                <a:gd name="connsiteY4" fmla="*/ 8899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6186" y="88996"/>
                  </a:moveTo>
                  <a:lnTo>
                    <a:pt x="0" y="79717"/>
                  </a:lnTo>
                  <a:cubicBezTo>
                    <a:pt x="163933" y="-13076"/>
                    <a:pt x="352612" y="-25448"/>
                    <a:pt x="516545" y="45693"/>
                  </a:cubicBezTo>
                  <a:lnTo>
                    <a:pt x="513452" y="54972"/>
                  </a:lnTo>
                  <a:cubicBezTo>
                    <a:pt x="352612" y="-13076"/>
                    <a:pt x="167027" y="-703"/>
                    <a:pt x="6186" y="88996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3AA35BE4-A8D7-4AED-81CC-E191BA4415C7}"/>
                </a:ext>
              </a:extLst>
            </p:cNvPr>
            <p:cNvSpPr/>
            <p:nvPr/>
          </p:nvSpPr>
          <p:spPr>
            <a:xfrm>
              <a:off x="173212" y="5474835"/>
              <a:ext cx="494893" cy="61862"/>
            </a:xfrm>
            <a:custGeom>
              <a:avLst/>
              <a:gdLst>
                <a:gd name="connsiteX0" fmla="*/ 6186 w 494893"/>
                <a:gd name="connsiteY0" fmla="*/ 80977 h 61861"/>
                <a:gd name="connsiteX1" fmla="*/ 0 w 494893"/>
                <a:gd name="connsiteY1" fmla="*/ 71698 h 61861"/>
                <a:gd name="connsiteX2" fmla="*/ 516545 w 494893"/>
                <a:gd name="connsiteY2" fmla="*/ 50046 h 61861"/>
                <a:gd name="connsiteX3" fmla="*/ 510359 w 494893"/>
                <a:gd name="connsiteY3" fmla="*/ 59325 h 61861"/>
                <a:gd name="connsiteX4" fmla="*/ 6186 w 494893"/>
                <a:gd name="connsiteY4" fmla="*/ 80977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6186" y="80977"/>
                  </a:moveTo>
                  <a:lnTo>
                    <a:pt x="0" y="71698"/>
                  </a:lnTo>
                  <a:cubicBezTo>
                    <a:pt x="163933" y="-14908"/>
                    <a:pt x="352612" y="-24188"/>
                    <a:pt x="516545" y="50046"/>
                  </a:cubicBezTo>
                  <a:lnTo>
                    <a:pt x="510359" y="59325"/>
                  </a:lnTo>
                  <a:cubicBezTo>
                    <a:pt x="352612" y="-11815"/>
                    <a:pt x="167027" y="-5629"/>
                    <a:pt x="6186" y="8097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655033E5-E58E-4E7F-A177-4C5B81CEF8E5}"/>
                </a:ext>
              </a:extLst>
            </p:cNvPr>
            <p:cNvSpPr/>
            <p:nvPr/>
          </p:nvSpPr>
          <p:spPr>
            <a:xfrm>
              <a:off x="173212" y="5333447"/>
              <a:ext cx="494893" cy="61862"/>
            </a:xfrm>
            <a:custGeom>
              <a:avLst/>
              <a:gdLst>
                <a:gd name="connsiteX0" fmla="*/ 6186 w 494893"/>
                <a:gd name="connsiteY0" fmla="*/ 73897 h 61861"/>
                <a:gd name="connsiteX1" fmla="*/ 0 w 494893"/>
                <a:gd name="connsiteY1" fmla="*/ 64617 h 61861"/>
                <a:gd name="connsiteX2" fmla="*/ 516545 w 494893"/>
                <a:gd name="connsiteY2" fmla="*/ 58431 h 61861"/>
                <a:gd name="connsiteX3" fmla="*/ 510359 w 494893"/>
                <a:gd name="connsiteY3" fmla="*/ 67710 h 61861"/>
                <a:gd name="connsiteX4" fmla="*/ 6186 w 494893"/>
                <a:gd name="connsiteY4" fmla="*/ 73897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6186" y="73897"/>
                  </a:moveTo>
                  <a:lnTo>
                    <a:pt x="0" y="64617"/>
                  </a:lnTo>
                  <a:cubicBezTo>
                    <a:pt x="163933" y="-18896"/>
                    <a:pt x="352612" y="-21989"/>
                    <a:pt x="516545" y="58431"/>
                  </a:cubicBezTo>
                  <a:lnTo>
                    <a:pt x="510359" y="67710"/>
                  </a:lnTo>
                  <a:cubicBezTo>
                    <a:pt x="352612" y="-9617"/>
                    <a:pt x="167027" y="-6524"/>
                    <a:pt x="6186" y="7389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EFACA66F-4FCB-40B9-88FA-18C21D931093}"/>
                </a:ext>
              </a:extLst>
            </p:cNvPr>
            <p:cNvSpPr/>
            <p:nvPr/>
          </p:nvSpPr>
          <p:spPr>
            <a:xfrm>
              <a:off x="176305" y="5192352"/>
              <a:ext cx="494893" cy="61862"/>
            </a:xfrm>
            <a:custGeom>
              <a:avLst/>
              <a:gdLst>
                <a:gd name="connsiteX0" fmla="*/ 510359 w 494893"/>
                <a:gd name="connsiteY0" fmla="*/ 75803 h 61861"/>
                <a:gd name="connsiteX1" fmla="*/ 3093 w 494893"/>
                <a:gd name="connsiteY1" fmla="*/ 69617 h 61861"/>
                <a:gd name="connsiteX2" fmla="*/ 0 w 494893"/>
                <a:gd name="connsiteY2" fmla="*/ 57244 h 61861"/>
                <a:gd name="connsiteX3" fmla="*/ 516545 w 494893"/>
                <a:gd name="connsiteY3" fmla="*/ 63430 h 61861"/>
                <a:gd name="connsiteX4" fmla="*/ 510359 w 494893"/>
                <a:gd name="connsiteY4" fmla="*/ 7580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510359" y="75803"/>
                  </a:moveTo>
                  <a:cubicBezTo>
                    <a:pt x="349518" y="-4617"/>
                    <a:pt x="163933" y="-7710"/>
                    <a:pt x="3093" y="69617"/>
                  </a:cubicBezTo>
                  <a:lnTo>
                    <a:pt x="0" y="57244"/>
                  </a:lnTo>
                  <a:cubicBezTo>
                    <a:pt x="163933" y="-20083"/>
                    <a:pt x="352612" y="-20083"/>
                    <a:pt x="516545" y="63430"/>
                  </a:cubicBezTo>
                  <a:lnTo>
                    <a:pt x="510359" y="75803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883454DF-6F53-45AB-9338-6D4926630379}"/>
                </a:ext>
              </a:extLst>
            </p:cNvPr>
            <p:cNvSpPr/>
            <p:nvPr/>
          </p:nvSpPr>
          <p:spPr>
            <a:xfrm>
              <a:off x="173212" y="5053129"/>
              <a:ext cx="494893" cy="61862"/>
            </a:xfrm>
            <a:custGeom>
              <a:avLst/>
              <a:gdLst>
                <a:gd name="connsiteX0" fmla="*/ 513452 w 494893"/>
                <a:gd name="connsiteY0" fmla="*/ 82023 h 61861"/>
                <a:gd name="connsiteX1" fmla="*/ 6186 w 494893"/>
                <a:gd name="connsiteY1" fmla="*/ 60372 h 61861"/>
                <a:gd name="connsiteX2" fmla="*/ 0 w 494893"/>
                <a:gd name="connsiteY2" fmla="*/ 51093 h 61861"/>
                <a:gd name="connsiteX3" fmla="*/ 516545 w 494893"/>
                <a:gd name="connsiteY3" fmla="*/ 72744 h 61861"/>
                <a:gd name="connsiteX4" fmla="*/ 513452 w 494893"/>
                <a:gd name="connsiteY4" fmla="*/ 820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513452" y="82023"/>
                  </a:moveTo>
                  <a:cubicBezTo>
                    <a:pt x="352612" y="-4583"/>
                    <a:pt x="167027" y="-10769"/>
                    <a:pt x="6186" y="60372"/>
                  </a:cubicBezTo>
                  <a:lnTo>
                    <a:pt x="0" y="51093"/>
                  </a:lnTo>
                  <a:cubicBezTo>
                    <a:pt x="163933" y="-23141"/>
                    <a:pt x="352612" y="-16955"/>
                    <a:pt x="516545" y="72744"/>
                  </a:cubicBezTo>
                  <a:lnTo>
                    <a:pt x="513452" y="82023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61269193-A10D-4A23-976A-747ABBEC23EC}"/>
                </a:ext>
              </a:extLst>
            </p:cNvPr>
            <p:cNvSpPr/>
            <p:nvPr/>
          </p:nvSpPr>
          <p:spPr>
            <a:xfrm>
              <a:off x="176305" y="4913154"/>
              <a:ext cx="494893" cy="61862"/>
            </a:xfrm>
            <a:custGeom>
              <a:avLst/>
              <a:gdLst>
                <a:gd name="connsiteX0" fmla="*/ 510359 w 494893"/>
                <a:gd name="connsiteY0" fmla="*/ 88996 h 61861"/>
                <a:gd name="connsiteX1" fmla="*/ 3093 w 494893"/>
                <a:gd name="connsiteY1" fmla="*/ 54972 h 61861"/>
                <a:gd name="connsiteX2" fmla="*/ 0 w 494893"/>
                <a:gd name="connsiteY2" fmla="*/ 45693 h 61861"/>
                <a:gd name="connsiteX3" fmla="*/ 516545 w 494893"/>
                <a:gd name="connsiteY3" fmla="*/ 79717 h 61861"/>
                <a:gd name="connsiteX4" fmla="*/ 510359 w 494893"/>
                <a:gd name="connsiteY4" fmla="*/ 8899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510359" y="88996"/>
                  </a:moveTo>
                  <a:cubicBezTo>
                    <a:pt x="349518" y="-703"/>
                    <a:pt x="167027" y="-13076"/>
                    <a:pt x="3093" y="54972"/>
                  </a:cubicBezTo>
                  <a:lnTo>
                    <a:pt x="0" y="45693"/>
                  </a:lnTo>
                  <a:cubicBezTo>
                    <a:pt x="163933" y="-25448"/>
                    <a:pt x="352612" y="-13076"/>
                    <a:pt x="516545" y="79717"/>
                  </a:cubicBezTo>
                  <a:lnTo>
                    <a:pt x="510359" y="88996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7236B2AB-0736-460A-84BD-3581D3209892}"/>
                </a:ext>
              </a:extLst>
            </p:cNvPr>
            <p:cNvSpPr/>
            <p:nvPr/>
          </p:nvSpPr>
          <p:spPr>
            <a:xfrm>
              <a:off x="176305" y="4772117"/>
              <a:ext cx="494893" cy="92792"/>
            </a:xfrm>
            <a:custGeom>
              <a:avLst/>
              <a:gdLst>
                <a:gd name="connsiteX0" fmla="*/ 510359 w 494893"/>
                <a:gd name="connsiteY0" fmla="*/ 97031 h 92792"/>
                <a:gd name="connsiteX1" fmla="*/ 3093 w 494893"/>
                <a:gd name="connsiteY1" fmla="*/ 47541 h 92792"/>
                <a:gd name="connsiteX2" fmla="*/ 0 w 494893"/>
                <a:gd name="connsiteY2" fmla="*/ 38262 h 92792"/>
                <a:gd name="connsiteX3" fmla="*/ 516545 w 494893"/>
                <a:gd name="connsiteY3" fmla="*/ 87752 h 92792"/>
                <a:gd name="connsiteX4" fmla="*/ 510359 w 494893"/>
                <a:gd name="connsiteY4" fmla="*/ 97031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510359" y="97031"/>
                  </a:moveTo>
                  <a:cubicBezTo>
                    <a:pt x="349518" y="1145"/>
                    <a:pt x="167027" y="-17413"/>
                    <a:pt x="3093" y="47541"/>
                  </a:cubicBezTo>
                  <a:lnTo>
                    <a:pt x="0" y="38262"/>
                  </a:lnTo>
                  <a:cubicBezTo>
                    <a:pt x="167027" y="-26693"/>
                    <a:pt x="352612" y="-8134"/>
                    <a:pt x="516545" y="87752"/>
                  </a:cubicBezTo>
                  <a:lnTo>
                    <a:pt x="510359" y="97031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FEB3A521-44A3-4AA7-BC59-E2A56161802D}"/>
                </a:ext>
              </a:extLst>
            </p:cNvPr>
            <p:cNvSpPr/>
            <p:nvPr/>
          </p:nvSpPr>
          <p:spPr>
            <a:xfrm>
              <a:off x="176305" y="4628184"/>
              <a:ext cx="494893" cy="92792"/>
            </a:xfrm>
            <a:custGeom>
              <a:avLst/>
              <a:gdLst>
                <a:gd name="connsiteX0" fmla="*/ 510359 w 494893"/>
                <a:gd name="connsiteY0" fmla="*/ 107961 h 92792"/>
                <a:gd name="connsiteX1" fmla="*/ 3093 w 494893"/>
                <a:gd name="connsiteY1" fmla="*/ 46099 h 92792"/>
                <a:gd name="connsiteX2" fmla="*/ 0 w 494893"/>
                <a:gd name="connsiteY2" fmla="*/ 33727 h 92792"/>
                <a:gd name="connsiteX3" fmla="*/ 516545 w 494893"/>
                <a:gd name="connsiteY3" fmla="*/ 95588 h 92792"/>
                <a:gd name="connsiteX4" fmla="*/ 510359 w 494893"/>
                <a:gd name="connsiteY4" fmla="*/ 107961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510359" y="107961"/>
                  </a:moveTo>
                  <a:cubicBezTo>
                    <a:pt x="352612" y="8982"/>
                    <a:pt x="167027" y="-12670"/>
                    <a:pt x="3093" y="46099"/>
                  </a:cubicBezTo>
                  <a:lnTo>
                    <a:pt x="0" y="33727"/>
                  </a:lnTo>
                  <a:cubicBezTo>
                    <a:pt x="167027" y="-28135"/>
                    <a:pt x="355705" y="-3390"/>
                    <a:pt x="516545" y="95588"/>
                  </a:cubicBezTo>
                  <a:lnTo>
                    <a:pt x="510359" y="107961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3056B0BF-BFC5-44C5-8197-37BA42D3E23D}"/>
                </a:ext>
              </a:extLst>
            </p:cNvPr>
            <p:cNvSpPr/>
            <p:nvPr/>
          </p:nvSpPr>
          <p:spPr>
            <a:xfrm>
              <a:off x="176305" y="4485372"/>
              <a:ext cx="494893" cy="92792"/>
            </a:xfrm>
            <a:custGeom>
              <a:avLst/>
              <a:gdLst>
                <a:gd name="connsiteX0" fmla="*/ 510359 w 494893"/>
                <a:gd name="connsiteY0" fmla="*/ 114678 h 92792"/>
                <a:gd name="connsiteX1" fmla="*/ 3093 w 494893"/>
                <a:gd name="connsiteY1" fmla="*/ 40443 h 92792"/>
                <a:gd name="connsiteX2" fmla="*/ 0 w 494893"/>
                <a:gd name="connsiteY2" fmla="*/ 28071 h 92792"/>
                <a:gd name="connsiteX3" fmla="*/ 516545 w 494893"/>
                <a:gd name="connsiteY3" fmla="*/ 105398 h 92792"/>
                <a:gd name="connsiteX4" fmla="*/ 510359 w 494893"/>
                <a:gd name="connsiteY4" fmla="*/ 114678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510359" y="114678"/>
                  </a:moveTo>
                  <a:cubicBezTo>
                    <a:pt x="352612" y="12606"/>
                    <a:pt x="167027" y="-15232"/>
                    <a:pt x="3093" y="40443"/>
                  </a:cubicBezTo>
                  <a:lnTo>
                    <a:pt x="0" y="28071"/>
                  </a:lnTo>
                  <a:cubicBezTo>
                    <a:pt x="167027" y="-27604"/>
                    <a:pt x="355705" y="233"/>
                    <a:pt x="516545" y="105398"/>
                  </a:cubicBezTo>
                  <a:lnTo>
                    <a:pt x="510359" y="114678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FB315762-CF90-4150-93B3-2CDBB512DEF6}"/>
                </a:ext>
              </a:extLst>
            </p:cNvPr>
            <p:cNvSpPr/>
            <p:nvPr/>
          </p:nvSpPr>
          <p:spPr>
            <a:xfrm>
              <a:off x="176305" y="4340673"/>
              <a:ext cx="494893" cy="123723"/>
            </a:xfrm>
            <a:custGeom>
              <a:avLst/>
              <a:gdLst>
                <a:gd name="connsiteX0" fmla="*/ 510359 w 494893"/>
                <a:gd name="connsiteY0" fmla="*/ 126373 h 123723"/>
                <a:gd name="connsiteX1" fmla="*/ 3093 w 494893"/>
                <a:gd name="connsiteY1" fmla="*/ 36674 h 123723"/>
                <a:gd name="connsiteX2" fmla="*/ 0 w 494893"/>
                <a:gd name="connsiteY2" fmla="*/ 24302 h 123723"/>
                <a:gd name="connsiteX3" fmla="*/ 516545 w 494893"/>
                <a:gd name="connsiteY3" fmla="*/ 114001 h 123723"/>
                <a:gd name="connsiteX4" fmla="*/ 510359 w 494893"/>
                <a:gd name="connsiteY4" fmla="*/ 126373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510359" y="126373"/>
                  </a:moveTo>
                  <a:cubicBezTo>
                    <a:pt x="352612" y="18116"/>
                    <a:pt x="167027" y="-12815"/>
                    <a:pt x="3093" y="36674"/>
                  </a:cubicBezTo>
                  <a:lnTo>
                    <a:pt x="0" y="24302"/>
                  </a:lnTo>
                  <a:cubicBezTo>
                    <a:pt x="167027" y="-28281"/>
                    <a:pt x="355705" y="5743"/>
                    <a:pt x="516545" y="114001"/>
                  </a:cubicBezTo>
                  <a:lnTo>
                    <a:pt x="510359" y="126373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46C011C2-59A4-43E9-863F-771EBE1DD834}"/>
                </a:ext>
              </a:extLst>
            </p:cNvPr>
            <p:cNvSpPr/>
            <p:nvPr/>
          </p:nvSpPr>
          <p:spPr>
            <a:xfrm>
              <a:off x="176305" y="4200065"/>
              <a:ext cx="494893" cy="123723"/>
            </a:xfrm>
            <a:custGeom>
              <a:avLst/>
              <a:gdLst>
                <a:gd name="connsiteX0" fmla="*/ 510359 w 494893"/>
                <a:gd name="connsiteY0" fmla="*/ 133980 h 123723"/>
                <a:gd name="connsiteX1" fmla="*/ 3093 w 494893"/>
                <a:gd name="connsiteY1" fmla="*/ 31908 h 123723"/>
                <a:gd name="connsiteX2" fmla="*/ 0 w 494893"/>
                <a:gd name="connsiteY2" fmla="*/ 19535 h 123723"/>
                <a:gd name="connsiteX3" fmla="*/ 516545 w 494893"/>
                <a:gd name="connsiteY3" fmla="*/ 121607 h 123723"/>
                <a:gd name="connsiteX4" fmla="*/ 510359 w 494893"/>
                <a:gd name="connsiteY4" fmla="*/ 133980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510359" y="133980"/>
                  </a:moveTo>
                  <a:cubicBezTo>
                    <a:pt x="352612" y="22628"/>
                    <a:pt x="167027" y="-14489"/>
                    <a:pt x="3093" y="31908"/>
                  </a:cubicBezTo>
                  <a:lnTo>
                    <a:pt x="0" y="19535"/>
                  </a:lnTo>
                  <a:cubicBezTo>
                    <a:pt x="167027" y="-26861"/>
                    <a:pt x="355705" y="10256"/>
                    <a:pt x="516545" y="121607"/>
                  </a:cubicBezTo>
                  <a:lnTo>
                    <a:pt x="510359" y="133980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6CA82E3D-2ABC-4F70-9081-4F9A70622DF9}"/>
                </a:ext>
              </a:extLst>
            </p:cNvPr>
            <p:cNvSpPr/>
            <p:nvPr/>
          </p:nvSpPr>
          <p:spPr>
            <a:xfrm>
              <a:off x="179398" y="4058017"/>
              <a:ext cx="433032" cy="92792"/>
            </a:xfrm>
            <a:custGeom>
              <a:avLst/>
              <a:gdLst>
                <a:gd name="connsiteX0" fmla="*/ 448497 w 433031"/>
                <a:gd name="connsiteY0" fmla="*/ 99722 h 92792"/>
                <a:gd name="connsiteX1" fmla="*/ 454683 w 433031"/>
                <a:gd name="connsiteY1" fmla="*/ 109001 h 92792"/>
                <a:gd name="connsiteX2" fmla="*/ 12372 w 433031"/>
                <a:gd name="connsiteY2" fmla="*/ 25488 h 92792"/>
                <a:gd name="connsiteX3" fmla="*/ 0 w 433031"/>
                <a:gd name="connsiteY3" fmla="*/ 28581 h 92792"/>
                <a:gd name="connsiteX4" fmla="*/ 0 w 433031"/>
                <a:gd name="connsiteY4" fmla="*/ 22395 h 92792"/>
                <a:gd name="connsiteX5" fmla="*/ 0 w 433031"/>
                <a:gd name="connsiteY5" fmla="*/ 22395 h 92792"/>
                <a:gd name="connsiteX6" fmla="*/ 0 w 433031"/>
                <a:gd name="connsiteY6" fmla="*/ 19301 h 92792"/>
                <a:gd name="connsiteX7" fmla="*/ 0 w 433031"/>
                <a:gd name="connsiteY7" fmla="*/ 16208 h 92792"/>
                <a:gd name="connsiteX8" fmla="*/ 0 w 433031"/>
                <a:gd name="connsiteY8" fmla="*/ 16208 h 92792"/>
                <a:gd name="connsiteX9" fmla="*/ 0 w 433031"/>
                <a:gd name="connsiteY9" fmla="*/ 16208 h 92792"/>
                <a:gd name="connsiteX10" fmla="*/ 445404 w 433031"/>
                <a:gd name="connsiteY10" fmla="*/ 87349 h 92792"/>
                <a:gd name="connsiteX11" fmla="*/ 448497 w 433031"/>
                <a:gd name="connsiteY11" fmla="*/ 99722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3031" h="92792">
                  <a:moveTo>
                    <a:pt x="448497" y="99722"/>
                  </a:moveTo>
                  <a:cubicBezTo>
                    <a:pt x="451590" y="102815"/>
                    <a:pt x="451590" y="105908"/>
                    <a:pt x="454683" y="109001"/>
                  </a:cubicBezTo>
                  <a:cubicBezTo>
                    <a:pt x="312401" y="22395"/>
                    <a:pt x="154654" y="-8536"/>
                    <a:pt x="12372" y="25488"/>
                  </a:cubicBezTo>
                  <a:cubicBezTo>
                    <a:pt x="9279" y="25488"/>
                    <a:pt x="6186" y="28581"/>
                    <a:pt x="0" y="28581"/>
                  </a:cubicBezTo>
                  <a:lnTo>
                    <a:pt x="0" y="22395"/>
                  </a:lnTo>
                  <a:lnTo>
                    <a:pt x="0" y="22395"/>
                  </a:lnTo>
                  <a:lnTo>
                    <a:pt x="0" y="19301"/>
                  </a:lnTo>
                  <a:lnTo>
                    <a:pt x="0" y="16208"/>
                  </a:lnTo>
                  <a:cubicBezTo>
                    <a:pt x="0" y="16208"/>
                    <a:pt x="0" y="16208"/>
                    <a:pt x="0" y="16208"/>
                  </a:cubicBezTo>
                  <a:lnTo>
                    <a:pt x="0" y="16208"/>
                  </a:lnTo>
                  <a:cubicBezTo>
                    <a:pt x="145375" y="-20909"/>
                    <a:pt x="303122" y="6929"/>
                    <a:pt x="445404" y="87349"/>
                  </a:cubicBezTo>
                  <a:cubicBezTo>
                    <a:pt x="445404" y="90442"/>
                    <a:pt x="448497" y="96629"/>
                    <a:pt x="448497" y="99722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026C1CCD-E13B-4A8D-A90A-D1BD8B4F8743}"/>
                </a:ext>
              </a:extLst>
            </p:cNvPr>
            <p:cNvSpPr/>
            <p:nvPr/>
          </p:nvSpPr>
          <p:spPr>
            <a:xfrm>
              <a:off x="176305" y="3915830"/>
              <a:ext cx="278378" cy="30931"/>
            </a:xfrm>
            <a:custGeom>
              <a:avLst/>
              <a:gdLst>
                <a:gd name="connsiteX0" fmla="*/ 293843 w 278377"/>
                <a:gd name="connsiteY0" fmla="*/ 31578 h 30930"/>
                <a:gd name="connsiteX1" fmla="*/ 303122 w 278377"/>
                <a:gd name="connsiteY1" fmla="*/ 40858 h 30930"/>
                <a:gd name="connsiteX2" fmla="*/ 12372 w 278377"/>
                <a:gd name="connsiteY2" fmla="*/ 19206 h 30930"/>
                <a:gd name="connsiteX3" fmla="*/ 0 w 278377"/>
                <a:gd name="connsiteY3" fmla="*/ 22299 h 30930"/>
                <a:gd name="connsiteX4" fmla="*/ 0 w 278377"/>
                <a:gd name="connsiteY4" fmla="*/ 16113 h 30930"/>
                <a:gd name="connsiteX5" fmla="*/ 0 w 278377"/>
                <a:gd name="connsiteY5" fmla="*/ 16113 h 30930"/>
                <a:gd name="connsiteX6" fmla="*/ 0 w 278377"/>
                <a:gd name="connsiteY6" fmla="*/ 16113 h 30930"/>
                <a:gd name="connsiteX7" fmla="*/ 0 w 278377"/>
                <a:gd name="connsiteY7" fmla="*/ 13020 h 30930"/>
                <a:gd name="connsiteX8" fmla="*/ 0 w 278377"/>
                <a:gd name="connsiteY8" fmla="*/ 13020 h 30930"/>
                <a:gd name="connsiteX9" fmla="*/ 281471 w 278377"/>
                <a:gd name="connsiteY9" fmla="*/ 25392 h 30930"/>
                <a:gd name="connsiteX10" fmla="*/ 293843 w 278377"/>
                <a:gd name="connsiteY10" fmla="*/ 3157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377" h="30930">
                  <a:moveTo>
                    <a:pt x="293843" y="31578"/>
                  </a:moveTo>
                  <a:cubicBezTo>
                    <a:pt x="296936" y="34671"/>
                    <a:pt x="300029" y="37764"/>
                    <a:pt x="303122" y="40858"/>
                  </a:cubicBezTo>
                  <a:cubicBezTo>
                    <a:pt x="207237" y="9927"/>
                    <a:pt x="108258" y="647"/>
                    <a:pt x="12372" y="19206"/>
                  </a:cubicBezTo>
                  <a:lnTo>
                    <a:pt x="0" y="22299"/>
                  </a:lnTo>
                  <a:lnTo>
                    <a:pt x="0" y="16113"/>
                  </a:lnTo>
                  <a:lnTo>
                    <a:pt x="0" y="16113"/>
                  </a:lnTo>
                  <a:lnTo>
                    <a:pt x="0" y="16113"/>
                  </a:lnTo>
                  <a:lnTo>
                    <a:pt x="0" y="13020"/>
                  </a:lnTo>
                  <a:cubicBezTo>
                    <a:pt x="0" y="13020"/>
                    <a:pt x="0" y="13020"/>
                    <a:pt x="0" y="13020"/>
                  </a:cubicBezTo>
                  <a:cubicBezTo>
                    <a:pt x="89699" y="-8632"/>
                    <a:pt x="185585" y="-2446"/>
                    <a:pt x="281471" y="25392"/>
                  </a:cubicBezTo>
                  <a:cubicBezTo>
                    <a:pt x="284564" y="25392"/>
                    <a:pt x="290750" y="28485"/>
                    <a:pt x="293843" y="31578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9D19B1E2-3667-43DE-A662-257E3DD05909}"/>
                </a:ext>
              </a:extLst>
            </p:cNvPr>
            <p:cNvSpPr/>
            <p:nvPr/>
          </p:nvSpPr>
          <p:spPr>
            <a:xfrm>
              <a:off x="2706447" y="4315486"/>
              <a:ext cx="278378" cy="1824919"/>
            </a:xfrm>
            <a:custGeom>
              <a:avLst/>
              <a:gdLst>
                <a:gd name="connsiteX0" fmla="*/ 0 w 278377"/>
                <a:gd name="connsiteY0" fmla="*/ 0 h 1824919"/>
                <a:gd name="connsiteX1" fmla="*/ 306215 w 278377"/>
                <a:gd name="connsiteY1" fmla="*/ 0 h 1824919"/>
                <a:gd name="connsiteX2" fmla="*/ 306215 w 278377"/>
                <a:gd name="connsiteY2" fmla="*/ 1846571 h 1824919"/>
                <a:gd name="connsiteX3" fmla="*/ 0 w 278377"/>
                <a:gd name="connsiteY3" fmla="*/ 1846571 h 1824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77" h="1824919">
                  <a:moveTo>
                    <a:pt x="0" y="0"/>
                  </a:moveTo>
                  <a:lnTo>
                    <a:pt x="306215" y="0"/>
                  </a:lnTo>
                  <a:lnTo>
                    <a:pt x="306215" y="1846571"/>
                  </a:lnTo>
                  <a:lnTo>
                    <a:pt x="0" y="1846571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6034856F-1037-4A16-A671-7729B50BA4A5}"/>
                </a:ext>
              </a:extLst>
            </p:cNvPr>
            <p:cNvSpPr/>
            <p:nvPr/>
          </p:nvSpPr>
          <p:spPr>
            <a:xfrm>
              <a:off x="3495183" y="4191762"/>
              <a:ext cx="216516" cy="1824919"/>
            </a:xfrm>
            <a:custGeom>
              <a:avLst/>
              <a:gdLst>
                <a:gd name="connsiteX0" fmla="*/ 238167 w 216515"/>
                <a:gd name="connsiteY0" fmla="*/ 1831105 h 1824919"/>
                <a:gd name="connsiteX1" fmla="*/ 0 w 216515"/>
                <a:gd name="connsiteY1" fmla="*/ 1846571 h 1824919"/>
                <a:gd name="connsiteX2" fmla="*/ 0 w 216515"/>
                <a:gd name="connsiteY2" fmla="*/ 0 h 1824919"/>
                <a:gd name="connsiteX3" fmla="*/ 238167 w 216515"/>
                <a:gd name="connsiteY3" fmla="*/ 191771 h 1824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1824919">
                  <a:moveTo>
                    <a:pt x="238167" y="1831105"/>
                  </a:moveTo>
                  <a:lnTo>
                    <a:pt x="0" y="1846571"/>
                  </a:lnTo>
                  <a:lnTo>
                    <a:pt x="0" y="0"/>
                  </a:lnTo>
                  <a:lnTo>
                    <a:pt x="238167" y="191771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32D2E1AC-061D-4C1D-A26A-8F0FC1F85F2F}"/>
                </a:ext>
              </a:extLst>
            </p:cNvPr>
            <p:cNvSpPr/>
            <p:nvPr/>
          </p:nvSpPr>
          <p:spPr>
            <a:xfrm>
              <a:off x="1314559" y="4111342"/>
              <a:ext cx="402101" cy="1206302"/>
            </a:xfrm>
            <a:custGeom>
              <a:avLst/>
              <a:gdLst>
                <a:gd name="connsiteX0" fmla="*/ 0 w 402100"/>
                <a:gd name="connsiteY0" fmla="*/ 0 h 1206302"/>
                <a:gd name="connsiteX1" fmla="*/ 414473 w 402100"/>
                <a:gd name="connsiteY1" fmla="*/ 0 h 1206302"/>
                <a:gd name="connsiteX2" fmla="*/ 414473 w 402100"/>
                <a:gd name="connsiteY2" fmla="*/ 1215582 h 1206302"/>
                <a:gd name="connsiteX3" fmla="*/ 0 w 402100"/>
                <a:gd name="connsiteY3" fmla="*/ 1215582 h 120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1206302">
                  <a:moveTo>
                    <a:pt x="0" y="0"/>
                  </a:moveTo>
                  <a:lnTo>
                    <a:pt x="414473" y="0"/>
                  </a:lnTo>
                  <a:lnTo>
                    <a:pt x="414473" y="1215582"/>
                  </a:lnTo>
                  <a:lnTo>
                    <a:pt x="0" y="1215582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AB96AC65-A641-4F8F-B69B-42C39BD0009F}"/>
                </a:ext>
              </a:extLst>
            </p:cNvPr>
            <p:cNvSpPr/>
            <p:nvPr/>
          </p:nvSpPr>
          <p:spPr>
            <a:xfrm>
              <a:off x="1367142" y="3996898"/>
              <a:ext cx="309308" cy="61862"/>
            </a:xfrm>
            <a:custGeom>
              <a:avLst/>
              <a:gdLst>
                <a:gd name="connsiteX0" fmla="*/ 0 w 309308"/>
                <a:gd name="connsiteY0" fmla="*/ 0 h 61861"/>
                <a:gd name="connsiteX1" fmla="*/ 309308 w 309308"/>
                <a:gd name="connsiteY1" fmla="*/ 0 h 61861"/>
                <a:gd name="connsiteX2" fmla="*/ 309308 w 309308"/>
                <a:gd name="connsiteY2" fmla="*/ 86606 h 61861"/>
                <a:gd name="connsiteX3" fmla="*/ 0 w 309308"/>
                <a:gd name="connsiteY3" fmla="*/ 8660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8" h="61861">
                  <a:moveTo>
                    <a:pt x="0" y="0"/>
                  </a:moveTo>
                  <a:lnTo>
                    <a:pt x="309308" y="0"/>
                  </a:lnTo>
                  <a:lnTo>
                    <a:pt x="309308" y="86606"/>
                  </a:lnTo>
                  <a:lnTo>
                    <a:pt x="0" y="86606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BEA0585D-1A2A-4703-AFE6-5C9B44519A59}"/>
                </a:ext>
              </a:extLst>
            </p:cNvPr>
            <p:cNvSpPr/>
            <p:nvPr/>
          </p:nvSpPr>
          <p:spPr>
            <a:xfrm>
              <a:off x="1416631" y="3953595"/>
              <a:ext cx="185585" cy="30931"/>
            </a:xfrm>
            <a:custGeom>
              <a:avLst/>
              <a:gdLst>
                <a:gd name="connsiteX0" fmla="*/ 0 w 185585"/>
                <a:gd name="connsiteY0" fmla="*/ 0 h 30930"/>
                <a:gd name="connsiteX1" fmla="*/ 210330 w 185585"/>
                <a:gd name="connsiteY1" fmla="*/ 0 h 30930"/>
                <a:gd name="connsiteX2" fmla="*/ 210330 w 185585"/>
                <a:gd name="connsiteY2" fmla="*/ 46396 h 30930"/>
                <a:gd name="connsiteX3" fmla="*/ 0 w 185585"/>
                <a:gd name="connsiteY3" fmla="*/ 46396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585" h="30930">
                  <a:moveTo>
                    <a:pt x="0" y="0"/>
                  </a:moveTo>
                  <a:lnTo>
                    <a:pt x="210330" y="0"/>
                  </a:lnTo>
                  <a:lnTo>
                    <a:pt x="210330" y="46396"/>
                  </a:lnTo>
                  <a:lnTo>
                    <a:pt x="0" y="46396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A9EA4C1E-AD60-41D5-AF00-088F95A9878E}"/>
                </a:ext>
              </a:extLst>
            </p:cNvPr>
            <p:cNvSpPr/>
            <p:nvPr/>
          </p:nvSpPr>
          <p:spPr>
            <a:xfrm>
              <a:off x="1342397" y="4046387"/>
              <a:ext cx="340239" cy="1299095"/>
            </a:xfrm>
            <a:custGeom>
              <a:avLst/>
              <a:gdLst>
                <a:gd name="connsiteX0" fmla="*/ 0 w 340239"/>
                <a:gd name="connsiteY0" fmla="*/ 0 h 1299094"/>
                <a:gd name="connsiteX1" fmla="*/ 355705 w 340239"/>
                <a:gd name="connsiteY1" fmla="*/ 0 h 1299094"/>
                <a:gd name="connsiteX2" fmla="*/ 355705 w 340239"/>
                <a:gd name="connsiteY2" fmla="*/ 1308374 h 1299094"/>
                <a:gd name="connsiteX3" fmla="*/ 0 w 340239"/>
                <a:gd name="connsiteY3" fmla="*/ 1308374 h 129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239" h="1299094">
                  <a:moveTo>
                    <a:pt x="0" y="0"/>
                  </a:moveTo>
                  <a:lnTo>
                    <a:pt x="355705" y="0"/>
                  </a:lnTo>
                  <a:lnTo>
                    <a:pt x="355705" y="1308374"/>
                  </a:lnTo>
                  <a:lnTo>
                    <a:pt x="0" y="1308374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A2F03691-F6DD-4D5C-8CE2-56A741EC9B39}"/>
                </a:ext>
              </a:extLst>
            </p:cNvPr>
            <p:cNvSpPr/>
            <p:nvPr/>
          </p:nvSpPr>
          <p:spPr>
            <a:xfrm>
              <a:off x="470148" y="4934102"/>
              <a:ext cx="154654" cy="1886781"/>
            </a:xfrm>
            <a:custGeom>
              <a:avLst/>
              <a:gdLst>
                <a:gd name="connsiteX0" fmla="*/ 167027 w 154654"/>
                <a:gd name="connsiteY0" fmla="*/ 0 h 1886780"/>
                <a:gd name="connsiteX1" fmla="*/ 167027 w 154654"/>
                <a:gd name="connsiteY1" fmla="*/ 1855850 h 1886780"/>
                <a:gd name="connsiteX2" fmla="*/ 0 w 154654"/>
                <a:gd name="connsiteY2" fmla="*/ 1914618 h 1886780"/>
                <a:gd name="connsiteX3" fmla="*/ 0 w 154654"/>
                <a:gd name="connsiteY3" fmla="*/ 58769 h 188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886780">
                  <a:moveTo>
                    <a:pt x="167027" y="0"/>
                  </a:moveTo>
                  <a:lnTo>
                    <a:pt x="167027" y="1855850"/>
                  </a:lnTo>
                  <a:lnTo>
                    <a:pt x="0" y="1914618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28639E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D7BFBF11-D063-4C69-B77D-EE6BCE928CA6}"/>
                </a:ext>
              </a:extLst>
            </p:cNvPr>
            <p:cNvSpPr/>
            <p:nvPr/>
          </p:nvSpPr>
          <p:spPr>
            <a:xfrm>
              <a:off x="463962" y="4927916"/>
              <a:ext cx="154654" cy="1917712"/>
            </a:xfrm>
            <a:custGeom>
              <a:avLst/>
              <a:gdLst>
                <a:gd name="connsiteX0" fmla="*/ 0 w 154654"/>
                <a:gd name="connsiteY0" fmla="*/ 1926991 h 1917711"/>
                <a:gd name="connsiteX1" fmla="*/ 0 w 154654"/>
                <a:gd name="connsiteY1" fmla="*/ 61862 h 1917711"/>
                <a:gd name="connsiteX2" fmla="*/ 179399 w 154654"/>
                <a:gd name="connsiteY2" fmla="*/ 0 h 1917711"/>
                <a:gd name="connsiteX3" fmla="*/ 179399 w 154654"/>
                <a:gd name="connsiteY3" fmla="*/ 1868222 h 1917711"/>
                <a:gd name="connsiteX4" fmla="*/ 0 w 154654"/>
                <a:gd name="connsiteY4" fmla="*/ 1926991 h 1917711"/>
                <a:gd name="connsiteX5" fmla="*/ 12372 w 154654"/>
                <a:gd name="connsiteY5" fmla="*/ 68048 h 1917711"/>
                <a:gd name="connsiteX6" fmla="*/ 12372 w 154654"/>
                <a:gd name="connsiteY6" fmla="*/ 1911526 h 1917711"/>
                <a:gd name="connsiteX7" fmla="*/ 167026 w 154654"/>
                <a:gd name="connsiteY7" fmla="*/ 1858943 h 1917711"/>
                <a:gd name="connsiteX8" fmla="*/ 167026 w 154654"/>
                <a:gd name="connsiteY8" fmla="*/ 15465 h 1917711"/>
                <a:gd name="connsiteX9" fmla="*/ 12372 w 154654"/>
                <a:gd name="connsiteY9" fmla="*/ 68048 h 191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654" h="1917711">
                  <a:moveTo>
                    <a:pt x="0" y="1926991"/>
                  </a:moveTo>
                  <a:lnTo>
                    <a:pt x="0" y="61862"/>
                  </a:lnTo>
                  <a:lnTo>
                    <a:pt x="179399" y="0"/>
                  </a:lnTo>
                  <a:lnTo>
                    <a:pt x="179399" y="1868222"/>
                  </a:lnTo>
                  <a:lnTo>
                    <a:pt x="0" y="1926991"/>
                  </a:lnTo>
                  <a:close/>
                  <a:moveTo>
                    <a:pt x="12372" y="68048"/>
                  </a:moveTo>
                  <a:lnTo>
                    <a:pt x="12372" y="1911526"/>
                  </a:lnTo>
                  <a:lnTo>
                    <a:pt x="167026" y="1858943"/>
                  </a:lnTo>
                  <a:lnTo>
                    <a:pt x="167026" y="15465"/>
                  </a:lnTo>
                  <a:lnTo>
                    <a:pt x="12372" y="68048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2E276885-6A62-492F-A551-5DA412D0F076}"/>
                </a:ext>
              </a:extLst>
            </p:cNvPr>
            <p:cNvSpPr/>
            <p:nvPr/>
          </p:nvSpPr>
          <p:spPr>
            <a:xfrm>
              <a:off x="470148" y="672499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5EB2B7BB-ECE8-49C4-B16A-5472EC6C7337}"/>
                </a:ext>
              </a:extLst>
            </p:cNvPr>
            <p:cNvSpPr/>
            <p:nvPr/>
          </p:nvSpPr>
          <p:spPr>
            <a:xfrm>
              <a:off x="469915" y="6721153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8A415EBB-2686-420F-9C6C-8BF74812D8CB}"/>
                </a:ext>
              </a:extLst>
            </p:cNvPr>
            <p:cNvSpPr/>
            <p:nvPr/>
          </p:nvSpPr>
          <p:spPr>
            <a:xfrm>
              <a:off x="470148" y="666313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>
              <a:extLst>
                <a:ext uri="{FF2B5EF4-FFF2-40B4-BE49-F238E27FC236}">
                  <a16:creationId xmlns:a16="http://schemas.microsoft.com/office/drawing/2014/main" id="{22BC942E-A9D5-482A-A489-12697D0B8022}"/>
                </a:ext>
              </a:extLst>
            </p:cNvPr>
            <p:cNvSpPr/>
            <p:nvPr/>
          </p:nvSpPr>
          <p:spPr>
            <a:xfrm>
              <a:off x="469518" y="665626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>
              <a:extLst>
                <a:ext uri="{FF2B5EF4-FFF2-40B4-BE49-F238E27FC236}">
                  <a16:creationId xmlns:a16="http://schemas.microsoft.com/office/drawing/2014/main" id="{985064E4-C32A-402B-AA82-9C9FE60C5D77}"/>
                </a:ext>
              </a:extLst>
            </p:cNvPr>
            <p:cNvSpPr/>
            <p:nvPr/>
          </p:nvSpPr>
          <p:spPr>
            <a:xfrm>
              <a:off x="470148" y="659818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>
              <a:extLst>
                <a:ext uri="{FF2B5EF4-FFF2-40B4-BE49-F238E27FC236}">
                  <a16:creationId xmlns:a16="http://schemas.microsoft.com/office/drawing/2014/main" id="{BE1BFD3E-E83A-4C30-BF02-F6BD2ED0C4B3}"/>
                </a:ext>
              </a:extLst>
            </p:cNvPr>
            <p:cNvSpPr/>
            <p:nvPr/>
          </p:nvSpPr>
          <p:spPr>
            <a:xfrm>
              <a:off x="470128" y="659429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>
              <a:extLst>
                <a:ext uri="{FF2B5EF4-FFF2-40B4-BE49-F238E27FC236}">
                  <a16:creationId xmlns:a16="http://schemas.microsoft.com/office/drawing/2014/main" id="{0AD364DB-2871-403E-BC80-252E2F599EC7}"/>
                </a:ext>
              </a:extLst>
            </p:cNvPr>
            <p:cNvSpPr/>
            <p:nvPr/>
          </p:nvSpPr>
          <p:spPr>
            <a:xfrm>
              <a:off x="470148" y="653322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>
              <a:extLst>
                <a:ext uri="{FF2B5EF4-FFF2-40B4-BE49-F238E27FC236}">
                  <a16:creationId xmlns:a16="http://schemas.microsoft.com/office/drawing/2014/main" id="{08458C6B-7E54-4020-9863-1716DA416032}"/>
                </a:ext>
              </a:extLst>
            </p:cNvPr>
            <p:cNvSpPr/>
            <p:nvPr/>
          </p:nvSpPr>
          <p:spPr>
            <a:xfrm>
              <a:off x="469899" y="6529445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80 w 154654"/>
                <a:gd name="connsiteY1" fmla="*/ 0 h 61861"/>
                <a:gd name="connsiteX2" fmla="*/ 170714 w 154654"/>
                <a:gd name="connsiteY2" fmla="*/ 11697 h 61861"/>
                <a:gd name="connsiteX3" fmla="*/ 4035 w 154654"/>
                <a:gd name="connsiteY3" fmla="*/ 6919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80" y="0"/>
                  </a:lnTo>
                  <a:lnTo>
                    <a:pt x="170714" y="11697"/>
                  </a:lnTo>
                  <a:lnTo>
                    <a:pt x="4035" y="6919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>
              <a:extLst>
                <a:ext uri="{FF2B5EF4-FFF2-40B4-BE49-F238E27FC236}">
                  <a16:creationId xmlns:a16="http://schemas.microsoft.com/office/drawing/2014/main" id="{9AD3E2F4-29C6-4A87-967D-DB65A6269C44}"/>
                </a:ext>
              </a:extLst>
            </p:cNvPr>
            <p:cNvSpPr/>
            <p:nvPr/>
          </p:nvSpPr>
          <p:spPr>
            <a:xfrm>
              <a:off x="470148" y="647136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8" name="任意多边形: 形状 9797">
              <a:extLst>
                <a:ext uri="{FF2B5EF4-FFF2-40B4-BE49-F238E27FC236}">
                  <a16:creationId xmlns:a16="http://schemas.microsoft.com/office/drawing/2014/main" id="{E6223CC3-FA2B-4158-918B-5A784CFD330A}"/>
                </a:ext>
              </a:extLst>
            </p:cNvPr>
            <p:cNvSpPr/>
            <p:nvPr/>
          </p:nvSpPr>
          <p:spPr>
            <a:xfrm>
              <a:off x="470346" y="646743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9" name="任意多边形: 形状 9798">
              <a:extLst>
                <a:ext uri="{FF2B5EF4-FFF2-40B4-BE49-F238E27FC236}">
                  <a16:creationId xmlns:a16="http://schemas.microsoft.com/office/drawing/2014/main" id="{6F0373D7-283B-47DC-BFFE-C2DBE2DB4EDF}"/>
                </a:ext>
              </a:extLst>
            </p:cNvPr>
            <p:cNvSpPr/>
            <p:nvPr/>
          </p:nvSpPr>
          <p:spPr>
            <a:xfrm>
              <a:off x="470148" y="640641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0" name="任意多边形: 形状 9799">
              <a:extLst>
                <a:ext uri="{FF2B5EF4-FFF2-40B4-BE49-F238E27FC236}">
                  <a16:creationId xmlns:a16="http://schemas.microsoft.com/office/drawing/2014/main" id="{06498936-4745-41AB-9D1C-BFEE3F96D66F}"/>
                </a:ext>
              </a:extLst>
            </p:cNvPr>
            <p:cNvSpPr/>
            <p:nvPr/>
          </p:nvSpPr>
          <p:spPr>
            <a:xfrm>
              <a:off x="469949" y="6402547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3" name="任意多边形: 形状 9802">
              <a:extLst>
                <a:ext uri="{FF2B5EF4-FFF2-40B4-BE49-F238E27FC236}">
                  <a16:creationId xmlns:a16="http://schemas.microsoft.com/office/drawing/2014/main" id="{639AA139-CA68-4723-AACD-6C3BDBEA70C0}"/>
                </a:ext>
              </a:extLst>
            </p:cNvPr>
            <p:cNvSpPr/>
            <p:nvPr/>
          </p:nvSpPr>
          <p:spPr>
            <a:xfrm>
              <a:off x="470148" y="634454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4" name="任意多边形: 形状 9803">
              <a:extLst>
                <a:ext uri="{FF2B5EF4-FFF2-40B4-BE49-F238E27FC236}">
                  <a16:creationId xmlns:a16="http://schemas.microsoft.com/office/drawing/2014/main" id="{56C670F7-EEF2-48C0-B5A3-25B23AFD803E}"/>
                </a:ext>
              </a:extLst>
            </p:cNvPr>
            <p:cNvSpPr/>
            <p:nvPr/>
          </p:nvSpPr>
          <p:spPr>
            <a:xfrm>
              <a:off x="469553" y="633766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5" name="任意多边形: 形状 9804">
              <a:extLst>
                <a:ext uri="{FF2B5EF4-FFF2-40B4-BE49-F238E27FC236}">
                  <a16:creationId xmlns:a16="http://schemas.microsoft.com/office/drawing/2014/main" id="{5ED6C7B9-D8CE-4E69-A529-458EAEFCC73B}"/>
                </a:ext>
              </a:extLst>
            </p:cNvPr>
            <p:cNvSpPr/>
            <p:nvPr/>
          </p:nvSpPr>
          <p:spPr>
            <a:xfrm>
              <a:off x="470148" y="6279594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6" name="任意多边形: 形状 9805">
              <a:extLst>
                <a:ext uri="{FF2B5EF4-FFF2-40B4-BE49-F238E27FC236}">
                  <a16:creationId xmlns:a16="http://schemas.microsoft.com/office/drawing/2014/main" id="{9A203182-7DBC-4761-8790-8C0B2AB67C6E}"/>
                </a:ext>
              </a:extLst>
            </p:cNvPr>
            <p:cNvSpPr/>
            <p:nvPr/>
          </p:nvSpPr>
          <p:spPr>
            <a:xfrm>
              <a:off x="470028" y="6275549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7" name="任意多边形: 形状 9806">
              <a:extLst>
                <a:ext uri="{FF2B5EF4-FFF2-40B4-BE49-F238E27FC236}">
                  <a16:creationId xmlns:a16="http://schemas.microsoft.com/office/drawing/2014/main" id="{70FA7C62-8316-484D-92B2-3AE7D21017DA}"/>
                </a:ext>
              </a:extLst>
            </p:cNvPr>
            <p:cNvSpPr/>
            <p:nvPr/>
          </p:nvSpPr>
          <p:spPr>
            <a:xfrm>
              <a:off x="470148" y="621463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8" name="任意多边形: 形状 9807">
              <a:extLst>
                <a:ext uri="{FF2B5EF4-FFF2-40B4-BE49-F238E27FC236}">
                  <a16:creationId xmlns:a16="http://schemas.microsoft.com/office/drawing/2014/main" id="{7BBD42CB-ADBD-4AA7-8F2F-A8621242251A}"/>
                </a:ext>
              </a:extLst>
            </p:cNvPr>
            <p:cNvSpPr/>
            <p:nvPr/>
          </p:nvSpPr>
          <p:spPr>
            <a:xfrm>
              <a:off x="469768" y="621080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9" name="任意多边形: 形状 9808">
              <a:extLst>
                <a:ext uri="{FF2B5EF4-FFF2-40B4-BE49-F238E27FC236}">
                  <a16:creationId xmlns:a16="http://schemas.microsoft.com/office/drawing/2014/main" id="{6900F3D0-3D4A-4825-A9B7-183BC0446D89}"/>
                </a:ext>
              </a:extLst>
            </p:cNvPr>
            <p:cNvSpPr/>
            <p:nvPr/>
          </p:nvSpPr>
          <p:spPr>
            <a:xfrm>
              <a:off x="470148" y="615277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0" name="任意多边形: 形状 9809">
              <a:extLst>
                <a:ext uri="{FF2B5EF4-FFF2-40B4-BE49-F238E27FC236}">
                  <a16:creationId xmlns:a16="http://schemas.microsoft.com/office/drawing/2014/main" id="{0A6BE725-47FA-44C5-819F-C4D975428112}"/>
                </a:ext>
              </a:extLst>
            </p:cNvPr>
            <p:cNvSpPr/>
            <p:nvPr/>
          </p:nvSpPr>
          <p:spPr>
            <a:xfrm>
              <a:off x="470384" y="614883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1" name="任意多边形: 形状 9810">
              <a:extLst>
                <a:ext uri="{FF2B5EF4-FFF2-40B4-BE49-F238E27FC236}">
                  <a16:creationId xmlns:a16="http://schemas.microsoft.com/office/drawing/2014/main" id="{478391AF-A6AE-4D9D-9745-C506E6ACA96F}"/>
                </a:ext>
              </a:extLst>
            </p:cNvPr>
            <p:cNvSpPr/>
            <p:nvPr/>
          </p:nvSpPr>
          <p:spPr>
            <a:xfrm>
              <a:off x="470148" y="608782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2" name="任意多边形: 形状 9811">
              <a:extLst>
                <a:ext uri="{FF2B5EF4-FFF2-40B4-BE49-F238E27FC236}">
                  <a16:creationId xmlns:a16="http://schemas.microsoft.com/office/drawing/2014/main" id="{BF07740C-CDF5-4CB8-BD2C-0842E38AD1DA}"/>
                </a:ext>
              </a:extLst>
            </p:cNvPr>
            <p:cNvSpPr/>
            <p:nvPr/>
          </p:nvSpPr>
          <p:spPr>
            <a:xfrm>
              <a:off x="469984" y="608394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3" name="任意多边形: 形状 9812">
              <a:extLst>
                <a:ext uri="{FF2B5EF4-FFF2-40B4-BE49-F238E27FC236}">
                  <a16:creationId xmlns:a16="http://schemas.microsoft.com/office/drawing/2014/main" id="{EAC68647-9672-401C-A21E-B42084FC3D04}"/>
                </a:ext>
              </a:extLst>
            </p:cNvPr>
            <p:cNvSpPr/>
            <p:nvPr/>
          </p:nvSpPr>
          <p:spPr>
            <a:xfrm>
              <a:off x="470148" y="602596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4" name="任意多边形: 形状 9813">
              <a:extLst>
                <a:ext uri="{FF2B5EF4-FFF2-40B4-BE49-F238E27FC236}">
                  <a16:creationId xmlns:a16="http://schemas.microsoft.com/office/drawing/2014/main" id="{E42C5479-D958-4F4E-8D92-137A3B591F50}"/>
                </a:ext>
              </a:extLst>
            </p:cNvPr>
            <p:cNvSpPr/>
            <p:nvPr/>
          </p:nvSpPr>
          <p:spPr>
            <a:xfrm>
              <a:off x="469590" y="601905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5" name="任意多边形: 形状 9814">
              <a:extLst>
                <a:ext uri="{FF2B5EF4-FFF2-40B4-BE49-F238E27FC236}">
                  <a16:creationId xmlns:a16="http://schemas.microsoft.com/office/drawing/2014/main" id="{9F5458E7-FF53-40F3-896C-34C3A8931F94}"/>
                </a:ext>
              </a:extLst>
            </p:cNvPr>
            <p:cNvSpPr/>
            <p:nvPr/>
          </p:nvSpPr>
          <p:spPr>
            <a:xfrm>
              <a:off x="470148" y="596100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6" name="任意多边形: 形状 9815">
              <a:extLst>
                <a:ext uri="{FF2B5EF4-FFF2-40B4-BE49-F238E27FC236}">
                  <a16:creationId xmlns:a16="http://schemas.microsoft.com/office/drawing/2014/main" id="{E3C976D9-88BA-4583-8284-1333070A110E}"/>
                </a:ext>
              </a:extLst>
            </p:cNvPr>
            <p:cNvSpPr/>
            <p:nvPr/>
          </p:nvSpPr>
          <p:spPr>
            <a:xfrm>
              <a:off x="470202" y="5957087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7" name="任意多边形: 形状 9816">
              <a:extLst>
                <a:ext uri="{FF2B5EF4-FFF2-40B4-BE49-F238E27FC236}">
                  <a16:creationId xmlns:a16="http://schemas.microsoft.com/office/drawing/2014/main" id="{BC64E1E4-F867-4870-A137-CBEBCEC7CDD2}"/>
                </a:ext>
              </a:extLst>
            </p:cNvPr>
            <p:cNvSpPr/>
            <p:nvPr/>
          </p:nvSpPr>
          <p:spPr>
            <a:xfrm>
              <a:off x="470148" y="589605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8" name="任意多边形: 形状 9817">
              <a:extLst>
                <a:ext uri="{FF2B5EF4-FFF2-40B4-BE49-F238E27FC236}">
                  <a16:creationId xmlns:a16="http://schemas.microsoft.com/office/drawing/2014/main" id="{14E35E50-18D6-479B-88F4-41B9F5DC90C9}"/>
                </a:ext>
              </a:extLst>
            </p:cNvPr>
            <p:cNvSpPr/>
            <p:nvPr/>
          </p:nvSpPr>
          <p:spPr>
            <a:xfrm>
              <a:off x="469806" y="5892196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9" name="任意多边形: 形状 9818">
              <a:extLst>
                <a:ext uri="{FF2B5EF4-FFF2-40B4-BE49-F238E27FC236}">
                  <a16:creationId xmlns:a16="http://schemas.microsoft.com/office/drawing/2014/main" id="{12C02FAB-1600-4910-AE2F-19576AEC6C71}"/>
                </a:ext>
              </a:extLst>
            </p:cNvPr>
            <p:cNvSpPr/>
            <p:nvPr/>
          </p:nvSpPr>
          <p:spPr>
            <a:xfrm>
              <a:off x="470148" y="583419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0" name="任意多边形: 形状 9819">
              <a:extLst>
                <a:ext uri="{FF2B5EF4-FFF2-40B4-BE49-F238E27FC236}">
                  <a16:creationId xmlns:a16="http://schemas.microsoft.com/office/drawing/2014/main" id="{6BA3CF26-B67B-454D-BE79-E94FC34AD8B3}"/>
                </a:ext>
              </a:extLst>
            </p:cNvPr>
            <p:cNvSpPr/>
            <p:nvPr/>
          </p:nvSpPr>
          <p:spPr>
            <a:xfrm>
              <a:off x="470415" y="5830229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1" name="任意多边形: 形状 9820">
              <a:extLst>
                <a:ext uri="{FF2B5EF4-FFF2-40B4-BE49-F238E27FC236}">
                  <a16:creationId xmlns:a16="http://schemas.microsoft.com/office/drawing/2014/main" id="{893AB58B-4149-40FB-A29D-6EAE16714647}"/>
                </a:ext>
              </a:extLst>
            </p:cNvPr>
            <p:cNvSpPr/>
            <p:nvPr/>
          </p:nvSpPr>
          <p:spPr>
            <a:xfrm>
              <a:off x="470148" y="5769235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2" name="任意多边形: 形状 9821">
              <a:extLst>
                <a:ext uri="{FF2B5EF4-FFF2-40B4-BE49-F238E27FC236}">
                  <a16:creationId xmlns:a16="http://schemas.microsoft.com/office/drawing/2014/main" id="{B7BA55DF-DEAA-4225-8214-7F3110F59EE8}"/>
                </a:ext>
              </a:extLst>
            </p:cNvPr>
            <p:cNvSpPr/>
            <p:nvPr/>
          </p:nvSpPr>
          <p:spPr>
            <a:xfrm>
              <a:off x="470021" y="576533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3" name="任意多边形: 形状 9822">
              <a:extLst>
                <a:ext uri="{FF2B5EF4-FFF2-40B4-BE49-F238E27FC236}">
                  <a16:creationId xmlns:a16="http://schemas.microsoft.com/office/drawing/2014/main" id="{DC6C1196-07B4-40F4-B8F5-A34642302622}"/>
                </a:ext>
              </a:extLst>
            </p:cNvPr>
            <p:cNvSpPr/>
            <p:nvPr/>
          </p:nvSpPr>
          <p:spPr>
            <a:xfrm>
              <a:off x="470148" y="570428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4" name="任意多边形: 形状 9823">
              <a:extLst>
                <a:ext uri="{FF2B5EF4-FFF2-40B4-BE49-F238E27FC236}">
                  <a16:creationId xmlns:a16="http://schemas.microsoft.com/office/drawing/2014/main" id="{67910B71-7247-4FC7-912C-B02D083A966E}"/>
                </a:ext>
              </a:extLst>
            </p:cNvPr>
            <p:cNvSpPr/>
            <p:nvPr/>
          </p:nvSpPr>
          <p:spPr>
            <a:xfrm>
              <a:off x="469624" y="570044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5" name="任意多边形: 形状 9824">
              <a:extLst>
                <a:ext uri="{FF2B5EF4-FFF2-40B4-BE49-F238E27FC236}">
                  <a16:creationId xmlns:a16="http://schemas.microsoft.com/office/drawing/2014/main" id="{00CC0E7E-7C48-4A8F-A3BB-8D7BF9E01E5A}"/>
                </a:ext>
              </a:extLst>
            </p:cNvPr>
            <p:cNvSpPr/>
            <p:nvPr/>
          </p:nvSpPr>
          <p:spPr>
            <a:xfrm>
              <a:off x="470148" y="564241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6" name="任意多边形: 形状 9825">
              <a:extLst>
                <a:ext uri="{FF2B5EF4-FFF2-40B4-BE49-F238E27FC236}">
                  <a16:creationId xmlns:a16="http://schemas.microsoft.com/office/drawing/2014/main" id="{34B08752-A461-4E57-8C53-7CE19CA13591}"/>
                </a:ext>
              </a:extLst>
            </p:cNvPr>
            <p:cNvSpPr/>
            <p:nvPr/>
          </p:nvSpPr>
          <p:spPr>
            <a:xfrm>
              <a:off x="470183" y="5638428"/>
              <a:ext cx="154654" cy="61862"/>
            </a:xfrm>
            <a:custGeom>
              <a:avLst/>
              <a:gdLst>
                <a:gd name="connsiteX0" fmla="*/ 0 w 154654"/>
                <a:gd name="connsiteY0" fmla="*/ 57511 h 61861"/>
                <a:gd name="connsiteX1" fmla="*/ 166662 w 154654"/>
                <a:gd name="connsiteY1" fmla="*/ 0 h 61861"/>
                <a:gd name="connsiteX2" fmla="*/ 170698 w 154654"/>
                <a:gd name="connsiteY2" fmla="*/ 11696 h 61861"/>
                <a:gd name="connsiteX3" fmla="*/ 4036 w 154654"/>
                <a:gd name="connsiteY3" fmla="*/ 69207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11"/>
                  </a:moveTo>
                  <a:lnTo>
                    <a:pt x="166662" y="0"/>
                  </a:lnTo>
                  <a:lnTo>
                    <a:pt x="170698" y="11696"/>
                  </a:lnTo>
                  <a:lnTo>
                    <a:pt x="4036" y="69207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7" name="任意多边形: 形状 9826">
              <a:extLst>
                <a:ext uri="{FF2B5EF4-FFF2-40B4-BE49-F238E27FC236}">
                  <a16:creationId xmlns:a16="http://schemas.microsoft.com/office/drawing/2014/main" id="{6CFED419-828F-4901-8A88-6CB310F12789}"/>
                </a:ext>
              </a:extLst>
            </p:cNvPr>
            <p:cNvSpPr/>
            <p:nvPr/>
          </p:nvSpPr>
          <p:spPr>
            <a:xfrm>
              <a:off x="470148" y="557746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8" name="任意多边形: 形状 9827">
              <a:extLst>
                <a:ext uri="{FF2B5EF4-FFF2-40B4-BE49-F238E27FC236}">
                  <a16:creationId xmlns:a16="http://schemas.microsoft.com/office/drawing/2014/main" id="{69FCB216-E33E-477F-A485-D0D154B1804A}"/>
                </a:ext>
              </a:extLst>
            </p:cNvPr>
            <p:cNvSpPr/>
            <p:nvPr/>
          </p:nvSpPr>
          <p:spPr>
            <a:xfrm>
              <a:off x="469840" y="557359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9" name="任意多边形: 形状 9828">
              <a:extLst>
                <a:ext uri="{FF2B5EF4-FFF2-40B4-BE49-F238E27FC236}">
                  <a16:creationId xmlns:a16="http://schemas.microsoft.com/office/drawing/2014/main" id="{D464FB28-70A9-4ED2-AC24-46DC2678E2D4}"/>
                </a:ext>
              </a:extLst>
            </p:cNvPr>
            <p:cNvSpPr/>
            <p:nvPr/>
          </p:nvSpPr>
          <p:spPr>
            <a:xfrm>
              <a:off x="470148" y="551560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0" name="任意多边形: 形状 9829">
              <a:extLst>
                <a:ext uri="{FF2B5EF4-FFF2-40B4-BE49-F238E27FC236}">
                  <a16:creationId xmlns:a16="http://schemas.microsoft.com/office/drawing/2014/main" id="{C8089014-EF31-450F-A997-147DB77895B2}"/>
                </a:ext>
              </a:extLst>
            </p:cNvPr>
            <p:cNvSpPr/>
            <p:nvPr/>
          </p:nvSpPr>
          <p:spPr>
            <a:xfrm>
              <a:off x="470452" y="551162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1" name="任意多边形: 形状 9830">
              <a:extLst>
                <a:ext uri="{FF2B5EF4-FFF2-40B4-BE49-F238E27FC236}">
                  <a16:creationId xmlns:a16="http://schemas.microsoft.com/office/drawing/2014/main" id="{D7C4DA80-3DDA-4979-9633-62ECC28B7A8A}"/>
                </a:ext>
              </a:extLst>
            </p:cNvPr>
            <p:cNvSpPr/>
            <p:nvPr/>
          </p:nvSpPr>
          <p:spPr>
            <a:xfrm>
              <a:off x="637174" y="67280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2" name="任意多边形: 形状 9831">
              <a:extLst>
                <a:ext uri="{FF2B5EF4-FFF2-40B4-BE49-F238E27FC236}">
                  <a16:creationId xmlns:a16="http://schemas.microsoft.com/office/drawing/2014/main" id="{9093734E-63C4-48FE-A357-F94D2BE98486}"/>
                </a:ext>
              </a:extLst>
            </p:cNvPr>
            <p:cNvSpPr/>
            <p:nvPr/>
          </p:nvSpPr>
          <p:spPr>
            <a:xfrm>
              <a:off x="637174" y="672190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3" name="任意多边形: 形状 9832">
              <a:extLst>
                <a:ext uri="{FF2B5EF4-FFF2-40B4-BE49-F238E27FC236}">
                  <a16:creationId xmlns:a16="http://schemas.microsoft.com/office/drawing/2014/main" id="{66B00502-B90C-4A57-ACC6-7BD75E500E4B}"/>
                </a:ext>
              </a:extLst>
            </p:cNvPr>
            <p:cNvSpPr/>
            <p:nvPr/>
          </p:nvSpPr>
          <p:spPr>
            <a:xfrm>
              <a:off x="637174" y="666313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4" name="任意多边形: 形状 9833">
              <a:extLst>
                <a:ext uri="{FF2B5EF4-FFF2-40B4-BE49-F238E27FC236}">
                  <a16:creationId xmlns:a16="http://schemas.microsoft.com/office/drawing/2014/main" id="{FB9EA184-3E41-422A-B4EF-43D00D3C6F46}"/>
                </a:ext>
              </a:extLst>
            </p:cNvPr>
            <p:cNvSpPr/>
            <p:nvPr/>
          </p:nvSpPr>
          <p:spPr>
            <a:xfrm>
              <a:off x="637174" y="665695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5" name="任意多边形: 形状 9834">
              <a:extLst>
                <a:ext uri="{FF2B5EF4-FFF2-40B4-BE49-F238E27FC236}">
                  <a16:creationId xmlns:a16="http://schemas.microsoft.com/office/drawing/2014/main" id="{86C2E68D-0CDA-4EFA-8BAB-515B7AE57508}"/>
                </a:ext>
              </a:extLst>
            </p:cNvPr>
            <p:cNvSpPr/>
            <p:nvPr/>
          </p:nvSpPr>
          <p:spPr>
            <a:xfrm>
              <a:off x="637174" y="659818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6" name="任意多边形: 形状 9835">
              <a:extLst>
                <a:ext uri="{FF2B5EF4-FFF2-40B4-BE49-F238E27FC236}">
                  <a16:creationId xmlns:a16="http://schemas.microsoft.com/office/drawing/2014/main" id="{55A85E28-2EA0-48DD-AE8D-E72DC0FF299B}"/>
                </a:ext>
              </a:extLst>
            </p:cNvPr>
            <p:cNvSpPr/>
            <p:nvPr/>
          </p:nvSpPr>
          <p:spPr>
            <a:xfrm>
              <a:off x="637174" y="659508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7" name="任意多边形: 形状 9836">
              <a:extLst>
                <a:ext uri="{FF2B5EF4-FFF2-40B4-BE49-F238E27FC236}">
                  <a16:creationId xmlns:a16="http://schemas.microsoft.com/office/drawing/2014/main" id="{5BB2C465-433B-4E35-8F87-B1EAFE661173}"/>
                </a:ext>
              </a:extLst>
            </p:cNvPr>
            <p:cNvSpPr/>
            <p:nvPr/>
          </p:nvSpPr>
          <p:spPr>
            <a:xfrm>
              <a:off x="637174" y="653631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8" name="任意多边形: 形状 9837">
              <a:extLst>
                <a:ext uri="{FF2B5EF4-FFF2-40B4-BE49-F238E27FC236}">
                  <a16:creationId xmlns:a16="http://schemas.microsoft.com/office/drawing/2014/main" id="{9FDD96EC-88D6-4D9F-A396-853524E47F8B}"/>
                </a:ext>
              </a:extLst>
            </p:cNvPr>
            <p:cNvSpPr/>
            <p:nvPr/>
          </p:nvSpPr>
          <p:spPr>
            <a:xfrm>
              <a:off x="637174" y="653013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9" name="任意多边形: 形状 9838">
              <a:extLst>
                <a:ext uri="{FF2B5EF4-FFF2-40B4-BE49-F238E27FC236}">
                  <a16:creationId xmlns:a16="http://schemas.microsoft.com/office/drawing/2014/main" id="{95E20A91-8DC4-46C0-BB76-E983CA353C6D}"/>
                </a:ext>
              </a:extLst>
            </p:cNvPr>
            <p:cNvSpPr/>
            <p:nvPr/>
          </p:nvSpPr>
          <p:spPr>
            <a:xfrm>
              <a:off x="637174" y="647136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0" name="任意多边形: 形状 9839">
              <a:extLst>
                <a:ext uri="{FF2B5EF4-FFF2-40B4-BE49-F238E27FC236}">
                  <a16:creationId xmlns:a16="http://schemas.microsoft.com/office/drawing/2014/main" id="{B389D592-3B0D-4CBF-ABB1-EC9A7EEF0653}"/>
                </a:ext>
              </a:extLst>
            </p:cNvPr>
            <p:cNvSpPr/>
            <p:nvPr/>
          </p:nvSpPr>
          <p:spPr>
            <a:xfrm>
              <a:off x="637174" y="64651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1" name="任意多边形: 形状 9840">
              <a:extLst>
                <a:ext uri="{FF2B5EF4-FFF2-40B4-BE49-F238E27FC236}">
                  <a16:creationId xmlns:a16="http://schemas.microsoft.com/office/drawing/2014/main" id="{FD84BB41-4FF1-481A-97C3-ADF8320D5DAE}"/>
                </a:ext>
              </a:extLst>
            </p:cNvPr>
            <p:cNvSpPr/>
            <p:nvPr/>
          </p:nvSpPr>
          <p:spPr>
            <a:xfrm>
              <a:off x="637174" y="64095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2" name="任意多边形: 形状 9841">
              <a:extLst>
                <a:ext uri="{FF2B5EF4-FFF2-40B4-BE49-F238E27FC236}">
                  <a16:creationId xmlns:a16="http://schemas.microsoft.com/office/drawing/2014/main" id="{51449693-3A65-40B7-A3EA-B9FB51C3B6A8}"/>
                </a:ext>
              </a:extLst>
            </p:cNvPr>
            <p:cNvSpPr/>
            <p:nvPr/>
          </p:nvSpPr>
          <p:spPr>
            <a:xfrm>
              <a:off x="637174" y="640331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3" name="任意多边形: 形状 9842">
              <a:extLst>
                <a:ext uri="{FF2B5EF4-FFF2-40B4-BE49-F238E27FC236}">
                  <a16:creationId xmlns:a16="http://schemas.microsoft.com/office/drawing/2014/main" id="{E417C813-DACD-4D95-A005-0A6799DE1C33}"/>
                </a:ext>
              </a:extLst>
            </p:cNvPr>
            <p:cNvSpPr/>
            <p:nvPr/>
          </p:nvSpPr>
          <p:spPr>
            <a:xfrm>
              <a:off x="637174" y="634454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4" name="任意多边形: 形状 9843">
              <a:extLst>
                <a:ext uri="{FF2B5EF4-FFF2-40B4-BE49-F238E27FC236}">
                  <a16:creationId xmlns:a16="http://schemas.microsoft.com/office/drawing/2014/main" id="{7AC40FF9-6588-4237-8738-C5F8F61A07E4}"/>
                </a:ext>
              </a:extLst>
            </p:cNvPr>
            <p:cNvSpPr/>
            <p:nvPr/>
          </p:nvSpPr>
          <p:spPr>
            <a:xfrm>
              <a:off x="637174" y="633836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5" name="任意多边形: 形状 9844">
              <a:extLst>
                <a:ext uri="{FF2B5EF4-FFF2-40B4-BE49-F238E27FC236}">
                  <a16:creationId xmlns:a16="http://schemas.microsoft.com/office/drawing/2014/main" id="{1662559E-9918-413A-9A80-5DBF0C09F45D}"/>
                </a:ext>
              </a:extLst>
            </p:cNvPr>
            <p:cNvSpPr/>
            <p:nvPr/>
          </p:nvSpPr>
          <p:spPr>
            <a:xfrm>
              <a:off x="637174" y="627959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6" name="任意多边形: 形状 9845">
              <a:extLst>
                <a:ext uri="{FF2B5EF4-FFF2-40B4-BE49-F238E27FC236}">
                  <a16:creationId xmlns:a16="http://schemas.microsoft.com/office/drawing/2014/main" id="{D27BEA93-E8DA-4096-9436-D7A87E757BE8}"/>
                </a:ext>
              </a:extLst>
            </p:cNvPr>
            <p:cNvSpPr/>
            <p:nvPr/>
          </p:nvSpPr>
          <p:spPr>
            <a:xfrm>
              <a:off x="637174" y="627650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7" name="任意多边形: 形状 9846">
              <a:extLst>
                <a:ext uri="{FF2B5EF4-FFF2-40B4-BE49-F238E27FC236}">
                  <a16:creationId xmlns:a16="http://schemas.microsoft.com/office/drawing/2014/main" id="{7F2137F5-C086-4A45-A2BC-C97CD890F184}"/>
                </a:ext>
              </a:extLst>
            </p:cNvPr>
            <p:cNvSpPr/>
            <p:nvPr/>
          </p:nvSpPr>
          <p:spPr>
            <a:xfrm>
              <a:off x="637174" y="62177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8" name="任意多边形: 形状 9847">
              <a:extLst>
                <a:ext uri="{FF2B5EF4-FFF2-40B4-BE49-F238E27FC236}">
                  <a16:creationId xmlns:a16="http://schemas.microsoft.com/office/drawing/2014/main" id="{3ADE233A-46A9-4145-AAE0-5DC6234D500F}"/>
                </a:ext>
              </a:extLst>
            </p:cNvPr>
            <p:cNvSpPr/>
            <p:nvPr/>
          </p:nvSpPr>
          <p:spPr>
            <a:xfrm>
              <a:off x="637174" y="62115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9" name="任意多边形: 形状 9848">
              <a:extLst>
                <a:ext uri="{FF2B5EF4-FFF2-40B4-BE49-F238E27FC236}">
                  <a16:creationId xmlns:a16="http://schemas.microsoft.com/office/drawing/2014/main" id="{A61B2CD6-FF68-4847-98F8-D3191F9EA3D6}"/>
                </a:ext>
              </a:extLst>
            </p:cNvPr>
            <p:cNvSpPr/>
            <p:nvPr/>
          </p:nvSpPr>
          <p:spPr>
            <a:xfrm>
              <a:off x="637174" y="615277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0" name="任意多边形: 形状 9849">
              <a:extLst>
                <a:ext uri="{FF2B5EF4-FFF2-40B4-BE49-F238E27FC236}">
                  <a16:creationId xmlns:a16="http://schemas.microsoft.com/office/drawing/2014/main" id="{842DD8D0-624A-4329-B6CE-8CC22ADC6787}"/>
                </a:ext>
              </a:extLst>
            </p:cNvPr>
            <p:cNvSpPr/>
            <p:nvPr/>
          </p:nvSpPr>
          <p:spPr>
            <a:xfrm>
              <a:off x="637174" y="61465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1" name="任意多边形: 形状 9850">
              <a:extLst>
                <a:ext uri="{FF2B5EF4-FFF2-40B4-BE49-F238E27FC236}">
                  <a16:creationId xmlns:a16="http://schemas.microsoft.com/office/drawing/2014/main" id="{DBF5ED77-0AF2-4686-BF6D-52130001D254}"/>
                </a:ext>
              </a:extLst>
            </p:cNvPr>
            <p:cNvSpPr/>
            <p:nvPr/>
          </p:nvSpPr>
          <p:spPr>
            <a:xfrm>
              <a:off x="637174" y="609091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2" name="任意多边形: 形状 9851">
              <a:extLst>
                <a:ext uri="{FF2B5EF4-FFF2-40B4-BE49-F238E27FC236}">
                  <a16:creationId xmlns:a16="http://schemas.microsoft.com/office/drawing/2014/main" id="{DE4AF285-EB03-4221-BF77-7116D1F04561}"/>
                </a:ext>
              </a:extLst>
            </p:cNvPr>
            <p:cNvSpPr/>
            <p:nvPr/>
          </p:nvSpPr>
          <p:spPr>
            <a:xfrm>
              <a:off x="637174" y="608472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3" name="任意多边形: 形状 9852">
              <a:extLst>
                <a:ext uri="{FF2B5EF4-FFF2-40B4-BE49-F238E27FC236}">
                  <a16:creationId xmlns:a16="http://schemas.microsoft.com/office/drawing/2014/main" id="{5086BBC3-C601-4F7C-95DC-80371D5285CB}"/>
                </a:ext>
              </a:extLst>
            </p:cNvPr>
            <p:cNvSpPr/>
            <p:nvPr/>
          </p:nvSpPr>
          <p:spPr>
            <a:xfrm>
              <a:off x="637174" y="602596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4" name="任意多边形: 形状 9853">
              <a:extLst>
                <a:ext uri="{FF2B5EF4-FFF2-40B4-BE49-F238E27FC236}">
                  <a16:creationId xmlns:a16="http://schemas.microsoft.com/office/drawing/2014/main" id="{E7D3CB8C-D7BA-4C79-9203-7DC7AE334222}"/>
                </a:ext>
              </a:extLst>
            </p:cNvPr>
            <p:cNvSpPr/>
            <p:nvPr/>
          </p:nvSpPr>
          <p:spPr>
            <a:xfrm>
              <a:off x="637174" y="601977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5" name="任意多边形: 形状 9854">
              <a:extLst>
                <a:ext uri="{FF2B5EF4-FFF2-40B4-BE49-F238E27FC236}">
                  <a16:creationId xmlns:a16="http://schemas.microsoft.com/office/drawing/2014/main" id="{487EB6C1-7794-4B55-94C8-54DBE0DADE65}"/>
                </a:ext>
              </a:extLst>
            </p:cNvPr>
            <p:cNvSpPr/>
            <p:nvPr/>
          </p:nvSpPr>
          <p:spPr>
            <a:xfrm>
              <a:off x="637174" y="596100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3" name="任意多边形: 形状 1122">
              <a:extLst>
                <a:ext uri="{FF2B5EF4-FFF2-40B4-BE49-F238E27FC236}">
                  <a16:creationId xmlns:a16="http://schemas.microsoft.com/office/drawing/2014/main" id="{8762D7AC-C959-4FDD-AA45-1C65976ACBF8}"/>
                </a:ext>
              </a:extLst>
            </p:cNvPr>
            <p:cNvSpPr/>
            <p:nvPr/>
          </p:nvSpPr>
          <p:spPr>
            <a:xfrm>
              <a:off x="637174" y="595482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4" name="任意多边形: 形状 1123">
              <a:extLst>
                <a:ext uri="{FF2B5EF4-FFF2-40B4-BE49-F238E27FC236}">
                  <a16:creationId xmlns:a16="http://schemas.microsoft.com/office/drawing/2014/main" id="{7510211E-B3F5-4301-AC8D-E51F645B6813}"/>
                </a:ext>
              </a:extLst>
            </p:cNvPr>
            <p:cNvSpPr/>
            <p:nvPr/>
          </p:nvSpPr>
          <p:spPr>
            <a:xfrm>
              <a:off x="637174" y="589914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5" name="任意多边形: 形状 1124">
              <a:extLst>
                <a:ext uri="{FF2B5EF4-FFF2-40B4-BE49-F238E27FC236}">
                  <a16:creationId xmlns:a16="http://schemas.microsoft.com/office/drawing/2014/main" id="{C651032A-A046-46D7-B47E-F2FB1C6A44AD}"/>
                </a:ext>
              </a:extLst>
            </p:cNvPr>
            <p:cNvSpPr/>
            <p:nvPr/>
          </p:nvSpPr>
          <p:spPr>
            <a:xfrm>
              <a:off x="637174" y="589295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6" name="任意多边形: 形状 1125">
              <a:extLst>
                <a:ext uri="{FF2B5EF4-FFF2-40B4-BE49-F238E27FC236}">
                  <a16:creationId xmlns:a16="http://schemas.microsoft.com/office/drawing/2014/main" id="{333A23E0-28EF-4641-B694-2C0908B63330}"/>
                </a:ext>
              </a:extLst>
            </p:cNvPr>
            <p:cNvSpPr/>
            <p:nvPr/>
          </p:nvSpPr>
          <p:spPr>
            <a:xfrm>
              <a:off x="637174" y="583419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7" name="任意多边形: 形状 1126">
              <a:extLst>
                <a:ext uri="{FF2B5EF4-FFF2-40B4-BE49-F238E27FC236}">
                  <a16:creationId xmlns:a16="http://schemas.microsoft.com/office/drawing/2014/main" id="{05E5D15A-6655-4BBF-8D16-D31F6BA8DC01}"/>
                </a:ext>
              </a:extLst>
            </p:cNvPr>
            <p:cNvSpPr/>
            <p:nvPr/>
          </p:nvSpPr>
          <p:spPr>
            <a:xfrm>
              <a:off x="637174" y="58280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8" name="任意多边形: 形状 1127">
              <a:extLst>
                <a:ext uri="{FF2B5EF4-FFF2-40B4-BE49-F238E27FC236}">
                  <a16:creationId xmlns:a16="http://schemas.microsoft.com/office/drawing/2014/main" id="{DEC6FE26-06B5-46CF-A5E1-ABA50F0A4874}"/>
                </a:ext>
              </a:extLst>
            </p:cNvPr>
            <p:cNvSpPr/>
            <p:nvPr/>
          </p:nvSpPr>
          <p:spPr>
            <a:xfrm>
              <a:off x="637174" y="57723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9" name="任意多边形: 形状 1128">
              <a:extLst>
                <a:ext uri="{FF2B5EF4-FFF2-40B4-BE49-F238E27FC236}">
                  <a16:creationId xmlns:a16="http://schemas.microsoft.com/office/drawing/2014/main" id="{F1A6DA8C-EF71-46FB-91AF-495095361E16}"/>
                </a:ext>
              </a:extLst>
            </p:cNvPr>
            <p:cNvSpPr/>
            <p:nvPr/>
          </p:nvSpPr>
          <p:spPr>
            <a:xfrm>
              <a:off x="637174" y="57661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0" name="任意多边形: 形状 1129">
              <a:extLst>
                <a:ext uri="{FF2B5EF4-FFF2-40B4-BE49-F238E27FC236}">
                  <a16:creationId xmlns:a16="http://schemas.microsoft.com/office/drawing/2014/main" id="{E301C7BE-6C4A-4610-803E-3F706DBB815B}"/>
                </a:ext>
              </a:extLst>
            </p:cNvPr>
            <p:cNvSpPr/>
            <p:nvPr/>
          </p:nvSpPr>
          <p:spPr>
            <a:xfrm>
              <a:off x="637174" y="570737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1" name="任意多边形: 形状 1130">
              <a:extLst>
                <a:ext uri="{FF2B5EF4-FFF2-40B4-BE49-F238E27FC236}">
                  <a16:creationId xmlns:a16="http://schemas.microsoft.com/office/drawing/2014/main" id="{90195CEC-6C2F-4EB0-BF35-06E967CDE77D}"/>
                </a:ext>
              </a:extLst>
            </p:cNvPr>
            <p:cNvSpPr/>
            <p:nvPr/>
          </p:nvSpPr>
          <p:spPr>
            <a:xfrm>
              <a:off x="637174" y="57011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2" name="任意多边形: 形状 1131">
              <a:extLst>
                <a:ext uri="{FF2B5EF4-FFF2-40B4-BE49-F238E27FC236}">
                  <a16:creationId xmlns:a16="http://schemas.microsoft.com/office/drawing/2014/main" id="{0CCD7536-9F7E-4588-A2CA-620E6F08F0EC}"/>
                </a:ext>
              </a:extLst>
            </p:cNvPr>
            <p:cNvSpPr/>
            <p:nvPr/>
          </p:nvSpPr>
          <p:spPr>
            <a:xfrm>
              <a:off x="637174" y="564241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3" name="任意多边形: 形状 1132">
              <a:extLst>
                <a:ext uri="{FF2B5EF4-FFF2-40B4-BE49-F238E27FC236}">
                  <a16:creationId xmlns:a16="http://schemas.microsoft.com/office/drawing/2014/main" id="{37594141-1F4C-49E1-8D21-85291A5FCE35}"/>
                </a:ext>
              </a:extLst>
            </p:cNvPr>
            <p:cNvSpPr/>
            <p:nvPr/>
          </p:nvSpPr>
          <p:spPr>
            <a:xfrm>
              <a:off x="637174" y="56362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4" name="任意多边形: 形状 1133">
              <a:extLst>
                <a:ext uri="{FF2B5EF4-FFF2-40B4-BE49-F238E27FC236}">
                  <a16:creationId xmlns:a16="http://schemas.microsoft.com/office/drawing/2014/main" id="{8E6DB2B9-E717-45C7-B3FF-3F5DBD3E6DA4}"/>
                </a:ext>
              </a:extLst>
            </p:cNvPr>
            <p:cNvSpPr/>
            <p:nvPr/>
          </p:nvSpPr>
          <p:spPr>
            <a:xfrm>
              <a:off x="637174" y="55805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5" name="任意多边形: 形状 1134">
              <a:extLst>
                <a:ext uri="{FF2B5EF4-FFF2-40B4-BE49-F238E27FC236}">
                  <a16:creationId xmlns:a16="http://schemas.microsoft.com/office/drawing/2014/main" id="{36368D1B-CF05-4475-A440-297309C8A18C}"/>
                </a:ext>
              </a:extLst>
            </p:cNvPr>
            <p:cNvSpPr/>
            <p:nvPr/>
          </p:nvSpPr>
          <p:spPr>
            <a:xfrm>
              <a:off x="637174" y="557437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6" name="任意多边形: 形状 1135">
              <a:extLst>
                <a:ext uri="{FF2B5EF4-FFF2-40B4-BE49-F238E27FC236}">
                  <a16:creationId xmlns:a16="http://schemas.microsoft.com/office/drawing/2014/main" id="{08105AF0-D1BE-48E5-8139-A7E6ABD66442}"/>
                </a:ext>
              </a:extLst>
            </p:cNvPr>
            <p:cNvSpPr/>
            <p:nvPr/>
          </p:nvSpPr>
          <p:spPr>
            <a:xfrm>
              <a:off x="637174" y="551560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7" name="任意多边形: 形状 1136">
              <a:extLst>
                <a:ext uri="{FF2B5EF4-FFF2-40B4-BE49-F238E27FC236}">
                  <a16:creationId xmlns:a16="http://schemas.microsoft.com/office/drawing/2014/main" id="{CBED0002-85AE-4B30-AD81-002F60FCB1F8}"/>
                </a:ext>
              </a:extLst>
            </p:cNvPr>
            <p:cNvSpPr/>
            <p:nvPr/>
          </p:nvSpPr>
          <p:spPr>
            <a:xfrm>
              <a:off x="637174" y="550941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8" name="任意多边形: 形状 1137">
              <a:extLst>
                <a:ext uri="{FF2B5EF4-FFF2-40B4-BE49-F238E27FC236}">
                  <a16:creationId xmlns:a16="http://schemas.microsoft.com/office/drawing/2014/main" id="{7AFAE401-EDBB-4BE1-BCC7-3FA5EC6FEF89}"/>
                </a:ext>
              </a:extLst>
            </p:cNvPr>
            <p:cNvSpPr/>
            <p:nvPr/>
          </p:nvSpPr>
          <p:spPr>
            <a:xfrm>
              <a:off x="470148" y="620845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9" name="任意多边形: 形状 1138">
              <a:extLst>
                <a:ext uri="{FF2B5EF4-FFF2-40B4-BE49-F238E27FC236}">
                  <a16:creationId xmlns:a16="http://schemas.microsoft.com/office/drawing/2014/main" id="{025091D9-A9F1-480F-901C-71BCE8E53582}"/>
                </a:ext>
              </a:extLst>
            </p:cNvPr>
            <p:cNvSpPr/>
            <p:nvPr/>
          </p:nvSpPr>
          <p:spPr>
            <a:xfrm>
              <a:off x="470073" y="620456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0" name="任意多边形: 形状 1139">
              <a:extLst>
                <a:ext uri="{FF2B5EF4-FFF2-40B4-BE49-F238E27FC236}">
                  <a16:creationId xmlns:a16="http://schemas.microsoft.com/office/drawing/2014/main" id="{4001F813-88A3-4572-BDBB-C4BAE65D36A4}"/>
                </a:ext>
              </a:extLst>
            </p:cNvPr>
            <p:cNvSpPr/>
            <p:nvPr/>
          </p:nvSpPr>
          <p:spPr>
            <a:xfrm>
              <a:off x="470148" y="614349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1" name="任意多边形: 形状 1140">
              <a:extLst>
                <a:ext uri="{FF2B5EF4-FFF2-40B4-BE49-F238E27FC236}">
                  <a16:creationId xmlns:a16="http://schemas.microsoft.com/office/drawing/2014/main" id="{7D6A28A2-2E24-4E4E-938C-20263602CEA0}"/>
                </a:ext>
              </a:extLst>
            </p:cNvPr>
            <p:cNvSpPr/>
            <p:nvPr/>
          </p:nvSpPr>
          <p:spPr>
            <a:xfrm>
              <a:off x="469676" y="6139674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2" name="任意多边形: 形状 1141">
              <a:extLst>
                <a:ext uri="{FF2B5EF4-FFF2-40B4-BE49-F238E27FC236}">
                  <a16:creationId xmlns:a16="http://schemas.microsoft.com/office/drawing/2014/main" id="{2A7626F6-89CF-47F1-8AE8-5CDBEC61F94D}"/>
                </a:ext>
              </a:extLst>
            </p:cNvPr>
            <p:cNvSpPr/>
            <p:nvPr/>
          </p:nvSpPr>
          <p:spPr>
            <a:xfrm>
              <a:off x="470148" y="608163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3" name="任意多边形: 形状 1142">
              <a:extLst>
                <a:ext uri="{FF2B5EF4-FFF2-40B4-BE49-F238E27FC236}">
                  <a16:creationId xmlns:a16="http://schemas.microsoft.com/office/drawing/2014/main" id="{101497AF-89D3-4127-AB9D-670FEC209231}"/>
                </a:ext>
              </a:extLst>
            </p:cNvPr>
            <p:cNvSpPr/>
            <p:nvPr/>
          </p:nvSpPr>
          <p:spPr>
            <a:xfrm>
              <a:off x="470288" y="6077707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4" name="任意多边形: 形状 1143">
              <a:extLst>
                <a:ext uri="{FF2B5EF4-FFF2-40B4-BE49-F238E27FC236}">
                  <a16:creationId xmlns:a16="http://schemas.microsoft.com/office/drawing/2014/main" id="{B7B4F4B6-9700-4B41-9C8C-BEF320BF5224}"/>
                </a:ext>
              </a:extLst>
            </p:cNvPr>
            <p:cNvSpPr/>
            <p:nvPr/>
          </p:nvSpPr>
          <p:spPr>
            <a:xfrm>
              <a:off x="470148" y="6016681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5" name="任意多边形: 形状 1144">
              <a:extLst>
                <a:ext uri="{FF2B5EF4-FFF2-40B4-BE49-F238E27FC236}">
                  <a16:creationId xmlns:a16="http://schemas.microsoft.com/office/drawing/2014/main" id="{3E9C5856-D898-4575-B467-91959A2EF85C}"/>
                </a:ext>
              </a:extLst>
            </p:cNvPr>
            <p:cNvSpPr/>
            <p:nvPr/>
          </p:nvSpPr>
          <p:spPr>
            <a:xfrm>
              <a:off x="470033" y="6012848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79 w 154654"/>
                <a:gd name="connsiteY1" fmla="*/ 0 h 61861"/>
                <a:gd name="connsiteX2" fmla="*/ 170714 w 154654"/>
                <a:gd name="connsiteY2" fmla="*/ 11697 h 61861"/>
                <a:gd name="connsiteX3" fmla="*/ 4035 w 154654"/>
                <a:gd name="connsiteY3" fmla="*/ 6919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79" y="0"/>
                  </a:lnTo>
                  <a:lnTo>
                    <a:pt x="170714" y="11697"/>
                  </a:lnTo>
                  <a:lnTo>
                    <a:pt x="4035" y="6919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6" name="任意多边形: 形状 1145">
              <a:extLst>
                <a:ext uri="{FF2B5EF4-FFF2-40B4-BE49-F238E27FC236}">
                  <a16:creationId xmlns:a16="http://schemas.microsoft.com/office/drawing/2014/main" id="{7080DAD7-BD60-4D59-881E-282EB6791B81}"/>
                </a:ext>
              </a:extLst>
            </p:cNvPr>
            <p:cNvSpPr/>
            <p:nvPr/>
          </p:nvSpPr>
          <p:spPr>
            <a:xfrm>
              <a:off x="470148" y="5954820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7" name="任意多边形: 形状 1146">
              <a:extLst>
                <a:ext uri="{FF2B5EF4-FFF2-40B4-BE49-F238E27FC236}">
                  <a16:creationId xmlns:a16="http://schemas.microsoft.com/office/drawing/2014/main" id="{82715C33-4F01-43C4-99D1-2693D30E6E92}"/>
                </a:ext>
              </a:extLst>
            </p:cNvPr>
            <p:cNvSpPr/>
            <p:nvPr/>
          </p:nvSpPr>
          <p:spPr>
            <a:xfrm>
              <a:off x="469494" y="5947926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8" name="任意多边形: 形状 1147">
              <a:extLst>
                <a:ext uri="{FF2B5EF4-FFF2-40B4-BE49-F238E27FC236}">
                  <a16:creationId xmlns:a16="http://schemas.microsoft.com/office/drawing/2014/main" id="{908462E9-AE91-47EF-932F-FF75B87DAA73}"/>
                </a:ext>
              </a:extLst>
            </p:cNvPr>
            <p:cNvSpPr/>
            <p:nvPr/>
          </p:nvSpPr>
          <p:spPr>
            <a:xfrm>
              <a:off x="470148" y="588986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9" name="任意多边形: 形状 1148">
              <a:extLst>
                <a:ext uri="{FF2B5EF4-FFF2-40B4-BE49-F238E27FC236}">
                  <a16:creationId xmlns:a16="http://schemas.microsoft.com/office/drawing/2014/main" id="{3DC561CF-09CB-4523-9DB0-41E9E43A7F8F}"/>
                </a:ext>
              </a:extLst>
            </p:cNvPr>
            <p:cNvSpPr/>
            <p:nvPr/>
          </p:nvSpPr>
          <p:spPr>
            <a:xfrm>
              <a:off x="470110" y="588595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0" name="任意多边形: 形状 1149">
              <a:extLst>
                <a:ext uri="{FF2B5EF4-FFF2-40B4-BE49-F238E27FC236}">
                  <a16:creationId xmlns:a16="http://schemas.microsoft.com/office/drawing/2014/main" id="{138E21AE-0140-47DE-9527-D6FA46027C1D}"/>
                </a:ext>
              </a:extLst>
            </p:cNvPr>
            <p:cNvSpPr/>
            <p:nvPr/>
          </p:nvSpPr>
          <p:spPr>
            <a:xfrm>
              <a:off x="470148" y="582491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1" name="任意多边形: 形状 1150">
              <a:extLst>
                <a:ext uri="{FF2B5EF4-FFF2-40B4-BE49-F238E27FC236}">
                  <a16:creationId xmlns:a16="http://schemas.microsoft.com/office/drawing/2014/main" id="{41B6B515-8D53-48D5-B8FA-35ED2D6532F1}"/>
                </a:ext>
              </a:extLst>
            </p:cNvPr>
            <p:cNvSpPr/>
            <p:nvPr/>
          </p:nvSpPr>
          <p:spPr>
            <a:xfrm>
              <a:off x="469710" y="582106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6" name="任意多边形: 形状 9855">
              <a:extLst>
                <a:ext uri="{FF2B5EF4-FFF2-40B4-BE49-F238E27FC236}">
                  <a16:creationId xmlns:a16="http://schemas.microsoft.com/office/drawing/2014/main" id="{5C502151-6121-4D9A-ABDA-821B3D2D2C9D}"/>
                </a:ext>
              </a:extLst>
            </p:cNvPr>
            <p:cNvSpPr/>
            <p:nvPr/>
          </p:nvSpPr>
          <p:spPr>
            <a:xfrm>
              <a:off x="470148" y="576304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7" name="任意多边形: 形状 9856">
              <a:extLst>
                <a:ext uri="{FF2B5EF4-FFF2-40B4-BE49-F238E27FC236}">
                  <a16:creationId xmlns:a16="http://schemas.microsoft.com/office/drawing/2014/main" id="{FF9286F4-1865-43BD-BA13-5D83BA02A7AC}"/>
                </a:ext>
              </a:extLst>
            </p:cNvPr>
            <p:cNvSpPr/>
            <p:nvPr/>
          </p:nvSpPr>
          <p:spPr>
            <a:xfrm>
              <a:off x="470322" y="575910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8" name="任意多边形: 形状 9857">
              <a:extLst>
                <a:ext uri="{FF2B5EF4-FFF2-40B4-BE49-F238E27FC236}">
                  <a16:creationId xmlns:a16="http://schemas.microsoft.com/office/drawing/2014/main" id="{9B75BD4C-780B-467E-A030-CB70CDA44EF1}"/>
                </a:ext>
              </a:extLst>
            </p:cNvPr>
            <p:cNvSpPr/>
            <p:nvPr/>
          </p:nvSpPr>
          <p:spPr>
            <a:xfrm>
              <a:off x="470148" y="569809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9" name="任意多边形: 形状 9858">
              <a:extLst>
                <a:ext uri="{FF2B5EF4-FFF2-40B4-BE49-F238E27FC236}">
                  <a16:creationId xmlns:a16="http://schemas.microsoft.com/office/drawing/2014/main" id="{D6D32EFB-27E1-42B2-8C2D-7A4F3C113830}"/>
                </a:ext>
              </a:extLst>
            </p:cNvPr>
            <p:cNvSpPr/>
            <p:nvPr/>
          </p:nvSpPr>
          <p:spPr>
            <a:xfrm>
              <a:off x="469929" y="569421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0" name="任意多边形: 形状 9859">
              <a:extLst>
                <a:ext uri="{FF2B5EF4-FFF2-40B4-BE49-F238E27FC236}">
                  <a16:creationId xmlns:a16="http://schemas.microsoft.com/office/drawing/2014/main" id="{7AE5410B-4DED-4B42-A8D8-D1E422AC6A72}"/>
                </a:ext>
              </a:extLst>
            </p:cNvPr>
            <p:cNvSpPr/>
            <p:nvPr/>
          </p:nvSpPr>
          <p:spPr>
            <a:xfrm>
              <a:off x="470148" y="563623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1" name="任意多边形: 形状 9860">
              <a:extLst>
                <a:ext uri="{FF2B5EF4-FFF2-40B4-BE49-F238E27FC236}">
                  <a16:creationId xmlns:a16="http://schemas.microsoft.com/office/drawing/2014/main" id="{2BCB88C9-21F7-4B31-8C9A-55650AC154F5}"/>
                </a:ext>
              </a:extLst>
            </p:cNvPr>
            <p:cNvSpPr/>
            <p:nvPr/>
          </p:nvSpPr>
          <p:spPr>
            <a:xfrm>
              <a:off x="469532" y="5629320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2" name="任意多边形: 形状 9861">
              <a:extLst>
                <a:ext uri="{FF2B5EF4-FFF2-40B4-BE49-F238E27FC236}">
                  <a16:creationId xmlns:a16="http://schemas.microsoft.com/office/drawing/2014/main" id="{97243A9E-95B1-44C2-B52D-0BD03C3BEB1B}"/>
                </a:ext>
              </a:extLst>
            </p:cNvPr>
            <p:cNvSpPr/>
            <p:nvPr/>
          </p:nvSpPr>
          <p:spPr>
            <a:xfrm>
              <a:off x="470148" y="557127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3" name="任意多边形: 形状 9862">
              <a:extLst>
                <a:ext uri="{FF2B5EF4-FFF2-40B4-BE49-F238E27FC236}">
                  <a16:creationId xmlns:a16="http://schemas.microsoft.com/office/drawing/2014/main" id="{DE61B436-A172-4E0E-8814-67C1ED125140}"/>
                </a:ext>
              </a:extLst>
            </p:cNvPr>
            <p:cNvSpPr/>
            <p:nvPr/>
          </p:nvSpPr>
          <p:spPr>
            <a:xfrm>
              <a:off x="470141" y="5567356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4" name="任意多边形: 形状 9863">
              <a:extLst>
                <a:ext uri="{FF2B5EF4-FFF2-40B4-BE49-F238E27FC236}">
                  <a16:creationId xmlns:a16="http://schemas.microsoft.com/office/drawing/2014/main" id="{A40C4CB4-5B59-4BBE-BFE1-0DFF49E8A9DD}"/>
                </a:ext>
              </a:extLst>
            </p:cNvPr>
            <p:cNvSpPr/>
            <p:nvPr/>
          </p:nvSpPr>
          <p:spPr>
            <a:xfrm>
              <a:off x="470148" y="5506323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5" name="任意多边形: 形状 9864">
              <a:extLst>
                <a:ext uri="{FF2B5EF4-FFF2-40B4-BE49-F238E27FC236}">
                  <a16:creationId xmlns:a16="http://schemas.microsoft.com/office/drawing/2014/main" id="{A715149B-347F-405F-A32D-65E9EBDED696}"/>
                </a:ext>
              </a:extLst>
            </p:cNvPr>
            <p:cNvSpPr/>
            <p:nvPr/>
          </p:nvSpPr>
          <p:spPr>
            <a:xfrm>
              <a:off x="469747" y="550246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6" name="任意多边形: 形状 9865">
              <a:extLst>
                <a:ext uri="{FF2B5EF4-FFF2-40B4-BE49-F238E27FC236}">
                  <a16:creationId xmlns:a16="http://schemas.microsoft.com/office/drawing/2014/main" id="{D0FC4C4B-1A9F-49C9-AC88-6FAD6BE285E8}"/>
                </a:ext>
              </a:extLst>
            </p:cNvPr>
            <p:cNvSpPr/>
            <p:nvPr/>
          </p:nvSpPr>
          <p:spPr>
            <a:xfrm>
              <a:off x="470148" y="5444461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7" name="任意多边形: 形状 9866">
              <a:extLst>
                <a:ext uri="{FF2B5EF4-FFF2-40B4-BE49-F238E27FC236}">
                  <a16:creationId xmlns:a16="http://schemas.microsoft.com/office/drawing/2014/main" id="{3EC18A93-D246-4299-B8C0-EF0931598797}"/>
                </a:ext>
              </a:extLst>
            </p:cNvPr>
            <p:cNvSpPr/>
            <p:nvPr/>
          </p:nvSpPr>
          <p:spPr>
            <a:xfrm>
              <a:off x="470360" y="544049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8" name="任意多边形: 形状 9867">
              <a:extLst>
                <a:ext uri="{FF2B5EF4-FFF2-40B4-BE49-F238E27FC236}">
                  <a16:creationId xmlns:a16="http://schemas.microsoft.com/office/drawing/2014/main" id="{60C3DCFB-B408-43B4-B362-E2FE3059BE57}"/>
                </a:ext>
              </a:extLst>
            </p:cNvPr>
            <p:cNvSpPr/>
            <p:nvPr/>
          </p:nvSpPr>
          <p:spPr>
            <a:xfrm>
              <a:off x="470148" y="537950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9" name="任意多边形: 形状 9868">
              <a:extLst>
                <a:ext uri="{FF2B5EF4-FFF2-40B4-BE49-F238E27FC236}">
                  <a16:creationId xmlns:a16="http://schemas.microsoft.com/office/drawing/2014/main" id="{993E889E-CB5A-4C0A-9E7F-C70C04F95A16}"/>
                </a:ext>
              </a:extLst>
            </p:cNvPr>
            <p:cNvSpPr/>
            <p:nvPr/>
          </p:nvSpPr>
          <p:spPr>
            <a:xfrm>
              <a:off x="469966" y="537560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0" name="任意多边形: 形状 9869">
              <a:extLst>
                <a:ext uri="{FF2B5EF4-FFF2-40B4-BE49-F238E27FC236}">
                  <a16:creationId xmlns:a16="http://schemas.microsoft.com/office/drawing/2014/main" id="{E4FC4BDD-5922-44B6-ACD0-A0328118429D}"/>
                </a:ext>
              </a:extLst>
            </p:cNvPr>
            <p:cNvSpPr/>
            <p:nvPr/>
          </p:nvSpPr>
          <p:spPr>
            <a:xfrm>
              <a:off x="470148" y="531764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1" name="任意多边形: 形状 9870">
              <a:extLst>
                <a:ext uri="{FF2B5EF4-FFF2-40B4-BE49-F238E27FC236}">
                  <a16:creationId xmlns:a16="http://schemas.microsoft.com/office/drawing/2014/main" id="{83971F69-C4C5-4D51-9AD9-A4AD1B0D1FC8}"/>
                </a:ext>
              </a:extLst>
            </p:cNvPr>
            <p:cNvSpPr/>
            <p:nvPr/>
          </p:nvSpPr>
          <p:spPr>
            <a:xfrm>
              <a:off x="469566" y="5310717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2" name="任意多边形: 形状 9871">
              <a:extLst>
                <a:ext uri="{FF2B5EF4-FFF2-40B4-BE49-F238E27FC236}">
                  <a16:creationId xmlns:a16="http://schemas.microsoft.com/office/drawing/2014/main" id="{EA11CD4D-52B0-4AED-AF25-646C7E48F537}"/>
                </a:ext>
              </a:extLst>
            </p:cNvPr>
            <p:cNvSpPr/>
            <p:nvPr/>
          </p:nvSpPr>
          <p:spPr>
            <a:xfrm>
              <a:off x="470148" y="525269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3" name="任意多边形: 形状 9872">
              <a:extLst>
                <a:ext uri="{FF2B5EF4-FFF2-40B4-BE49-F238E27FC236}">
                  <a16:creationId xmlns:a16="http://schemas.microsoft.com/office/drawing/2014/main" id="{78B73E03-A9D0-4DEC-B77B-380B4EF8DDC8}"/>
                </a:ext>
              </a:extLst>
            </p:cNvPr>
            <p:cNvSpPr/>
            <p:nvPr/>
          </p:nvSpPr>
          <p:spPr>
            <a:xfrm>
              <a:off x="470179" y="524875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4" name="任意多边形: 形状 9873">
              <a:extLst>
                <a:ext uri="{FF2B5EF4-FFF2-40B4-BE49-F238E27FC236}">
                  <a16:creationId xmlns:a16="http://schemas.microsoft.com/office/drawing/2014/main" id="{1A35B054-CCFD-4419-9F79-555621B1D6A2}"/>
                </a:ext>
              </a:extLst>
            </p:cNvPr>
            <p:cNvSpPr/>
            <p:nvPr/>
          </p:nvSpPr>
          <p:spPr>
            <a:xfrm>
              <a:off x="470148" y="518773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5" name="任意多边形: 形状 9874">
              <a:extLst>
                <a:ext uri="{FF2B5EF4-FFF2-40B4-BE49-F238E27FC236}">
                  <a16:creationId xmlns:a16="http://schemas.microsoft.com/office/drawing/2014/main" id="{5FD27AB6-18DD-4C70-B9E5-E77F13D66FBB}"/>
                </a:ext>
              </a:extLst>
            </p:cNvPr>
            <p:cNvSpPr/>
            <p:nvPr/>
          </p:nvSpPr>
          <p:spPr>
            <a:xfrm>
              <a:off x="469785" y="518385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6" name="任意多边形: 形状 9875">
              <a:extLst>
                <a:ext uri="{FF2B5EF4-FFF2-40B4-BE49-F238E27FC236}">
                  <a16:creationId xmlns:a16="http://schemas.microsoft.com/office/drawing/2014/main" id="{99517519-46EB-4912-B6DD-4B6B527178BF}"/>
                </a:ext>
              </a:extLst>
            </p:cNvPr>
            <p:cNvSpPr/>
            <p:nvPr/>
          </p:nvSpPr>
          <p:spPr>
            <a:xfrm>
              <a:off x="470148" y="512587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7" name="任意多边形: 形状 9876">
              <a:extLst>
                <a:ext uri="{FF2B5EF4-FFF2-40B4-BE49-F238E27FC236}">
                  <a16:creationId xmlns:a16="http://schemas.microsoft.com/office/drawing/2014/main" id="{D9949AB8-9317-42B3-AE58-A9FF093912A8}"/>
                </a:ext>
              </a:extLst>
            </p:cNvPr>
            <p:cNvSpPr/>
            <p:nvPr/>
          </p:nvSpPr>
          <p:spPr>
            <a:xfrm>
              <a:off x="470397" y="5121893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5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5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8" name="任意多边形: 形状 9877">
              <a:extLst>
                <a:ext uri="{FF2B5EF4-FFF2-40B4-BE49-F238E27FC236}">
                  <a16:creationId xmlns:a16="http://schemas.microsoft.com/office/drawing/2014/main" id="{AA559FDB-6107-445E-BD27-236D385039E1}"/>
                </a:ext>
              </a:extLst>
            </p:cNvPr>
            <p:cNvSpPr/>
            <p:nvPr/>
          </p:nvSpPr>
          <p:spPr>
            <a:xfrm>
              <a:off x="470148" y="506091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9" name="任意多边形: 形状 9878">
              <a:extLst>
                <a:ext uri="{FF2B5EF4-FFF2-40B4-BE49-F238E27FC236}">
                  <a16:creationId xmlns:a16="http://schemas.microsoft.com/office/drawing/2014/main" id="{4D4FB1A9-C0A0-4D38-B8CF-5D9BF86AF1B6}"/>
                </a:ext>
              </a:extLst>
            </p:cNvPr>
            <p:cNvSpPr/>
            <p:nvPr/>
          </p:nvSpPr>
          <p:spPr>
            <a:xfrm>
              <a:off x="469997" y="505700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0" name="任意多边形: 形状 9879">
              <a:extLst>
                <a:ext uri="{FF2B5EF4-FFF2-40B4-BE49-F238E27FC236}">
                  <a16:creationId xmlns:a16="http://schemas.microsoft.com/office/drawing/2014/main" id="{D74DE022-6387-4F95-80E8-999CD684D5FD}"/>
                </a:ext>
              </a:extLst>
            </p:cNvPr>
            <p:cNvSpPr/>
            <p:nvPr/>
          </p:nvSpPr>
          <p:spPr>
            <a:xfrm>
              <a:off x="470148" y="499905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1" name="任意多边形: 形状 9880">
              <a:extLst>
                <a:ext uri="{FF2B5EF4-FFF2-40B4-BE49-F238E27FC236}">
                  <a16:creationId xmlns:a16="http://schemas.microsoft.com/office/drawing/2014/main" id="{6E21EB4B-0161-4634-8150-2C03591C8063}"/>
                </a:ext>
              </a:extLst>
            </p:cNvPr>
            <p:cNvSpPr/>
            <p:nvPr/>
          </p:nvSpPr>
          <p:spPr>
            <a:xfrm>
              <a:off x="469604" y="499211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2" name="任意多边形: 形状 9881">
              <a:extLst>
                <a:ext uri="{FF2B5EF4-FFF2-40B4-BE49-F238E27FC236}">
                  <a16:creationId xmlns:a16="http://schemas.microsoft.com/office/drawing/2014/main" id="{C74F8A76-F3C2-42C2-9EDA-C8A3B4A902E2}"/>
                </a:ext>
              </a:extLst>
            </p:cNvPr>
            <p:cNvSpPr/>
            <p:nvPr/>
          </p:nvSpPr>
          <p:spPr>
            <a:xfrm>
              <a:off x="637174" y="4934102"/>
              <a:ext cx="247447" cy="1855850"/>
            </a:xfrm>
            <a:custGeom>
              <a:avLst/>
              <a:gdLst>
                <a:gd name="connsiteX0" fmla="*/ 0 w 247446"/>
                <a:gd name="connsiteY0" fmla="*/ 0 h 1855849"/>
                <a:gd name="connsiteX1" fmla="*/ 0 w 247446"/>
                <a:gd name="connsiteY1" fmla="*/ 516545 h 1855849"/>
                <a:gd name="connsiteX2" fmla="*/ 0 w 247446"/>
                <a:gd name="connsiteY2" fmla="*/ 1339305 h 1855849"/>
                <a:gd name="connsiteX3" fmla="*/ 0 w 247446"/>
                <a:gd name="connsiteY3" fmla="*/ 1855850 h 1855849"/>
                <a:gd name="connsiteX4" fmla="*/ 259819 w 247446"/>
                <a:gd name="connsiteY4" fmla="*/ 1855850 h 1855849"/>
                <a:gd name="connsiteX5" fmla="*/ 259819 w 247446"/>
                <a:gd name="connsiteY5" fmla="*/ 1339305 h 1855849"/>
                <a:gd name="connsiteX6" fmla="*/ 259819 w 247446"/>
                <a:gd name="connsiteY6" fmla="*/ 516545 h 1855849"/>
                <a:gd name="connsiteX7" fmla="*/ 259819 w 247446"/>
                <a:gd name="connsiteY7" fmla="*/ 0 h 18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446" h="1855849">
                  <a:moveTo>
                    <a:pt x="0" y="0"/>
                  </a:moveTo>
                  <a:lnTo>
                    <a:pt x="0" y="516545"/>
                  </a:lnTo>
                  <a:lnTo>
                    <a:pt x="0" y="1339305"/>
                  </a:lnTo>
                  <a:lnTo>
                    <a:pt x="0" y="1855850"/>
                  </a:lnTo>
                  <a:lnTo>
                    <a:pt x="259819" y="1855850"/>
                  </a:lnTo>
                  <a:lnTo>
                    <a:pt x="259819" y="1339305"/>
                  </a:lnTo>
                  <a:lnTo>
                    <a:pt x="259819" y="516545"/>
                  </a:lnTo>
                  <a:lnTo>
                    <a:pt x="259819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3" name="任意多边形: 形状 9882">
              <a:extLst>
                <a:ext uri="{FF2B5EF4-FFF2-40B4-BE49-F238E27FC236}">
                  <a16:creationId xmlns:a16="http://schemas.microsoft.com/office/drawing/2014/main" id="{702727A1-A001-44C4-B4AD-90712B603B25}"/>
                </a:ext>
              </a:extLst>
            </p:cNvPr>
            <p:cNvSpPr/>
            <p:nvPr/>
          </p:nvSpPr>
          <p:spPr>
            <a:xfrm>
              <a:off x="634081" y="4927916"/>
              <a:ext cx="247447" cy="1855850"/>
            </a:xfrm>
            <a:custGeom>
              <a:avLst/>
              <a:gdLst>
                <a:gd name="connsiteX0" fmla="*/ 269098 w 247446"/>
                <a:gd name="connsiteY0" fmla="*/ 1868222 h 1855849"/>
                <a:gd name="connsiteX1" fmla="*/ 0 w 247446"/>
                <a:gd name="connsiteY1" fmla="*/ 1868222 h 1855849"/>
                <a:gd name="connsiteX2" fmla="*/ 0 w 247446"/>
                <a:gd name="connsiteY2" fmla="*/ 0 h 1855849"/>
                <a:gd name="connsiteX3" fmla="*/ 269098 w 247446"/>
                <a:gd name="connsiteY3" fmla="*/ 0 h 1855849"/>
                <a:gd name="connsiteX4" fmla="*/ 269098 w 247446"/>
                <a:gd name="connsiteY4" fmla="*/ 1868222 h 1855849"/>
                <a:gd name="connsiteX5" fmla="*/ 9279 w 247446"/>
                <a:gd name="connsiteY5" fmla="*/ 1855850 h 1855849"/>
                <a:gd name="connsiteX6" fmla="*/ 256726 w 247446"/>
                <a:gd name="connsiteY6" fmla="*/ 1855850 h 1855849"/>
                <a:gd name="connsiteX7" fmla="*/ 256726 w 247446"/>
                <a:gd name="connsiteY7" fmla="*/ 12372 h 1855849"/>
                <a:gd name="connsiteX8" fmla="*/ 9279 w 247446"/>
                <a:gd name="connsiteY8" fmla="*/ 12372 h 1855849"/>
                <a:gd name="connsiteX9" fmla="*/ 9279 w 247446"/>
                <a:gd name="connsiteY9" fmla="*/ 1855850 h 18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46" h="1855849">
                  <a:moveTo>
                    <a:pt x="269098" y="1868222"/>
                  </a:moveTo>
                  <a:lnTo>
                    <a:pt x="0" y="1868222"/>
                  </a:lnTo>
                  <a:lnTo>
                    <a:pt x="0" y="0"/>
                  </a:lnTo>
                  <a:lnTo>
                    <a:pt x="269098" y="0"/>
                  </a:lnTo>
                  <a:lnTo>
                    <a:pt x="269098" y="1868222"/>
                  </a:lnTo>
                  <a:close/>
                  <a:moveTo>
                    <a:pt x="9279" y="1855850"/>
                  </a:moveTo>
                  <a:lnTo>
                    <a:pt x="256726" y="1855850"/>
                  </a:lnTo>
                  <a:lnTo>
                    <a:pt x="256726" y="12372"/>
                  </a:lnTo>
                  <a:lnTo>
                    <a:pt x="9279" y="12372"/>
                  </a:lnTo>
                  <a:lnTo>
                    <a:pt x="9279" y="1855850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4" name="任意多边形: 形状 9883">
              <a:extLst>
                <a:ext uri="{FF2B5EF4-FFF2-40B4-BE49-F238E27FC236}">
                  <a16:creationId xmlns:a16="http://schemas.microsoft.com/office/drawing/2014/main" id="{0FC1DF32-37C9-453E-BEA5-C16BA886EF2E}"/>
                </a:ext>
              </a:extLst>
            </p:cNvPr>
            <p:cNvSpPr/>
            <p:nvPr/>
          </p:nvSpPr>
          <p:spPr>
            <a:xfrm>
              <a:off x="637174" y="620845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5" name="任意多边形: 形状 9884">
              <a:extLst>
                <a:ext uri="{FF2B5EF4-FFF2-40B4-BE49-F238E27FC236}">
                  <a16:creationId xmlns:a16="http://schemas.microsoft.com/office/drawing/2014/main" id="{39DE7712-EE1B-4319-A2E8-F211F077A2FA}"/>
                </a:ext>
              </a:extLst>
            </p:cNvPr>
            <p:cNvSpPr/>
            <p:nvPr/>
          </p:nvSpPr>
          <p:spPr>
            <a:xfrm>
              <a:off x="637174" y="620535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6" name="任意多边形: 形状 9885">
              <a:extLst>
                <a:ext uri="{FF2B5EF4-FFF2-40B4-BE49-F238E27FC236}">
                  <a16:creationId xmlns:a16="http://schemas.microsoft.com/office/drawing/2014/main" id="{E5A57DC0-5F6B-4322-9184-D873433BF1A1}"/>
                </a:ext>
              </a:extLst>
            </p:cNvPr>
            <p:cNvSpPr/>
            <p:nvPr/>
          </p:nvSpPr>
          <p:spPr>
            <a:xfrm>
              <a:off x="637174" y="61465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7" name="任意多边形: 形状 9886">
              <a:extLst>
                <a:ext uri="{FF2B5EF4-FFF2-40B4-BE49-F238E27FC236}">
                  <a16:creationId xmlns:a16="http://schemas.microsoft.com/office/drawing/2014/main" id="{6DA1BB2A-1DF2-41AA-AE5C-6E551CF3D27B}"/>
                </a:ext>
              </a:extLst>
            </p:cNvPr>
            <p:cNvSpPr/>
            <p:nvPr/>
          </p:nvSpPr>
          <p:spPr>
            <a:xfrm>
              <a:off x="637174" y="614040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8" name="任意多边形: 形状 9887">
              <a:extLst>
                <a:ext uri="{FF2B5EF4-FFF2-40B4-BE49-F238E27FC236}">
                  <a16:creationId xmlns:a16="http://schemas.microsoft.com/office/drawing/2014/main" id="{AB0F34EB-0E55-4C5D-8661-686A34A59DFC}"/>
                </a:ext>
              </a:extLst>
            </p:cNvPr>
            <p:cNvSpPr/>
            <p:nvPr/>
          </p:nvSpPr>
          <p:spPr>
            <a:xfrm>
              <a:off x="637174" y="608163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9" name="任意多边形: 形状 9888">
              <a:extLst>
                <a:ext uri="{FF2B5EF4-FFF2-40B4-BE49-F238E27FC236}">
                  <a16:creationId xmlns:a16="http://schemas.microsoft.com/office/drawing/2014/main" id="{4EBC1FA7-289B-4927-9673-A6CAFA2D0E6F}"/>
                </a:ext>
              </a:extLst>
            </p:cNvPr>
            <p:cNvSpPr/>
            <p:nvPr/>
          </p:nvSpPr>
          <p:spPr>
            <a:xfrm>
              <a:off x="637174" y="607545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0" name="任意多边形: 形状 9889">
              <a:extLst>
                <a:ext uri="{FF2B5EF4-FFF2-40B4-BE49-F238E27FC236}">
                  <a16:creationId xmlns:a16="http://schemas.microsoft.com/office/drawing/2014/main" id="{AD2B2CF9-B16D-44A1-818A-D23A44F7F001}"/>
                </a:ext>
              </a:extLst>
            </p:cNvPr>
            <p:cNvSpPr/>
            <p:nvPr/>
          </p:nvSpPr>
          <p:spPr>
            <a:xfrm>
              <a:off x="637174" y="60197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1" name="任意多边形: 形状 9890">
              <a:extLst>
                <a:ext uri="{FF2B5EF4-FFF2-40B4-BE49-F238E27FC236}">
                  <a16:creationId xmlns:a16="http://schemas.microsoft.com/office/drawing/2014/main" id="{32FE8D75-6E27-4DBE-A1A1-A711B6FE4264}"/>
                </a:ext>
              </a:extLst>
            </p:cNvPr>
            <p:cNvSpPr/>
            <p:nvPr/>
          </p:nvSpPr>
          <p:spPr>
            <a:xfrm>
              <a:off x="637174" y="601358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2" name="任意多边形: 形状 9891">
              <a:extLst>
                <a:ext uri="{FF2B5EF4-FFF2-40B4-BE49-F238E27FC236}">
                  <a16:creationId xmlns:a16="http://schemas.microsoft.com/office/drawing/2014/main" id="{CE871739-5B7D-4401-9CC9-A042C2F20780}"/>
                </a:ext>
              </a:extLst>
            </p:cNvPr>
            <p:cNvSpPr/>
            <p:nvPr/>
          </p:nvSpPr>
          <p:spPr>
            <a:xfrm>
              <a:off x="637174" y="595482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3" name="任意多边形: 形状 9892">
              <a:extLst>
                <a:ext uri="{FF2B5EF4-FFF2-40B4-BE49-F238E27FC236}">
                  <a16:creationId xmlns:a16="http://schemas.microsoft.com/office/drawing/2014/main" id="{FA62DF98-7B74-4BAC-8176-75146C784C30}"/>
                </a:ext>
              </a:extLst>
            </p:cNvPr>
            <p:cNvSpPr/>
            <p:nvPr/>
          </p:nvSpPr>
          <p:spPr>
            <a:xfrm>
              <a:off x="637174" y="594863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4" name="任意多边形: 形状 9893">
              <a:extLst>
                <a:ext uri="{FF2B5EF4-FFF2-40B4-BE49-F238E27FC236}">
                  <a16:creationId xmlns:a16="http://schemas.microsoft.com/office/drawing/2014/main" id="{E3F9E534-EB47-40D3-9C9B-7FDA4422397A}"/>
                </a:ext>
              </a:extLst>
            </p:cNvPr>
            <p:cNvSpPr/>
            <p:nvPr/>
          </p:nvSpPr>
          <p:spPr>
            <a:xfrm>
              <a:off x="637174" y="588986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5" name="任意多边形: 形状 9894">
              <a:extLst>
                <a:ext uri="{FF2B5EF4-FFF2-40B4-BE49-F238E27FC236}">
                  <a16:creationId xmlns:a16="http://schemas.microsoft.com/office/drawing/2014/main" id="{737C3EC3-8B5F-49FA-B1AD-04BCFAA00040}"/>
                </a:ext>
              </a:extLst>
            </p:cNvPr>
            <p:cNvSpPr/>
            <p:nvPr/>
          </p:nvSpPr>
          <p:spPr>
            <a:xfrm>
              <a:off x="637174" y="588677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6" name="任意多边形: 形状 9895">
              <a:extLst>
                <a:ext uri="{FF2B5EF4-FFF2-40B4-BE49-F238E27FC236}">
                  <a16:creationId xmlns:a16="http://schemas.microsoft.com/office/drawing/2014/main" id="{73012FBF-4A46-4A3C-82A1-366CD2B93BDA}"/>
                </a:ext>
              </a:extLst>
            </p:cNvPr>
            <p:cNvSpPr/>
            <p:nvPr/>
          </p:nvSpPr>
          <p:spPr>
            <a:xfrm>
              <a:off x="637174" y="58280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7" name="任意多边形: 形状 9896">
              <a:extLst>
                <a:ext uri="{FF2B5EF4-FFF2-40B4-BE49-F238E27FC236}">
                  <a16:creationId xmlns:a16="http://schemas.microsoft.com/office/drawing/2014/main" id="{178333B1-B183-4113-8155-C8B44D61810A}"/>
                </a:ext>
              </a:extLst>
            </p:cNvPr>
            <p:cNvSpPr/>
            <p:nvPr/>
          </p:nvSpPr>
          <p:spPr>
            <a:xfrm>
              <a:off x="637174" y="582181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8" name="任意多边形: 形状 9897">
              <a:extLst>
                <a:ext uri="{FF2B5EF4-FFF2-40B4-BE49-F238E27FC236}">
                  <a16:creationId xmlns:a16="http://schemas.microsoft.com/office/drawing/2014/main" id="{653FC389-D886-46C5-87F3-25AFBA5C4453}"/>
                </a:ext>
              </a:extLst>
            </p:cNvPr>
            <p:cNvSpPr/>
            <p:nvPr/>
          </p:nvSpPr>
          <p:spPr>
            <a:xfrm>
              <a:off x="637174" y="576304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9" name="任意多边形: 形状 9898">
              <a:extLst>
                <a:ext uri="{FF2B5EF4-FFF2-40B4-BE49-F238E27FC236}">
                  <a16:creationId xmlns:a16="http://schemas.microsoft.com/office/drawing/2014/main" id="{A62DC1E4-E30E-425A-93E5-1D65586999F7}"/>
                </a:ext>
              </a:extLst>
            </p:cNvPr>
            <p:cNvSpPr/>
            <p:nvPr/>
          </p:nvSpPr>
          <p:spPr>
            <a:xfrm>
              <a:off x="637174" y="575686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0" name="任意多边形: 形状 9899">
              <a:extLst>
                <a:ext uri="{FF2B5EF4-FFF2-40B4-BE49-F238E27FC236}">
                  <a16:creationId xmlns:a16="http://schemas.microsoft.com/office/drawing/2014/main" id="{FFE0A90B-EC4B-45AB-80A0-8241709BE51B}"/>
                </a:ext>
              </a:extLst>
            </p:cNvPr>
            <p:cNvSpPr/>
            <p:nvPr/>
          </p:nvSpPr>
          <p:spPr>
            <a:xfrm>
              <a:off x="637174" y="57011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1" name="任意多边形: 形状 9900">
              <a:extLst>
                <a:ext uri="{FF2B5EF4-FFF2-40B4-BE49-F238E27FC236}">
                  <a16:creationId xmlns:a16="http://schemas.microsoft.com/office/drawing/2014/main" id="{BC33471E-BC8A-4CF8-BCA0-30B4928CBB3C}"/>
                </a:ext>
              </a:extLst>
            </p:cNvPr>
            <p:cNvSpPr/>
            <p:nvPr/>
          </p:nvSpPr>
          <p:spPr>
            <a:xfrm>
              <a:off x="637174" y="569500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2" name="任意多边形: 形状 9901">
              <a:extLst>
                <a:ext uri="{FF2B5EF4-FFF2-40B4-BE49-F238E27FC236}">
                  <a16:creationId xmlns:a16="http://schemas.microsoft.com/office/drawing/2014/main" id="{FACEDF40-95FA-4471-83F1-1AA356288061}"/>
                </a:ext>
              </a:extLst>
            </p:cNvPr>
            <p:cNvSpPr/>
            <p:nvPr/>
          </p:nvSpPr>
          <p:spPr>
            <a:xfrm>
              <a:off x="637174" y="56362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3" name="任意多边形: 形状 9902">
              <a:extLst>
                <a:ext uri="{FF2B5EF4-FFF2-40B4-BE49-F238E27FC236}">
                  <a16:creationId xmlns:a16="http://schemas.microsoft.com/office/drawing/2014/main" id="{F1E99BBD-2AD0-45C2-B142-4BC64F7A6D38}"/>
                </a:ext>
              </a:extLst>
            </p:cNvPr>
            <p:cNvSpPr/>
            <p:nvPr/>
          </p:nvSpPr>
          <p:spPr>
            <a:xfrm>
              <a:off x="637174" y="56300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4" name="任意多边形: 形状 9903">
              <a:extLst>
                <a:ext uri="{FF2B5EF4-FFF2-40B4-BE49-F238E27FC236}">
                  <a16:creationId xmlns:a16="http://schemas.microsoft.com/office/drawing/2014/main" id="{22629C55-B64C-4E8C-9054-E6611F1177AC}"/>
                </a:ext>
              </a:extLst>
            </p:cNvPr>
            <p:cNvSpPr/>
            <p:nvPr/>
          </p:nvSpPr>
          <p:spPr>
            <a:xfrm>
              <a:off x="637174" y="557127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5" name="任意多边形: 形状 9904">
              <a:extLst>
                <a:ext uri="{FF2B5EF4-FFF2-40B4-BE49-F238E27FC236}">
                  <a16:creationId xmlns:a16="http://schemas.microsoft.com/office/drawing/2014/main" id="{0FB394EA-C90B-4949-855E-C44296ECE696}"/>
                </a:ext>
              </a:extLst>
            </p:cNvPr>
            <p:cNvSpPr/>
            <p:nvPr/>
          </p:nvSpPr>
          <p:spPr>
            <a:xfrm>
              <a:off x="637174" y="556818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6" name="任意多边形: 形状 9905">
              <a:extLst>
                <a:ext uri="{FF2B5EF4-FFF2-40B4-BE49-F238E27FC236}">
                  <a16:creationId xmlns:a16="http://schemas.microsoft.com/office/drawing/2014/main" id="{1D85D95A-D665-4740-A56C-4A3D0ECBE32A}"/>
                </a:ext>
              </a:extLst>
            </p:cNvPr>
            <p:cNvSpPr/>
            <p:nvPr/>
          </p:nvSpPr>
          <p:spPr>
            <a:xfrm>
              <a:off x="637174" y="550941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7" name="任意多边形: 形状 9906">
              <a:extLst>
                <a:ext uri="{FF2B5EF4-FFF2-40B4-BE49-F238E27FC236}">
                  <a16:creationId xmlns:a16="http://schemas.microsoft.com/office/drawing/2014/main" id="{80A63795-D559-4571-8A88-8F232B9C7F7C}"/>
                </a:ext>
              </a:extLst>
            </p:cNvPr>
            <p:cNvSpPr/>
            <p:nvPr/>
          </p:nvSpPr>
          <p:spPr>
            <a:xfrm>
              <a:off x="637174" y="550323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8" name="任意多边形: 形状 9907">
              <a:extLst>
                <a:ext uri="{FF2B5EF4-FFF2-40B4-BE49-F238E27FC236}">
                  <a16:creationId xmlns:a16="http://schemas.microsoft.com/office/drawing/2014/main" id="{FB805BE8-7CFC-4EDF-9405-91403B412603}"/>
                </a:ext>
              </a:extLst>
            </p:cNvPr>
            <p:cNvSpPr/>
            <p:nvPr/>
          </p:nvSpPr>
          <p:spPr>
            <a:xfrm>
              <a:off x="637174" y="544446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9" name="任意多边形: 形状 9908">
              <a:extLst>
                <a:ext uri="{FF2B5EF4-FFF2-40B4-BE49-F238E27FC236}">
                  <a16:creationId xmlns:a16="http://schemas.microsoft.com/office/drawing/2014/main" id="{69B749E2-FEF0-4243-93A5-C99EB2B7AEEE}"/>
                </a:ext>
              </a:extLst>
            </p:cNvPr>
            <p:cNvSpPr/>
            <p:nvPr/>
          </p:nvSpPr>
          <p:spPr>
            <a:xfrm>
              <a:off x="637174" y="54382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0" name="任意多边形: 形状 9909">
              <a:extLst>
                <a:ext uri="{FF2B5EF4-FFF2-40B4-BE49-F238E27FC236}">
                  <a16:creationId xmlns:a16="http://schemas.microsoft.com/office/drawing/2014/main" id="{F51F9CB3-23FA-44ED-A035-22E2D1D5F3F8}"/>
                </a:ext>
              </a:extLst>
            </p:cNvPr>
            <p:cNvSpPr/>
            <p:nvPr/>
          </p:nvSpPr>
          <p:spPr>
            <a:xfrm>
              <a:off x="637174" y="53825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1" name="任意多边形: 形状 9910">
              <a:extLst>
                <a:ext uri="{FF2B5EF4-FFF2-40B4-BE49-F238E27FC236}">
                  <a16:creationId xmlns:a16="http://schemas.microsoft.com/office/drawing/2014/main" id="{F32B4480-A8C7-4EF1-BE32-665C6FC8C8C7}"/>
                </a:ext>
              </a:extLst>
            </p:cNvPr>
            <p:cNvSpPr/>
            <p:nvPr/>
          </p:nvSpPr>
          <p:spPr>
            <a:xfrm>
              <a:off x="637174" y="537641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2" name="任意多边形: 形状 9911">
              <a:extLst>
                <a:ext uri="{FF2B5EF4-FFF2-40B4-BE49-F238E27FC236}">
                  <a16:creationId xmlns:a16="http://schemas.microsoft.com/office/drawing/2014/main" id="{CEC2BCEC-93E7-4292-868C-794F2A3E4E58}"/>
                </a:ext>
              </a:extLst>
            </p:cNvPr>
            <p:cNvSpPr/>
            <p:nvPr/>
          </p:nvSpPr>
          <p:spPr>
            <a:xfrm>
              <a:off x="637174" y="531764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3" name="任意多边形: 形状 9912">
              <a:extLst>
                <a:ext uri="{FF2B5EF4-FFF2-40B4-BE49-F238E27FC236}">
                  <a16:creationId xmlns:a16="http://schemas.microsoft.com/office/drawing/2014/main" id="{65AB43F7-495E-48AF-B296-15B6CBB1FCE2}"/>
                </a:ext>
              </a:extLst>
            </p:cNvPr>
            <p:cNvSpPr/>
            <p:nvPr/>
          </p:nvSpPr>
          <p:spPr>
            <a:xfrm>
              <a:off x="637174" y="531145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4" name="任意多边形: 形状 9913">
              <a:extLst>
                <a:ext uri="{FF2B5EF4-FFF2-40B4-BE49-F238E27FC236}">
                  <a16:creationId xmlns:a16="http://schemas.microsoft.com/office/drawing/2014/main" id="{3A08444D-19C9-495A-8B67-86DBDB63BC8A}"/>
                </a:ext>
              </a:extLst>
            </p:cNvPr>
            <p:cNvSpPr/>
            <p:nvPr/>
          </p:nvSpPr>
          <p:spPr>
            <a:xfrm>
              <a:off x="637174" y="525269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5" name="任意多边形: 形状 9914">
              <a:extLst>
                <a:ext uri="{FF2B5EF4-FFF2-40B4-BE49-F238E27FC236}">
                  <a16:creationId xmlns:a16="http://schemas.microsoft.com/office/drawing/2014/main" id="{2DB81EA4-8470-4855-97A3-AA924A0DE0B2}"/>
                </a:ext>
              </a:extLst>
            </p:cNvPr>
            <p:cNvSpPr/>
            <p:nvPr/>
          </p:nvSpPr>
          <p:spPr>
            <a:xfrm>
              <a:off x="637174" y="524650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6" name="任意多边形: 形状 9915">
              <a:extLst>
                <a:ext uri="{FF2B5EF4-FFF2-40B4-BE49-F238E27FC236}">
                  <a16:creationId xmlns:a16="http://schemas.microsoft.com/office/drawing/2014/main" id="{A9B26119-BAB4-4FD8-84EB-A2D8BFE8D1F3}"/>
                </a:ext>
              </a:extLst>
            </p:cNvPr>
            <p:cNvSpPr/>
            <p:nvPr/>
          </p:nvSpPr>
          <p:spPr>
            <a:xfrm>
              <a:off x="637174" y="51908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7" name="任意多边形: 形状 9916">
              <a:extLst>
                <a:ext uri="{FF2B5EF4-FFF2-40B4-BE49-F238E27FC236}">
                  <a16:creationId xmlns:a16="http://schemas.microsoft.com/office/drawing/2014/main" id="{38C88580-F7B0-4014-866D-B1023650E9B4}"/>
                </a:ext>
              </a:extLst>
            </p:cNvPr>
            <p:cNvSpPr/>
            <p:nvPr/>
          </p:nvSpPr>
          <p:spPr>
            <a:xfrm>
              <a:off x="637174" y="51846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8" name="任意多边形: 形状 9917">
              <a:extLst>
                <a:ext uri="{FF2B5EF4-FFF2-40B4-BE49-F238E27FC236}">
                  <a16:creationId xmlns:a16="http://schemas.microsoft.com/office/drawing/2014/main" id="{5E83D8CC-41DF-4E47-8361-009E9874A630}"/>
                </a:ext>
              </a:extLst>
            </p:cNvPr>
            <p:cNvSpPr/>
            <p:nvPr/>
          </p:nvSpPr>
          <p:spPr>
            <a:xfrm>
              <a:off x="637174" y="512587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9" name="任意多边形: 形状 9918">
              <a:extLst>
                <a:ext uri="{FF2B5EF4-FFF2-40B4-BE49-F238E27FC236}">
                  <a16:creationId xmlns:a16="http://schemas.microsoft.com/office/drawing/2014/main" id="{1045E567-D8F0-4A95-934C-0BD63E7B4E4C}"/>
                </a:ext>
              </a:extLst>
            </p:cNvPr>
            <p:cNvSpPr/>
            <p:nvPr/>
          </p:nvSpPr>
          <p:spPr>
            <a:xfrm>
              <a:off x="637174" y="51196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0" name="任意多边形: 形状 9919">
              <a:extLst>
                <a:ext uri="{FF2B5EF4-FFF2-40B4-BE49-F238E27FC236}">
                  <a16:creationId xmlns:a16="http://schemas.microsoft.com/office/drawing/2014/main" id="{2518CE89-6122-4BA1-9EA7-702864A6D98E}"/>
                </a:ext>
              </a:extLst>
            </p:cNvPr>
            <p:cNvSpPr/>
            <p:nvPr/>
          </p:nvSpPr>
          <p:spPr>
            <a:xfrm>
              <a:off x="637174" y="506401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1" name="任意多边形: 形状 9920">
              <a:extLst>
                <a:ext uri="{FF2B5EF4-FFF2-40B4-BE49-F238E27FC236}">
                  <a16:creationId xmlns:a16="http://schemas.microsoft.com/office/drawing/2014/main" id="{D0D538A6-F690-4E4E-AAA3-74B459B5BC2E}"/>
                </a:ext>
              </a:extLst>
            </p:cNvPr>
            <p:cNvSpPr/>
            <p:nvPr/>
          </p:nvSpPr>
          <p:spPr>
            <a:xfrm>
              <a:off x="637174" y="505782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2" name="任意多边形: 形状 9921">
              <a:extLst>
                <a:ext uri="{FF2B5EF4-FFF2-40B4-BE49-F238E27FC236}">
                  <a16:creationId xmlns:a16="http://schemas.microsoft.com/office/drawing/2014/main" id="{EE538683-C043-4DBE-BCB7-CE8B81FB2AF8}"/>
                </a:ext>
              </a:extLst>
            </p:cNvPr>
            <p:cNvSpPr/>
            <p:nvPr/>
          </p:nvSpPr>
          <p:spPr>
            <a:xfrm>
              <a:off x="637174" y="49990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3" name="任意多边形: 形状 9922">
              <a:extLst>
                <a:ext uri="{FF2B5EF4-FFF2-40B4-BE49-F238E27FC236}">
                  <a16:creationId xmlns:a16="http://schemas.microsoft.com/office/drawing/2014/main" id="{7A806E5C-D0EC-4D95-96B1-A0A0C8DA3180}"/>
                </a:ext>
              </a:extLst>
            </p:cNvPr>
            <p:cNvSpPr/>
            <p:nvPr/>
          </p:nvSpPr>
          <p:spPr>
            <a:xfrm>
              <a:off x="637174" y="499287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4" name="任意多边形: 形状 9923">
              <a:extLst>
                <a:ext uri="{FF2B5EF4-FFF2-40B4-BE49-F238E27FC236}">
                  <a16:creationId xmlns:a16="http://schemas.microsoft.com/office/drawing/2014/main" id="{5051D6BE-C811-4B96-A5A2-F78FBAA3C304}"/>
                </a:ext>
              </a:extLst>
            </p:cNvPr>
            <p:cNvSpPr/>
            <p:nvPr/>
          </p:nvSpPr>
          <p:spPr>
            <a:xfrm>
              <a:off x="219608" y="5490857"/>
              <a:ext cx="154654" cy="1360957"/>
            </a:xfrm>
            <a:custGeom>
              <a:avLst/>
              <a:gdLst>
                <a:gd name="connsiteX0" fmla="*/ 0 w 154654"/>
                <a:gd name="connsiteY0" fmla="*/ 58768 h 1360956"/>
                <a:gd name="connsiteX1" fmla="*/ 163933 w 154654"/>
                <a:gd name="connsiteY1" fmla="*/ 0 h 1360956"/>
                <a:gd name="connsiteX2" fmla="*/ 163933 w 154654"/>
                <a:gd name="connsiteY2" fmla="*/ 1339305 h 1360956"/>
                <a:gd name="connsiteX3" fmla="*/ 0 w 154654"/>
                <a:gd name="connsiteY3" fmla="*/ 1364050 h 136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360956">
                  <a:moveTo>
                    <a:pt x="0" y="58768"/>
                  </a:moveTo>
                  <a:lnTo>
                    <a:pt x="163933" y="0"/>
                  </a:lnTo>
                  <a:lnTo>
                    <a:pt x="163933" y="1339305"/>
                  </a:lnTo>
                  <a:lnTo>
                    <a:pt x="0" y="136405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5" name="任意多边形: 形状 9924">
              <a:extLst>
                <a:ext uri="{FF2B5EF4-FFF2-40B4-BE49-F238E27FC236}">
                  <a16:creationId xmlns:a16="http://schemas.microsoft.com/office/drawing/2014/main" id="{B6084DD4-4E55-46E6-85F8-7966727C7DAE}"/>
                </a:ext>
              </a:extLst>
            </p:cNvPr>
            <p:cNvSpPr/>
            <p:nvPr/>
          </p:nvSpPr>
          <p:spPr>
            <a:xfrm>
              <a:off x="219608" y="676520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6" name="任意多边形: 形状 9925">
              <a:extLst>
                <a:ext uri="{FF2B5EF4-FFF2-40B4-BE49-F238E27FC236}">
                  <a16:creationId xmlns:a16="http://schemas.microsoft.com/office/drawing/2014/main" id="{9F472200-C111-4A78-9B03-ADD685F72019}"/>
                </a:ext>
              </a:extLst>
            </p:cNvPr>
            <p:cNvSpPr/>
            <p:nvPr/>
          </p:nvSpPr>
          <p:spPr>
            <a:xfrm>
              <a:off x="216407" y="676163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7" name="任意多边形: 形状 9926">
              <a:extLst>
                <a:ext uri="{FF2B5EF4-FFF2-40B4-BE49-F238E27FC236}">
                  <a16:creationId xmlns:a16="http://schemas.microsoft.com/office/drawing/2014/main" id="{9D6C0830-6477-4271-88E4-3D515DB40A48}"/>
                </a:ext>
              </a:extLst>
            </p:cNvPr>
            <p:cNvSpPr/>
            <p:nvPr/>
          </p:nvSpPr>
          <p:spPr>
            <a:xfrm>
              <a:off x="219608" y="670025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8" name="任意多边形: 形状 9927">
              <a:extLst>
                <a:ext uri="{FF2B5EF4-FFF2-40B4-BE49-F238E27FC236}">
                  <a16:creationId xmlns:a16="http://schemas.microsoft.com/office/drawing/2014/main" id="{D0C50801-6C39-430A-86E0-251403F4685B}"/>
                </a:ext>
              </a:extLst>
            </p:cNvPr>
            <p:cNvSpPr/>
            <p:nvPr/>
          </p:nvSpPr>
          <p:spPr>
            <a:xfrm>
              <a:off x="216010" y="6696740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9" name="任意多边形: 形状 9928">
              <a:extLst>
                <a:ext uri="{FF2B5EF4-FFF2-40B4-BE49-F238E27FC236}">
                  <a16:creationId xmlns:a16="http://schemas.microsoft.com/office/drawing/2014/main" id="{67830382-32AA-4CA5-8B8E-ED74A6640456}"/>
                </a:ext>
              </a:extLst>
            </p:cNvPr>
            <p:cNvSpPr/>
            <p:nvPr/>
          </p:nvSpPr>
          <p:spPr>
            <a:xfrm>
              <a:off x="219608" y="663839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0" name="任意多边形: 形状 9929">
              <a:extLst>
                <a:ext uri="{FF2B5EF4-FFF2-40B4-BE49-F238E27FC236}">
                  <a16:creationId xmlns:a16="http://schemas.microsoft.com/office/drawing/2014/main" id="{61FC98CE-B085-45B3-8900-55D50EC94BA7}"/>
                </a:ext>
              </a:extLst>
            </p:cNvPr>
            <p:cNvSpPr/>
            <p:nvPr/>
          </p:nvSpPr>
          <p:spPr>
            <a:xfrm>
              <a:off x="216626" y="6634773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1" name="任意多边形: 形状 9930">
              <a:extLst>
                <a:ext uri="{FF2B5EF4-FFF2-40B4-BE49-F238E27FC236}">
                  <a16:creationId xmlns:a16="http://schemas.microsoft.com/office/drawing/2014/main" id="{FFE86767-60F2-4D40-84FF-C3A098E5467D}"/>
                </a:ext>
              </a:extLst>
            </p:cNvPr>
            <p:cNvSpPr/>
            <p:nvPr/>
          </p:nvSpPr>
          <p:spPr>
            <a:xfrm>
              <a:off x="219608" y="6573436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2" name="任意多边形: 形状 9931">
              <a:extLst>
                <a:ext uri="{FF2B5EF4-FFF2-40B4-BE49-F238E27FC236}">
                  <a16:creationId xmlns:a16="http://schemas.microsoft.com/office/drawing/2014/main" id="{08F213DE-42C9-4E6B-BAC2-73EDCE4D9EED}"/>
                </a:ext>
              </a:extLst>
            </p:cNvPr>
            <p:cNvSpPr/>
            <p:nvPr/>
          </p:nvSpPr>
          <p:spPr>
            <a:xfrm>
              <a:off x="216226" y="656988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3" name="任意多边形: 形状 9932">
              <a:extLst>
                <a:ext uri="{FF2B5EF4-FFF2-40B4-BE49-F238E27FC236}">
                  <a16:creationId xmlns:a16="http://schemas.microsoft.com/office/drawing/2014/main" id="{E45A9164-8E8E-4A0B-8445-9592276A17E3}"/>
                </a:ext>
              </a:extLst>
            </p:cNvPr>
            <p:cNvSpPr/>
            <p:nvPr/>
          </p:nvSpPr>
          <p:spPr>
            <a:xfrm>
              <a:off x="219608" y="6511575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4" name="任意多边形: 形状 9933">
              <a:extLst>
                <a:ext uri="{FF2B5EF4-FFF2-40B4-BE49-F238E27FC236}">
                  <a16:creationId xmlns:a16="http://schemas.microsoft.com/office/drawing/2014/main" id="{645F177A-D249-4857-AEBB-123DA6D7355B}"/>
                </a:ext>
              </a:extLst>
            </p:cNvPr>
            <p:cNvSpPr/>
            <p:nvPr/>
          </p:nvSpPr>
          <p:spPr>
            <a:xfrm>
              <a:off x="216838" y="650791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5" name="任意多边形: 形状 9934">
              <a:extLst>
                <a:ext uri="{FF2B5EF4-FFF2-40B4-BE49-F238E27FC236}">
                  <a16:creationId xmlns:a16="http://schemas.microsoft.com/office/drawing/2014/main" id="{208FD811-75AA-47CB-8FDC-521C71EEBB30}"/>
                </a:ext>
              </a:extLst>
            </p:cNvPr>
            <p:cNvSpPr/>
            <p:nvPr/>
          </p:nvSpPr>
          <p:spPr>
            <a:xfrm>
              <a:off x="219608" y="644662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6" name="任意多边形: 形状 9935">
              <a:extLst>
                <a:ext uri="{FF2B5EF4-FFF2-40B4-BE49-F238E27FC236}">
                  <a16:creationId xmlns:a16="http://schemas.microsoft.com/office/drawing/2014/main" id="{95E5C299-1CC8-4A2E-92C3-62A2455B64D5}"/>
                </a:ext>
              </a:extLst>
            </p:cNvPr>
            <p:cNvSpPr/>
            <p:nvPr/>
          </p:nvSpPr>
          <p:spPr>
            <a:xfrm>
              <a:off x="216444" y="644302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7" name="任意多边形: 形状 9936">
              <a:extLst>
                <a:ext uri="{FF2B5EF4-FFF2-40B4-BE49-F238E27FC236}">
                  <a16:creationId xmlns:a16="http://schemas.microsoft.com/office/drawing/2014/main" id="{D496D12B-19BB-4361-BC98-3BAE56363AE6}"/>
                </a:ext>
              </a:extLst>
            </p:cNvPr>
            <p:cNvSpPr/>
            <p:nvPr/>
          </p:nvSpPr>
          <p:spPr>
            <a:xfrm>
              <a:off x="219608" y="638166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8" name="任意多边形: 形状 9937">
              <a:extLst>
                <a:ext uri="{FF2B5EF4-FFF2-40B4-BE49-F238E27FC236}">
                  <a16:creationId xmlns:a16="http://schemas.microsoft.com/office/drawing/2014/main" id="{25399C4D-B577-41DA-B5E5-6661BFA9EDD3}"/>
                </a:ext>
              </a:extLst>
            </p:cNvPr>
            <p:cNvSpPr/>
            <p:nvPr/>
          </p:nvSpPr>
          <p:spPr>
            <a:xfrm>
              <a:off x="215921" y="6377980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9" name="任意多边形: 形状 9938">
              <a:extLst>
                <a:ext uri="{FF2B5EF4-FFF2-40B4-BE49-F238E27FC236}">
                  <a16:creationId xmlns:a16="http://schemas.microsoft.com/office/drawing/2014/main" id="{393DD478-4CB5-49D5-A3A5-C9A7F41746A9}"/>
                </a:ext>
              </a:extLst>
            </p:cNvPr>
            <p:cNvSpPr/>
            <p:nvPr/>
          </p:nvSpPr>
          <p:spPr>
            <a:xfrm>
              <a:off x="219608" y="631980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0" name="任意多边形: 形状 9939">
              <a:extLst>
                <a:ext uri="{FF2B5EF4-FFF2-40B4-BE49-F238E27FC236}">
                  <a16:creationId xmlns:a16="http://schemas.microsoft.com/office/drawing/2014/main" id="{45C21955-8757-439D-A7D9-F2EA12E98571}"/>
                </a:ext>
              </a:extLst>
            </p:cNvPr>
            <p:cNvSpPr/>
            <p:nvPr/>
          </p:nvSpPr>
          <p:spPr>
            <a:xfrm>
              <a:off x="216657" y="631617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1" name="任意多边形: 形状 9940">
              <a:extLst>
                <a:ext uri="{FF2B5EF4-FFF2-40B4-BE49-F238E27FC236}">
                  <a16:creationId xmlns:a16="http://schemas.microsoft.com/office/drawing/2014/main" id="{E00D0E66-8B4A-41F3-B8A4-2E0FDFF65EEC}"/>
                </a:ext>
              </a:extLst>
            </p:cNvPr>
            <p:cNvSpPr/>
            <p:nvPr/>
          </p:nvSpPr>
          <p:spPr>
            <a:xfrm>
              <a:off x="219608" y="625484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2" name="任意多边形: 形状 9941">
              <a:extLst>
                <a:ext uri="{FF2B5EF4-FFF2-40B4-BE49-F238E27FC236}">
                  <a16:creationId xmlns:a16="http://schemas.microsoft.com/office/drawing/2014/main" id="{6692C628-7512-45DA-B060-FC331B54103D}"/>
                </a:ext>
              </a:extLst>
            </p:cNvPr>
            <p:cNvSpPr/>
            <p:nvPr/>
          </p:nvSpPr>
          <p:spPr>
            <a:xfrm>
              <a:off x="216263" y="625128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3" name="任意多边形: 形状 9942">
              <a:extLst>
                <a:ext uri="{FF2B5EF4-FFF2-40B4-BE49-F238E27FC236}">
                  <a16:creationId xmlns:a16="http://schemas.microsoft.com/office/drawing/2014/main" id="{29A2AE9C-C7C5-4394-960C-9A513D45744D}"/>
                </a:ext>
              </a:extLst>
            </p:cNvPr>
            <p:cNvSpPr/>
            <p:nvPr/>
          </p:nvSpPr>
          <p:spPr>
            <a:xfrm>
              <a:off x="219608" y="619298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4" name="任意多边形: 形状 9943">
              <a:extLst>
                <a:ext uri="{FF2B5EF4-FFF2-40B4-BE49-F238E27FC236}">
                  <a16:creationId xmlns:a16="http://schemas.microsoft.com/office/drawing/2014/main" id="{27C83F06-A83F-4EC6-A4AF-A7B18A0AF8A1}"/>
                </a:ext>
              </a:extLst>
            </p:cNvPr>
            <p:cNvSpPr/>
            <p:nvPr/>
          </p:nvSpPr>
          <p:spPr>
            <a:xfrm>
              <a:off x="215866" y="6186389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5" name="任意多边形: 形状 9944">
              <a:extLst>
                <a:ext uri="{FF2B5EF4-FFF2-40B4-BE49-F238E27FC236}">
                  <a16:creationId xmlns:a16="http://schemas.microsoft.com/office/drawing/2014/main" id="{ADCA720F-9AB6-494A-B617-683BE8994FD7}"/>
                </a:ext>
              </a:extLst>
            </p:cNvPr>
            <p:cNvSpPr/>
            <p:nvPr/>
          </p:nvSpPr>
          <p:spPr>
            <a:xfrm>
              <a:off x="219608" y="612803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6" name="任意多边形: 形状 9945">
              <a:extLst>
                <a:ext uri="{FF2B5EF4-FFF2-40B4-BE49-F238E27FC236}">
                  <a16:creationId xmlns:a16="http://schemas.microsoft.com/office/drawing/2014/main" id="{5061CD06-D687-4CCD-819C-6409FC6C12E5}"/>
                </a:ext>
              </a:extLst>
            </p:cNvPr>
            <p:cNvSpPr/>
            <p:nvPr/>
          </p:nvSpPr>
          <p:spPr>
            <a:xfrm>
              <a:off x="216363" y="6124280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7" name="任意多边形: 形状 9946">
              <a:extLst>
                <a:ext uri="{FF2B5EF4-FFF2-40B4-BE49-F238E27FC236}">
                  <a16:creationId xmlns:a16="http://schemas.microsoft.com/office/drawing/2014/main" id="{A3323F13-4A30-4460-8ACF-B96FA44A5374}"/>
                </a:ext>
              </a:extLst>
            </p:cNvPr>
            <p:cNvSpPr/>
            <p:nvPr/>
          </p:nvSpPr>
          <p:spPr>
            <a:xfrm>
              <a:off x="219608" y="6063078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8" name="任意多边形: 形状 9947">
              <a:extLst>
                <a:ext uri="{FF2B5EF4-FFF2-40B4-BE49-F238E27FC236}">
                  <a16:creationId xmlns:a16="http://schemas.microsoft.com/office/drawing/2014/main" id="{B3B405E6-A74E-41FC-9552-59F8A3CDBD1F}"/>
                </a:ext>
              </a:extLst>
            </p:cNvPr>
            <p:cNvSpPr/>
            <p:nvPr/>
          </p:nvSpPr>
          <p:spPr>
            <a:xfrm>
              <a:off x="216085" y="605953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49" name="任意多边形: 形状 9948">
              <a:extLst>
                <a:ext uri="{FF2B5EF4-FFF2-40B4-BE49-F238E27FC236}">
                  <a16:creationId xmlns:a16="http://schemas.microsoft.com/office/drawing/2014/main" id="{96C244F6-B838-4DE6-B449-D8B0BDED6A39}"/>
                </a:ext>
              </a:extLst>
            </p:cNvPr>
            <p:cNvSpPr/>
            <p:nvPr/>
          </p:nvSpPr>
          <p:spPr>
            <a:xfrm>
              <a:off x="219608" y="6001216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0" name="任意多边形: 形状 9949">
              <a:extLst>
                <a:ext uri="{FF2B5EF4-FFF2-40B4-BE49-F238E27FC236}">
                  <a16:creationId xmlns:a16="http://schemas.microsoft.com/office/drawing/2014/main" id="{E9C97621-1056-4D8E-A71C-5761956D37CB}"/>
                </a:ext>
              </a:extLst>
            </p:cNvPr>
            <p:cNvSpPr/>
            <p:nvPr/>
          </p:nvSpPr>
          <p:spPr>
            <a:xfrm>
              <a:off x="216694" y="599756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1" name="任意多边形: 形状 9950">
              <a:extLst>
                <a:ext uri="{FF2B5EF4-FFF2-40B4-BE49-F238E27FC236}">
                  <a16:creationId xmlns:a16="http://schemas.microsoft.com/office/drawing/2014/main" id="{5DD88B00-F21B-495B-977A-20CBA6434C89}"/>
                </a:ext>
              </a:extLst>
            </p:cNvPr>
            <p:cNvSpPr/>
            <p:nvPr/>
          </p:nvSpPr>
          <p:spPr>
            <a:xfrm>
              <a:off x="219608" y="593626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2" name="任意多边形: 形状 9951">
              <a:extLst>
                <a:ext uri="{FF2B5EF4-FFF2-40B4-BE49-F238E27FC236}">
                  <a16:creationId xmlns:a16="http://schemas.microsoft.com/office/drawing/2014/main" id="{6A975092-C68A-4B9C-810E-3428972FF3B2}"/>
                </a:ext>
              </a:extLst>
            </p:cNvPr>
            <p:cNvSpPr/>
            <p:nvPr/>
          </p:nvSpPr>
          <p:spPr>
            <a:xfrm>
              <a:off x="216300" y="593267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3" name="任意多边形: 形状 9952">
              <a:extLst>
                <a:ext uri="{FF2B5EF4-FFF2-40B4-BE49-F238E27FC236}">
                  <a16:creationId xmlns:a16="http://schemas.microsoft.com/office/drawing/2014/main" id="{4175CB46-0AAF-43D5-97F8-95EFB56B8F9C}"/>
                </a:ext>
              </a:extLst>
            </p:cNvPr>
            <p:cNvSpPr/>
            <p:nvPr/>
          </p:nvSpPr>
          <p:spPr>
            <a:xfrm>
              <a:off x="219608" y="587439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4" name="任意多边形: 形状 9953">
              <a:extLst>
                <a:ext uri="{FF2B5EF4-FFF2-40B4-BE49-F238E27FC236}">
                  <a16:creationId xmlns:a16="http://schemas.microsoft.com/office/drawing/2014/main" id="{4A21EBA3-8885-406F-BC12-A2DB51777941}"/>
                </a:ext>
              </a:extLst>
            </p:cNvPr>
            <p:cNvSpPr/>
            <p:nvPr/>
          </p:nvSpPr>
          <p:spPr>
            <a:xfrm>
              <a:off x="215796" y="5867657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5" name="任意多边形: 形状 9954">
              <a:extLst>
                <a:ext uri="{FF2B5EF4-FFF2-40B4-BE49-F238E27FC236}">
                  <a16:creationId xmlns:a16="http://schemas.microsoft.com/office/drawing/2014/main" id="{87BF194F-DC56-4C47-9AB0-599AC06E9DA2}"/>
                </a:ext>
              </a:extLst>
            </p:cNvPr>
            <p:cNvSpPr/>
            <p:nvPr/>
          </p:nvSpPr>
          <p:spPr>
            <a:xfrm>
              <a:off x="219608" y="580944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6" name="任意多边形: 形状 9955">
              <a:extLst>
                <a:ext uri="{FF2B5EF4-FFF2-40B4-BE49-F238E27FC236}">
                  <a16:creationId xmlns:a16="http://schemas.microsoft.com/office/drawing/2014/main" id="{534A3D78-5C2A-4D59-856A-0BD4F5458F3F}"/>
                </a:ext>
              </a:extLst>
            </p:cNvPr>
            <p:cNvSpPr/>
            <p:nvPr/>
          </p:nvSpPr>
          <p:spPr>
            <a:xfrm>
              <a:off x="216516" y="5805816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7" name="任意多边形: 形状 9956">
              <a:extLst>
                <a:ext uri="{FF2B5EF4-FFF2-40B4-BE49-F238E27FC236}">
                  <a16:creationId xmlns:a16="http://schemas.microsoft.com/office/drawing/2014/main" id="{5D6373A5-A45B-4FF1-B049-5CFCDBB61DE5}"/>
                </a:ext>
              </a:extLst>
            </p:cNvPr>
            <p:cNvSpPr/>
            <p:nvPr/>
          </p:nvSpPr>
          <p:spPr>
            <a:xfrm>
              <a:off x="219608" y="574449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8" name="任意多边形: 形状 9957">
              <a:extLst>
                <a:ext uri="{FF2B5EF4-FFF2-40B4-BE49-F238E27FC236}">
                  <a16:creationId xmlns:a16="http://schemas.microsoft.com/office/drawing/2014/main" id="{1D3B81C3-640B-48E1-B969-D56BDBD05589}"/>
                </a:ext>
              </a:extLst>
            </p:cNvPr>
            <p:cNvSpPr/>
            <p:nvPr/>
          </p:nvSpPr>
          <p:spPr>
            <a:xfrm>
              <a:off x="216119" y="574092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59" name="任意多边形: 形状 9958">
              <a:extLst>
                <a:ext uri="{FF2B5EF4-FFF2-40B4-BE49-F238E27FC236}">
                  <a16:creationId xmlns:a16="http://schemas.microsoft.com/office/drawing/2014/main" id="{4C68F81B-3104-479C-B202-F0D136125520}"/>
                </a:ext>
              </a:extLst>
            </p:cNvPr>
            <p:cNvSpPr/>
            <p:nvPr/>
          </p:nvSpPr>
          <p:spPr>
            <a:xfrm>
              <a:off x="219608" y="568262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0" name="任意多边形: 形状 9959">
              <a:extLst>
                <a:ext uri="{FF2B5EF4-FFF2-40B4-BE49-F238E27FC236}">
                  <a16:creationId xmlns:a16="http://schemas.microsoft.com/office/drawing/2014/main" id="{29C202B8-1DB9-42C3-A371-FEF99ED2C6CE}"/>
                </a:ext>
              </a:extLst>
            </p:cNvPr>
            <p:cNvSpPr/>
            <p:nvPr/>
          </p:nvSpPr>
          <p:spPr>
            <a:xfrm>
              <a:off x="216732" y="567896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1" name="任意多边形: 形状 9960">
              <a:extLst>
                <a:ext uri="{FF2B5EF4-FFF2-40B4-BE49-F238E27FC236}">
                  <a16:creationId xmlns:a16="http://schemas.microsoft.com/office/drawing/2014/main" id="{FB79BEBF-EECF-41E9-9D7F-D6D2D4B36D8C}"/>
                </a:ext>
              </a:extLst>
            </p:cNvPr>
            <p:cNvSpPr/>
            <p:nvPr/>
          </p:nvSpPr>
          <p:spPr>
            <a:xfrm>
              <a:off x="219608" y="561767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2" name="任意多边形: 形状 9961">
              <a:extLst>
                <a:ext uri="{FF2B5EF4-FFF2-40B4-BE49-F238E27FC236}">
                  <a16:creationId xmlns:a16="http://schemas.microsoft.com/office/drawing/2014/main" id="{776CE05F-CB42-40A3-8DFC-B78171EE1EBA}"/>
                </a:ext>
              </a:extLst>
            </p:cNvPr>
            <p:cNvSpPr/>
            <p:nvPr/>
          </p:nvSpPr>
          <p:spPr>
            <a:xfrm>
              <a:off x="216335" y="5614071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3" name="任意多边形: 形状 9962">
              <a:extLst>
                <a:ext uri="{FF2B5EF4-FFF2-40B4-BE49-F238E27FC236}">
                  <a16:creationId xmlns:a16="http://schemas.microsoft.com/office/drawing/2014/main" id="{39AE3A5A-D177-4C7A-A912-F2EDDFC60167}"/>
                </a:ext>
              </a:extLst>
            </p:cNvPr>
            <p:cNvSpPr/>
            <p:nvPr/>
          </p:nvSpPr>
          <p:spPr>
            <a:xfrm>
              <a:off x="219608" y="555581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4" name="任意多边形: 形状 9963">
              <a:extLst>
                <a:ext uri="{FF2B5EF4-FFF2-40B4-BE49-F238E27FC236}">
                  <a16:creationId xmlns:a16="http://schemas.microsoft.com/office/drawing/2014/main" id="{C7CA9E12-BFB8-4C9E-900F-A508BB050C97}"/>
                </a:ext>
              </a:extLst>
            </p:cNvPr>
            <p:cNvSpPr/>
            <p:nvPr/>
          </p:nvSpPr>
          <p:spPr>
            <a:xfrm>
              <a:off x="215941" y="554918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5" name="任意多边形: 形状 9964">
              <a:extLst>
                <a:ext uri="{FF2B5EF4-FFF2-40B4-BE49-F238E27FC236}">
                  <a16:creationId xmlns:a16="http://schemas.microsoft.com/office/drawing/2014/main" id="{A880B349-C430-4EC9-A9FE-4E2B2EC1927C}"/>
                </a:ext>
              </a:extLst>
            </p:cNvPr>
            <p:cNvSpPr/>
            <p:nvPr/>
          </p:nvSpPr>
          <p:spPr>
            <a:xfrm>
              <a:off x="383541" y="5490857"/>
              <a:ext cx="247447" cy="1330026"/>
            </a:xfrm>
            <a:custGeom>
              <a:avLst/>
              <a:gdLst>
                <a:gd name="connsiteX0" fmla="*/ 0 w 247446"/>
                <a:gd name="connsiteY0" fmla="*/ 0 h 1330025"/>
                <a:gd name="connsiteX1" fmla="*/ 259819 w 247446"/>
                <a:gd name="connsiteY1" fmla="*/ 0 h 1330025"/>
                <a:gd name="connsiteX2" fmla="*/ 259819 w 247446"/>
                <a:gd name="connsiteY2" fmla="*/ 1339305 h 1330025"/>
                <a:gd name="connsiteX3" fmla="*/ 0 w 247446"/>
                <a:gd name="connsiteY3" fmla="*/ 1339305 h 133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1330025">
                  <a:moveTo>
                    <a:pt x="0" y="0"/>
                  </a:moveTo>
                  <a:lnTo>
                    <a:pt x="259819" y="0"/>
                  </a:lnTo>
                  <a:lnTo>
                    <a:pt x="259819" y="1339305"/>
                  </a:lnTo>
                  <a:lnTo>
                    <a:pt x="0" y="1339305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6" name="任意多边形: 形状 9965">
              <a:extLst>
                <a:ext uri="{FF2B5EF4-FFF2-40B4-BE49-F238E27FC236}">
                  <a16:creationId xmlns:a16="http://schemas.microsoft.com/office/drawing/2014/main" id="{31A229C6-B85B-4EBA-A014-96C1683162D1}"/>
                </a:ext>
              </a:extLst>
            </p:cNvPr>
            <p:cNvSpPr/>
            <p:nvPr/>
          </p:nvSpPr>
          <p:spPr>
            <a:xfrm>
              <a:off x="383541" y="676830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7" name="任意多边形: 形状 9966">
              <a:extLst>
                <a:ext uri="{FF2B5EF4-FFF2-40B4-BE49-F238E27FC236}">
                  <a16:creationId xmlns:a16="http://schemas.microsoft.com/office/drawing/2014/main" id="{29E017AD-0FCF-4EC6-9724-CBDDB864C819}"/>
                </a:ext>
              </a:extLst>
            </p:cNvPr>
            <p:cNvSpPr/>
            <p:nvPr/>
          </p:nvSpPr>
          <p:spPr>
            <a:xfrm>
              <a:off x="383541" y="676211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8" name="任意多边形: 形状 9967">
              <a:extLst>
                <a:ext uri="{FF2B5EF4-FFF2-40B4-BE49-F238E27FC236}">
                  <a16:creationId xmlns:a16="http://schemas.microsoft.com/office/drawing/2014/main" id="{ED87EA38-BB24-40F7-9270-E84C77D00906}"/>
                </a:ext>
              </a:extLst>
            </p:cNvPr>
            <p:cNvSpPr/>
            <p:nvPr/>
          </p:nvSpPr>
          <p:spPr>
            <a:xfrm>
              <a:off x="383541" y="67033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69" name="任意多边形: 形状 9968">
              <a:extLst>
                <a:ext uri="{FF2B5EF4-FFF2-40B4-BE49-F238E27FC236}">
                  <a16:creationId xmlns:a16="http://schemas.microsoft.com/office/drawing/2014/main" id="{033E414F-63BA-42D2-A29F-1C1977E88B50}"/>
                </a:ext>
              </a:extLst>
            </p:cNvPr>
            <p:cNvSpPr/>
            <p:nvPr/>
          </p:nvSpPr>
          <p:spPr>
            <a:xfrm>
              <a:off x="383541" y="669716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0" name="任意多边形: 形状 9969">
              <a:extLst>
                <a:ext uri="{FF2B5EF4-FFF2-40B4-BE49-F238E27FC236}">
                  <a16:creationId xmlns:a16="http://schemas.microsoft.com/office/drawing/2014/main" id="{84BA53E4-F28E-421F-9590-C38596AAE921}"/>
                </a:ext>
              </a:extLst>
            </p:cNvPr>
            <p:cNvSpPr/>
            <p:nvPr/>
          </p:nvSpPr>
          <p:spPr>
            <a:xfrm>
              <a:off x="383541" y="66383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1" name="任意多边形: 形状 9970">
              <a:extLst>
                <a:ext uri="{FF2B5EF4-FFF2-40B4-BE49-F238E27FC236}">
                  <a16:creationId xmlns:a16="http://schemas.microsoft.com/office/drawing/2014/main" id="{D5923B6B-9B44-4138-8C19-63EAC8B02917}"/>
                </a:ext>
              </a:extLst>
            </p:cNvPr>
            <p:cNvSpPr/>
            <p:nvPr/>
          </p:nvSpPr>
          <p:spPr>
            <a:xfrm>
              <a:off x="383541" y="663220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2" name="任意多边形: 形状 9971">
              <a:extLst>
                <a:ext uri="{FF2B5EF4-FFF2-40B4-BE49-F238E27FC236}">
                  <a16:creationId xmlns:a16="http://schemas.microsoft.com/office/drawing/2014/main" id="{DBC1F3EE-DB56-49BD-883C-08D1DA44698D}"/>
                </a:ext>
              </a:extLst>
            </p:cNvPr>
            <p:cNvSpPr/>
            <p:nvPr/>
          </p:nvSpPr>
          <p:spPr>
            <a:xfrm>
              <a:off x="383541" y="657652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3" name="任意多边形: 形状 9972">
              <a:extLst>
                <a:ext uri="{FF2B5EF4-FFF2-40B4-BE49-F238E27FC236}">
                  <a16:creationId xmlns:a16="http://schemas.microsoft.com/office/drawing/2014/main" id="{F5CF39F8-0032-41D1-93CA-DAFBB1DF80AC}"/>
                </a:ext>
              </a:extLst>
            </p:cNvPr>
            <p:cNvSpPr/>
            <p:nvPr/>
          </p:nvSpPr>
          <p:spPr>
            <a:xfrm>
              <a:off x="383541" y="65703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4" name="任意多边形: 形状 9973">
              <a:extLst>
                <a:ext uri="{FF2B5EF4-FFF2-40B4-BE49-F238E27FC236}">
                  <a16:creationId xmlns:a16="http://schemas.microsoft.com/office/drawing/2014/main" id="{7C3205E1-0F99-472A-9911-03E5C1BBF572}"/>
                </a:ext>
              </a:extLst>
            </p:cNvPr>
            <p:cNvSpPr/>
            <p:nvPr/>
          </p:nvSpPr>
          <p:spPr>
            <a:xfrm>
              <a:off x="383541" y="65115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5" name="任意多边形: 形状 9974">
              <a:extLst>
                <a:ext uri="{FF2B5EF4-FFF2-40B4-BE49-F238E27FC236}">
                  <a16:creationId xmlns:a16="http://schemas.microsoft.com/office/drawing/2014/main" id="{EFDC1F57-A2E9-4082-B051-21F468B0790E}"/>
                </a:ext>
              </a:extLst>
            </p:cNvPr>
            <p:cNvSpPr/>
            <p:nvPr/>
          </p:nvSpPr>
          <p:spPr>
            <a:xfrm>
              <a:off x="383541" y="65053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6" name="任意多边形: 形状 9975">
              <a:extLst>
                <a:ext uri="{FF2B5EF4-FFF2-40B4-BE49-F238E27FC236}">
                  <a16:creationId xmlns:a16="http://schemas.microsoft.com/office/drawing/2014/main" id="{1BF7DB5C-0320-4E64-A43F-1136420B4999}"/>
                </a:ext>
              </a:extLst>
            </p:cNvPr>
            <p:cNvSpPr/>
            <p:nvPr/>
          </p:nvSpPr>
          <p:spPr>
            <a:xfrm>
              <a:off x="383541" y="644662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7" name="任意多边形: 形状 9976">
              <a:extLst>
                <a:ext uri="{FF2B5EF4-FFF2-40B4-BE49-F238E27FC236}">
                  <a16:creationId xmlns:a16="http://schemas.microsoft.com/office/drawing/2014/main" id="{656BA7C3-AD85-4AC6-8909-99B97C78F8BA}"/>
                </a:ext>
              </a:extLst>
            </p:cNvPr>
            <p:cNvSpPr/>
            <p:nvPr/>
          </p:nvSpPr>
          <p:spPr>
            <a:xfrm>
              <a:off x="383541" y="644352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8" name="任意多边形: 形状 9977">
              <a:extLst>
                <a:ext uri="{FF2B5EF4-FFF2-40B4-BE49-F238E27FC236}">
                  <a16:creationId xmlns:a16="http://schemas.microsoft.com/office/drawing/2014/main" id="{9AA7BCF1-0BF9-4052-9742-762277E4CC37}"/>
                </a:ext>
              </a:extLst>
            </p:cNvPr>
            <p:cNvSpPr/>
            <p:nvPr/>
          </p:nvSpPr>
          <p:spPr>
            <a:xfrm>
              <a:off x="383541" y="638475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79" name="任意多边形: 形状 9978">
              <a:extLst>
                <a:ext uri="{FF2B5EF4-FFF2-40B4-BE49-F238E27FC236}">
                  <a16:creationId xmlns:a16="http://schemas.microsoft.com/office/drawing/2014/main" id="{87A319E7-20C6-4383-BFFD-9383AD8DE33D}"/>
                </a:ext>
              </a:extLst>
            </p:cNvPr>
            <p:cNvSpPr/>
            <p:nvPr/>
          </p:nvSpPr>
          <p:spPr>
            <a:xfrm>
              <a:off x="383541" y="637857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0" name="任意多边形: 形状 9979">
              <a:extLst>
                <a:ext uri="{FF2B5EF4-FFF2-40B4-BE49-F238E27FC236}">
                  <a16:creationId xmlns:a16="http://schemas.microsoft.com/office/drawing/2014/main" id="{167D4FE2-E60B-437B-87F0-FDAB14871A92}"/>
                </a:ext>
              </a:extLst>
            </p:cNvPr>
            <p:cNvSpPr/>
            <p:nvPr/>
          </p:nvSpPr>
          <p:spPr>
            <a:xfrm>
              <a:off x="383541" y="63198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1" name="任意多边形: 形状 9980">
              <a:extLst>
                <a:ext uri="{FF2B5EF4-FFF2-40B4-BE49-F238E27FC236}">
                  <a16:creationId xmlns:a16="http://schemas.microsoft.com/office/drawing/2014/main" id="{E40EC4BC-2FC4-4D48-B0D4-87605D3D8081}"/>
                </a:ext>
              </a:extLst>
            </p:cNvPr>
            <p:cNvSpPr/>
            <p:nvPr/>
          </p:nvSpPr>
          <p:spPr>
            <a:xfrm>
              <a:off x="383541" y="631361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2" name="任意多边形: 形状 9981">
              <a:extLst>
                <a:ext uri="{FF2B5EF4-FFF2-40B4-BE49-F238E27FC236}">
                  <a16:creationId xmlns:a16="http://schemas.microsoft.com/office/drawing/2014/main" id="{F1EA2660-A8B3-40C5-B124-47C31DD400C3}"/>
                </a:ext>
              </a:extLst>
            </p:cNvPr>
            <p:cNvSpPr/>
            <p:nvPr/>
          </p:nvSpPr>
          <p:spPr>
            <a:xfrm>
              <a:off x="383541" y="62579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3" name="任意多边形: 形状 9982">
              <a:extLst>
                <a:ext uri="{FF2B5EF4-FFF2-40B4-BE49-F238E27FC236}">
                  <a16:creationId xmlns:a16="http://schemas.microsoft.com/office/drawing/2014/main" id="{7E090371-8A9D-4781-A4CD-1F5A818EFB49}"/>
                </a:ext>
              </a:extLst>
            </p:cNvPr>
            <p:cNvSpPr/>
            <p:nvPr/>
          </p:nvSpPr>
          <p:spPr>
            <a:xfrm>
              <a:off x="383541" y="625175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4" name="任意多边形: 形状 9983">
              <a:extLst>
                <a:ext uri="{FF2B5EF4-FFF2-40B4-BE49-F238E27FC236}">
                  <a16:creationId xmlns:a16="http://schemas.microsoft.com/office/drawing/2014/main" id="{D95C35DA-E1F5-4D4F-B02E-EDBC96AC7E4B}"/>
                </a:ext>
              </a:extLst>
            </p:cNvPr>
            <p:cNvSpPr/>
            <p:nvPr/>
          </p:nvSpPr>
          <p:spPr>
            <a:xfrm>
              <a:off x="383541" y="61929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5" name="任意多边形: 形状 9984">
              <a:extLst>
                <a:ext uri="{FF2B5EF4-FFF2-40B4-BE49-F238E27FC236}">
                  <a16:creationId xmlns:a16="http://schemas.microsoft.com/office/drawing/2014/main" id="{4AADDB9F-C037-4FBA-8CA9-2DC58C7DDB11}"/>
                </a:ext>
              </a:extLst>
            </p:cNvPr>
            <p:cNvSpPr/>
            <p:nvPr/>
          </p:nvSpPr>
          <p:spPr>
            <a:xfrm>
              <a:off x="383541" y="618680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6" name="任意多边形: 形状 9985">
              <a:extLst>
                <a:ext uri="{FF2B5EF4-FFF2-40B4-BE49-F238E27FC236}">
                  <a16:creationId xmlns:a16="http://schemas.microsoft.com/office/drawing/2014/main" id="{1497558E-C833-471B-82C6-F818B1E55D70}"/>
                </a:ext>
              </a:extLst>
            </p:cNvPr>
            <p:cNvSpPr/>
            <p:nvPr/>
          </p:nvSpPr>
          <p:spPr>
            <a:xfrm>
              <a:off x="383541" y="61280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7" name="任意多边形: 形状 9986">
              <a:extLst>
                <a:ext uri="{FF2B5EF4-FFF2-40B4-BE49-F238E27FC236}">
                  <a16:creationId xmlns:a16="http://schemas.microsoft.com/office/drawing/2014/main" id="{4C2AEBE4-1FEE-4AD5-8091-8AAF370A8D09}"/>
                </a:ext>
              </a:extLst>
            </p:cNvPr>
            <p:cNvSpPr/>
            <p:nvPr/>
          </p:nvSpPr>
          <p:spPr>
            <a:xfrm>
              <a:off x="383541" y="612493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8" name="任意多边形: 形状 9987">
              <a:extLst>
                <a:ext uri="{FF2B5EF4-FFF2-40B4-BE49-F238E27FC236}">
                  <a16:creationId xmlns:a16="http://schemas.microsoft.com/office/drawing/2014/main" id="{9A8C44B4-5371-4C3F-8AEC-D77CCFA2D59F}"/>
                </a:ext>
              </a:extLst>
            </p:cNvPr>
            <p:cNvSpPr/>
            <p:nvPr/>
          </p:nvSpPr>
          <p:spPr>
            <a:xfrm>
              <a:off x="383541" y="606617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89" name="任意多边形: 形状 9988">
              <a:extLst>
                <a:ext uri="{FF2B5EF4-FFF2-40B4-BE49-F238E27FC236}">
                  <a16:creationId xmlns:a16="http://schemas.microsoft.com/office/drawing/2014/main" id="{9FF3A3BD-23C5-4F69-9F33-BA574801D79B}"/>
                </a:ext>
              </a:extLst>
            </p:cNvPr>
            <p:cNvSpPr/>
            <p:nvPr/>
          </p:nvSpPr>
          <p:spPr>
            <a:xfrm>
              <a:off x="383541" y="605998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0" name="任意多边形: 形状 9989">
              <a:extLst>
                <a:ext uri="{FF2B5EF4-FFF2-40B4-BE49-F238E27FC236}">
                  <a16:creationId xmlns:a16="http://schemas.microsoft.com/office/drawing/2014/main" id="{D07AE67A-893E-4B03-8F55-62EC2B864F72}"/>
                </a:ext>
              </a:extLst>
            </p:cNvPr>
            <p:cNvSpPr/>
            <p:nvPr/>
          </p:nvSpPr>
          <p:spPr>
            <a:xfrm>
              <a:off x="383541" y="600121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1" name="任意多边形: 形状 9990">
              <a:extLst>
                <a:ext uri="{FF2B5EF4-FFF2-40B4-BE49-F238E27FC236}">
                  <a16:creationId xmlns:a16="http://schemas.microsoft.com/office/drawing/2014/main" id="{F84C2A72-17EB-4D44-85CF-7B6ACD260FF5}"/>
                </a:ext>
              </a:extLst>
            </p:cNvPr>
            <p:cNvSpPr/>
            <p:nvPr/>
          </p:nvSpPr>
          <p:spPr>
            <a:xfrm>
              <a:off x="383541" y="599503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2" name="任意多边形: 形状 9991">
              <a:extLst>
                <a:ext uri="{FF2B5EF4-FFF2-40B4-BE49-F238E27FC236}">
                  <a16:creationId xmlns:a16="http://schemas.microsoft.com/office/drawing/2014/main" id="{BD912B9C-75C1-426C-A081-679886997470}"/>
                </a:ext>
              </a:extLst>
            </p:cNvPr>
            <p:cNvSpPr/>
            <p:nvPr/>
          </p:nvSpPr>
          <p:spPr>
            <a:xfrm>
              <a:off x="383541" y="593935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3" name="任意多边形: 形状 9992">
              <a:extLst>
                <a:ext uri="{FF2B5EF4-FFF2-40B4-BE49-F238E27FC236}">
                  <a16:creationId xmlns:a16="http://schemas.microsoft.com/office/drawing/2014/main" id="{5DF6A23C-858B-40F4-AD07-8D0DF3F83C26}"/>
                </a:ext>
              </a:extLst>
            </p:cNvPr>
            <p:cNvSpPr/>
            <p:nvPr/>
          </p:nvSpPr>
          <p:spPr>
            <a:xfrm>
              <a:off x="383541" y="593316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4" name="任意多边形: 形状 9993">
              <a:extLst>
                <a:ext uri="{FF2B5EF4-FFF2-40B4-BE49-F238E27FC236}">
                  <a16:creationId xmlns:a16="http://schemas.microsoft.com/office/drawing/2014/main" id="{638B5D9B-AD87-4ED1-A25A-20CA620387E5}"/>
                </a:ext>
              </a:extLst>
            </p:cNvPr>
            <p:cNvSpPr/>
            <p:nvPr/>
          </p:nvSpPr>
          <p:spPr>
            <a:xfrm>
              <a:off x="383541" y="58743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5" name="任意多边形: 形状 9994">
              <a:extLst>
                <a:ext uri="{FF2B5EF4-FFF2-40B4-BE49-F238E27FC236}">
                  <a16:creationId xmlns:a16="http://schemas.microsoft.com/office/drawing/2014/main" id="{51B4CE86-E54F-4933-9179-8B0AB6684A55}"/>
                </a:ext>
              </a:extLst>
            </p:cNvPr>
            <p:cNvSpPr/>
            <p:nvPr/>
          </p:nvSpPr>
          <p:spPr>
            <a:xfrm>
              <a:off x="383541" y="586821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6" name="任意多边形: 形状 9995">
              <a:extLst>
                <a:ext uri="{FF2B5EF4-FFF2-40B4-BE49-F238E27FC236}">
                  <a16:creationId xmlns:a16="http://schemas.microsoft.com/office/drawing/2014/main" id="{BEA30855-FE0D-4CFE-9A70-BBB8291942CD}"/>
                </a:ext>
              </a:extLst>
            </p:cNvPr>
            <p:cNvSpPr/>
            <p:nvPr/>
          </p:nvSpPr>
          <p:spPr>
            <a:xfrm>
              <a:off x="383541" y="580944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7" name="任意多边形: 形状 9996">
              <a:extLst>
                <a:ext uri="{FF2B5EF4-FFF2-40B4-BE49-F238E27FC236}">
                  <a16:creationId xmlns:a16="http://schemas.microsoft.com/office/drawing/2014/main" id="{64763DA8-67D6-4A60-83EB-EDD2028510A1}"/>
                </a:ext>
              </a:extLst>
            </p:cNvPr>
            <p:cNvSpPr/>
            <p:nvPr/>
          </p:nvSpPr>
          <p:spPr>
            <a:xfrm>
              <a:off x="383541" y="580635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8" name="任意多边形: 形状 9997">
              <a:extLst>
                <a:ext uri="{FF2B5EF4-FFF2-40B4-BE49-F238E27FC236}">
                  <a16:creationId xmlns:a16="http://schemas.microsoft.com/office/drawing/2014/main" id="{57EE80EB-F385-43FD-A451-5B34E38D85CB}"/>
                </a:ext>
              </a:extLst>
            </p:cNvPr>
            <p:cNvSpPr/>
            <p:nvPr/>
          </p:nvSpPr>
          <p:spPr>
            <a:xfrm>
              <a:off x="383541" y="574758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99" name="任意多边形: 形状 9998">
              <a:extLst>
                <a:ext uri="{FF2B5EF4-FFF2-40B4-BE49-F238E27FC236}">
                  <a16:creationId xmlns:a16="http://schemas.microsoft.com/office/drawing/2014/main" id="{89BDF5B7-FBEE-4880-9F44-033EA5557796}"/>
                </a:ext>
              </a:extLst>
            </p:cNvPr>
            <p:cNvSpPr/>
            <p:nvPr/>
          </p:nvSpPr>
          <p:spPr>
            <a:xfrm>
              <a:off x="383541" y="574139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0" name="任意多边形: 形状 9999">
              <a:extLst>
                <a:ext uri="{FF2B5EF4-FFF2-40B4-BE49-F238E27FC236}">
                  <a16:creationId xmlns:a16="http://schemas.microsoft.com/office/drawing/2014/main" id="{5C3D97B9-31C7-4428-9AB3-F4F724D3160A}"/>
                </a:ext>
              </a:extLst>
            </p:cNvPr>
            <p:cNvSpPr/>
            <p:nvPr/>
          </p:nvSpPr>
          <p:spPr>
            <a:xfrm>
              <a:off x="383541" y="56826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1" name="任意多边形: 形状 10000">
              <a:extLst>
                <a:ext uri="{FF2B5EF4-FFF2-40B4-BE49-F238E27FC236}">
                  <a16:creationId xmlns:a16="http://schemas.microsoft.com/office/drawing/2014/main" id="{E33C7001-4A45-4D09-A44D-642319AC831E}"/>
                </a:ext>
              </a:extLst>
            </p:cNvPr>
            <p:cNvSpPr/>
            <p:nvPr/>
          </p:nvSpPr>
          <p:spPr>
            <a:xfrm>
              <a:off x="383541" y="56764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2" name="任意多边形: 形状 10001">
              <a:extLst>
                <a:ext uri="{FF2B5EF4-FFF2-40B4-BE49-F238E27FC236}">
                  <a16:creationId xmlns:a16="http://schemas.microsoft.com/office/drawing/2014/main" id="{43829A5A-485B-4183-9C03-D92164BC6A08}"/>
                </a:ext>
              </a:extLst>
            </p:cNvPr>
            <p:cNvSpPr/>
            <p:nvPr/>
          </p:nvSpPr>
          <p:spPr>
            <a:xfrm>
              <a:off x="383541" y="562076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3" name="任意多边形: 形状 10002">
              <a:extLst>
                <a:ext uri="{FF2B5EF4-FFF2-40B4-BE49-F238E27FC236}">
                  <a16:creationId xmlns:a16="http://schemas.microsoft.com/office/drawing/2014/main" id="{EDC5BAAD-3105-4045-BA71-C03CBC2ED64E}"/>
                </a:ext>
              </a:extLst>
            </p:cNvPr>
            <p:cNvSpPr/>
            <p:nvPr/>
          </p:nvSpPr>
          <p:spPr>
            <a:xfrm>
              <a:off x="383541" y="561458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4" name="任意多边形: 形状 10003">
              <a:extLst>
                <a:ext uri="{FF2B5EF4-FFF2-40B4-BE49-F238E27FC236}">
                  <a16:creationId xmlns:a16="http://schemas.microsoft.com/office/drawing/2014/main" id="{FCAF9CF4-BFC4-40B6-8368-4FA2962F29D4}"/>
                </a:ext>
              </a:extLst>
            </p:cNvPr>
            <p:cNvSpPr/>
            <p:nvPr/>
          </p:nvSpPr>
          <p:spPr>
            <a:xfrm>
              <a:off x="383541" y="555581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5" name="任意多边形: 形状 10004">
              <a:extLst>
                <a:ext uri="{FF2B5EF4-FFF2-40B4-BE49-F238E27FC236}">
                  <a16:creationId xmlns:a16="http://schemas.microsoft.com/office/drawing/2014/main" id="{0AFF4687-2DB2-492B-9640-A9032B4CD67B}"/>
                </a:ext>
              </a:extLst>
            </p:cNvPr>
            <p:cNvSpPr/>
            <p:nvPr/>
          </p:nvSpPr>
          <p:spPr>
            <a:xfrm>
              <a:off x="383541" y="554962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6" name="任意多边形: 形状 10005">
              <a:extLst>
                <a:ext uri="{FF2B5EF4-FFF2-40B4-BE49-F238E27FC236}">
                  <a16:creationId xmlns:a16="http://schemas.microsoft.com/office/drawing/2014/main" id="{D12AB6C4-06C4-42E5-9861-78637AF6E1FA}"/>
                </a:ext>
              </a:extLst>
            </p:cNvPr>
            <p:cNvSpPr/>
            <p:nvPr/>
          </p:nvSpPr>
          <p:spPr>
            <a:xfrm>
              <a:off x="340238" y="3897919"/>
              <a:ext cx="30931" cy="30931"/>
            </a:xfrm>
            <a:custGeom>
              <a:avLst/>
              <a:gdLst>
                <a:gd name="connsiteX0" fmla="*/ 12372 w 0"/>
                <a:gd name="connsiteY0" fmla="*/ 0 h 0"/>
                <a:gd name="connsiteX1" fmla="*/ 12372 w 0"/>
                <a:gd name="connsiteY1" fmla="*/ 3093 h 0"/>
                <a:gd name="connsiteX2" fmla="*/ 6186 w 0"/>
                <a:gd name="connsiteY2" fmla="*/ 0 h 0"/>
                <a:gd name="connsiteX3" fmla="*/ 0 w 0"/>
                <a:gd name="connsiteY3" fmla="*/ 0 h 0"/>
                <a:gd name="connsiteX4" fmla="*/ 12372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372" y="0"/>
                  </a:moveTo>
                  <a:lnTo>
                    <a:pt x="12372" y="3093"/>
                  </a:lnTo>
                  <a:cubicBezTo>
                    <a:pt x="9279" y="3093"/>
                    <a:pt x="9279" y="3093"/>
                    <a:pt x="6186" y="0"/>
                  </a:cubicBezTo>
                  <a:cubicBezTo>
                    <a:pt x="3093" y="0"/>
                    <a:pt x="0" y="0"/>
                    <a:pt x="0" y="0"/>
                  </a:cubicBezTo>
                  <a:lnTo>
                    <a:pt x="12372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7" name="任意多边形: 形状 10006">
              <a:extLst>
                <a:ext uri="{FF2B5EF4-FFF2-40B4-BE49-F238E27FC236}">
                  <a16:creationId xmlns:a16="http://schemas.microsoft.com/office/drawing/2014/main" id="{5616E8B5-A9AA-4F7E-91E7-0586413435B6}"/>
                </a:ext>
              </a:extLst>
            </p:cNvPr>
            <p:cNvSpPr/>
            <p:nvPr/>
          </p:nvSpPr>
          <p:spPr>
            <a:xfrm>
              <a:off x="355704" y="3897919"/>
              <a:ext cx="30931" cy="30931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093 h 0"/>
                <a:gd name="connsiteX2" fmla="*/ 0 w 0"/>
                <a:gd name="connsiteY2" fmla="*/ 30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093"/>
                  </a:lnTo>
                  <a:lnTo>
                    <a:pt x="0" y="3093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8" name="任意多边形: 形状 10007">
              <a:extLst>
                <a:ext uri="{FF2B5EF4-FFF2-40B4-BE49-F238E27FC236}">
                  <a16:creationId xmlns:a16="http://schemas.microsoft.com/office/drawing/2014/main" id="{C250E9EF-43B6-43BB-B566-55F09B339A2E}"/>
                </a:ext>
              </a:extLst>
            </p:cNvPr>
            <p:cNvSpPr/>
            <p:nvPr/>
          </p:nvSpPr>
          <p:spPr>
            <a:xfrm>
              <a:off x="1707381" y="4080411"/>
              <a:ext cx="680478" cy="1732127"/>
            </a:xfrm>
            <a:custGeom>
              <a:avLst/>
              <a:gdLst>
                <a:gd name="connsiteX0" fmla="*/ 0 w 680478"/>
                <a:gd name="connsiteY0" fmla="*/ 0 h 1732126"/>
                <a:gd name="connsiteX1" fmla="*/ 689758 w 680478"/>
                <a:gd name="connsiteY1" fmla="*/ 0 h 1732126"/>
                <a:gd name="connsiteX2" fmla="*/ 689758 w 680478"/>
                <a:gd name="connsiteY2" fmla="*/ 1756871 h 1732126"/>
                <a:gd name="connsiteX3" fmla="*/ 0 w 680478"/>
                <a:gd name="connsiteY3" fmla="*/ 1756871 h 1732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1732126">
                  <a:moveTo>
                    <a:pt x="0" y="0"/>
                  </a:moveTo>
                  <a:lnTo>
                    <a:pt x="689758" y="0"/>
                  </a:lnTo>
                  <a:lnTo>
                    <a:pt x="689758" y="1756871"/>
                  </a:lnTo>
                  <a:lnTo>
                    <a:pt x="0" y="1756871"/>
                  </a:lnTo>
                  <a:close/>
                </a:path>
              </a:pathLst>
            </a:custGeom>
            <a:solidFill>
              <a:srgbClr val="FBF2E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09" name="任意多边形: 形状 10008">
              <a:extLst>
                <a:ext uri="{FF2B5EF4-FFF2-40B4-BE49-F238E27FC236}">
                  <a16:creationId xmlns:a16="http://schemas.microsoft.com/office/drawing/2014/main" id="{E6DAA87B-603C-4650-93DC-3C87CC5C5268}"/>
                </a:ext>
              </a:extLst>
            </p:cNvPr>
            <p:cNvSpPr/>
            <p:nvPr/>
          </p:nvSpPr>
          <p:spPr>
            <a:xfrm>
              <a:off x="1763057" y="4300020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593872 w 587685"/>
                <a:gd name="connsiteY1" fmla="*/ 0 h 61861"/>
                <a:gd name="connsiteX2" fmla="*/ 593872 w 587685"/>
                <a:gd name="connsiteY2" fmla="*/ 74234 h 61861"/>
                <a:gd name="connsiteX3" fmla="*/ 0 w 587685"/>
                <a:gd name="connsiteY3" fmla="*/ 7423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593872" y="0"/>
                  </a:lnTo>
                  <a:lnTo>
                    <a:pt x="593872" y="74234"/>
                  </a:lnTo>
                  <a:lnTo>
                    <a:pt x="0" y="7423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0" name="任意多边形: 形状 10009">
              <a:extLst>
                <a:ext uri="{FF2B5EF4-FFF2-40B4-BE49-F238E27FC236}">
                  <a16:creationId xmlns:a16="http://schemas.microsoft.com/office/drawing/2014/main" id="{DC5DF7E8-2543-412D-A32A-82852CA3BF82}"/>
                </a:ext>
              </a:extLst>
            </p:cNvPr>
            <p:cNvSpPr/>
            <p:nvPr/>
          </p:nvSpPr>
          <p:spPr>
            <a:xfrm>
              <a:off x="1763057" y="4225786"/>
              <a:ext cx="185585" cy="30931"/>
            </a:xfrm>
            <a:custGeom>
              <a:avLst/>
              <a:gdLst>
                <a:gd name="connsiteX0" fmla="*/ 0 w 185585"/>
                <a:gd name="connsiteY0" fmla="*/ 0 h 30930"/>
                <a:gd name="connsiteX1" fmla="*/ 188678 w 185585"/>
                <a:gd name="connsiteY1" fmla="*/ 0 h 30930"/>
                <a:gd name="connsiteX2" fmla="*/ 188678 w 185585"/>
                <a:gd name="connsiteY2" fmla="*/ 43303 h 30930"/>
                <a:gd name="connsiteX3" fmla="*/ 0 w 185585"/>
                <a:gd name="connsiteY3" fmla="*/ 43303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585" h="30930">
                  <a:moveTo>
                    <a:pt x="0" y="0"/>
                  </a:moveTo>
                  <a:lnTo>
                    <a:pt x="188678" y="0"/>
                  </a:lnTo>
                  <a:lnTo>
                    <a:pt x="188678" y="43303"/>
                  </a:lnTo>
                  <a:lnTo>
                    <a:pt x="0" y="43303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1" name="任意多边形: 形状 10010">
              <a:extLst>
                <a:ext uri="{FF2B5EF4-FFF2-40B4-BE49-F238E27FC236}">
                  <a16:creationId xmlns:a16="http://schemas.microsoft.com/office/drawing/2014/main" id="{5764CB55-A358-4D86-9C30-177D3820A3EF}"/>
                </a:ext>
              </a:extLst>
            </p:cNvPr>
            <p:cNvSpPr/>
            <p:nvPr/>
          </p:nvSpPr>
          <p:spPr>
            <a:xfrm>
              <a:off x="1763057" y="4436116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2" name="任意多边形: 形状 10011">
              <a:extLst>
                <a:ext uri="{FF2B5EF4-FFF2-40B4-BE49-F238E27FC236}">
                  <a16:creationId xmlns:a16="http://schemas.microsoft.com/office/drawing/2014/main" id="{5CFF60D6-4EBC-4F76-8307-4AB195F053B1}"/>
                </a:ext>
              </a:extLst>
            </p:cNvPr>
            <p:cNvSpPr/>
            <p:nvPr/>
          </p:nvSpPr>
          <p:spPr>
            <a:xfrm>
              <a:off x="1729033" y="4142273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9279 h 0"/>
                <a:gd name="connsiteX3" fmla="*/ 0 w 587685"/>
                <a:gd name="connsiteY3" fmla="*/ 92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9279"/>
                  </a:lnTo>
                  <a:lnTo>
                    <a:pt x="0" y="927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3" name="任意多边形: 形状 10012">
              <a:extLst>
                <a:ext uri="{FF2B5EF4-FFF2-40B4-BE49-F238E27FC236}">
                  <a16:creationId xmlns:a16="http://schemas.microsoft.com/office/drawing/2014/main" id="{1AD1140E-2C4E-4CAF-AD36-43094EA1AE61}"/>
                </a:ext>
              </a:extLst>
            </p:cNvPr>
            <p:cNvSpPr/>
            <p:nvPr/>
          </p:nvSpPr>
          <p:spPr>
            <a:xfrm>
              <a:off x="1763057" y="4507257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4" name="任意多边形: 形状 10013">
              <a:extLst>
                <a:ext uri="{FF2B5EF4-FFF2-40B4-BE49-F238E27FC236}">
                  <a16:creationId xmlns:a16="http://schemas.microsoft.com/office/drawing/2014/main" id="{19C94637-F32B-4EEE-9A6A-6787BE3C533D}"/>
                </a:ext>
              </a:extLst>
            </p:cNvPr>
            <p:cNvSpPr/>
            <p:nvPr/>
          </p:nvSpPr>
          <p:spPr>
            <a:xfrm>
              <a:off x="1763057" y="4578398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5" name="任意多边形: 形状 10014">
              <a:extLst>
                <a:ext uri="{FF2B5EF4-FFF2-40B4-BE49-F238E27FC236}">
                  <a16:creationId xmlns:a16="http://schemas.microsoft.com/office/drawing/2014/main" id="{C4768505-C301-494C-B55F-F31FDFDFCB5C}"/>
                </a:ext>
              </a:extLst>
            </p:cNvPr>
            <p:cNvSpPr/>
            <p:nvPr/>
          </p:nvSpPr>
          <p:spPr>
            <a:xfrm>
              <a:off x="1763057" y="4649539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6" name="任意多边形: 形状 10015">
              <a:extLst>
                <a:ext uri="{FF2B5EF4-FFF2-40B4-BE49-F238E27FC236}">
                  <a16:creationId xmlns:a16="http://schemas.microsoft.com/office/drawing/2014/main" id="{FB8B7E47-3A37-4DFB-B3D3-1F4BA17C97CA}"/>
                </a:ext>
              </a:extLst>
            </p:cNvPr>
            <p:cNvSpPr/>
            <p:nvPr/>
          </p:nvSpPr>
          <p:spPr>
            <a:xfrm>
              <a:off x="1763057" y="4720680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7" name="任意多边形: 形状 10016">
              <a:extLst>
                <a:ext uri="{FF2B5EF4-FFF2-40B4-BE49-F238E27FC236}">
                  <a16:creationId xmlns:a16="http://schemas.microsoft.com/office/drawing/2014/main" id="{FCFBCC10-6419-491B-ABAA-63EB869B1FF3}"/>
                </a:ext>
              </a:extLst>
            </p:cNvPr>
            <p:cNvSpPr/>
            <p:nvPr/>
          </p:nvSpPr>
          <p:spPr>
            <a:xfrm>
              <a:off x="1763057" y="4791820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8" name="任意多边形: 形状 10017">
              <a:extLst>
                <a:ext uri="{FF2B5EF4-FFF2-40B4-BE49-F238E27FC236}">
                  <a16:creationId xmlns:a16="http://schemas.microsoft.com/office/drawing/2014/main" id="{6197E70B-4E0B-49CA-821D-42C1891DEB60}"/>
                </a:ext>
              </a:extLst>
            </p:cNvPr>
            <p:cNvSpPr/>
            <p:nvPr/>
          </p:nvSpPr>
          <p:spPr>
            <a:xfrm>
              <a:off x="1763057" y="4862961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19" name="任意多边形: 形状 10018">
              <a:extLst>
                <a:ext uri="{FF2B5EF4-FFF2-40B4-BE49-F238E27FC236}">
                  <a16:creationId xmlns:a16="http://schemas.microsoft.com/office/drawing/2014/main" id="{6DDE37A1-D7B4-4FAF-A4AF-7A163134E86D}"/>
                </a:ext>
              </a:extLst>
            </p:cNvPr>
            <p:cNvSpPr/>
            <p:nvPr/>
          </p:nvSpPr>
          <p:spPr>
            <a:xfrm>
              <a:off x="1763057" y="4934102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0" name="任意多边形: 形状 10019">
              <a:extLst>
                <a:ext uri="{FF2B5EF4-FFF2-40B4-BE49-F238E27FC236}">
                  <a16:creationId xmlns:a16="http://schemas.microsoft.com/office/drawing/2014/main" id="{A5E24AA5-6C38-44F7-A098-71695F637AC4}"/>
                </a:ext>
              </a:extLst>
            </p:cNvPr>
            <p:cNvSpPr/>
            <p:nvPr/>
          </p:nvSpPr>
          <p:spPr>
            <a:xfrm>
              <a:off x="1763057" y="5005243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1" name="任意多边形: 形状 10020">
              <a:extLst>
                <a:ext uri="{FF2B5EF4-FFF2-40B4-BE49-F238E27FC236}">
                  <a16:creationId xmlns:a16="http://schemas.microsoft.com/office/drawing/2014/main" id="{E2AB237F-A0BD-4C4A-844E-88F4672035D0}"/>
                </a:ext>
              </a:extLst>
            </p:cNvPr>
            <p:cNvSpPr/>
            <p:nvPr/>
          </p:nvSpPr>
          <p:spPr>
            <a:xfrm>
              <a:off x="1763057" y="5076384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2" name="任意多边形: 形状 10021">
              <a:extLst>
                <a:ext uri="{FF2B5EF4-FFF2-40B4-BE49-F238E27FC236}">
                  <a16:creationId xmlns:a16="http://schemas.microsoft.com/office/drawing/2014/main" id="{42D26E99-5673-41CD-B5EF-8B0A591C0D24}"/>
                </a:ext>
              </a:extLst>
            </p:cNvPr>
            <p:cNvSpPr/>
            <p:nvPr/>
          </p:nvSpPr>
          <p:spPr>
            <a:xfrm>
              <a:off x="1763057" y="5144432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3" name="任意多边形: 形状 10022">
              <a:extLst>
                <a:ext uri="{FF2B5EF4-FFF2-40B4-BE49-F238E27FC236}">
                  <a16:creationId xmlns:a16="http://schemas.microsoft.com/office/drawing/2014/main" id="{F765807A-E83F-493C-BFF6-B4ACABC72F3F}"/>
                </a:ext>
              </a:extLst>
            </p:cNvPr>
            <p:cNvSpPr/>
            <p:nvPr/>
          </p:nvSpPr>
          <p:spPr>
            <a:xfrm>
              <a:off x="1763057" y="5215573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4" name="任意多边形: 形状 10023">
              <a:extLst>
                <a:ext uri="{FF2B5EF4-FFF2-40B4-BE49-F238E27FC236}">
                  <a16:creationId xmlns:a16="http://schemas.microsoft.com/office/drawing/2014/main" id="{9A747398-A479-4E03-9CC0-358CBD8F2D8B}"/>
                </a:ext>
              </a:extLst>
            </p:cNvPr>
            <p:cNvSpPr/>
            <p:nvPr/>
          </p:nvSpPr>
          <p:spPr>
            <a:xfrm>
              <a:off x="1763057" y="5286714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5" name="任意多边形: 形状 10024">
              <a:extLst>
                <a:ext uri="{FF2B5EF4-FFF2-40B4-BE49-F238E27FC236}">
                  <a16:creationId xmlns:a16="http://schemas.microsoft.com/office/drawing/2014/main" id="{264AC260-0655-4F96-828F-8F2F1F90DC0F}"/>
                </a:ext>
              </a:extLst>
            </p:cNvPr>
            <p:cNvSpPr/>
            <p:nvPr/>
          </p:nvSpPr>
          <p:spPr>
            <a:xfrm>
              <a:off x="1763057" y="5357855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6" name="任意多边形: 形状 10025">
              <a:extLst>
                <a:ext uri="{FF2B5EF4-FFF2-40B4-BE49-F238E27FC236}">
                  <a16:creationId xmlns:a16="http://schemas.microsoft.com/office/drawing/2014/main" id="{6169B77D-756F-42F7-A5CF-80C355C69453}"/>
                </a:ext>
              </a:extLst>
            </p:cNvPr>
            <p:cNvSpPr/>
            <p:nvPr/>
          </p:nvSpPr>
          <p:spPr>
            <a:xfrm>
              <a:off x="1763057" y="5428996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7" name="任意多边形: 形状 10026">
              <a:extLst>
                <a:ext uri="{FF2B5EF4-FFF2-40B4-BE49-F238E27FC236}">
                  <a16:creationId xmlns:a16="http://schemas.microsoft.com/office/drawing/2014/main" id="{B11305E0-8B38-4347-A88C-63D8C2AB8D31}"/>
                </a:ext>
              </a:extLst>
            </p:cNvPr>
            <p:cNvSpPr/>
            <p:nvPr/>
          </p:nvSpPr>
          <p:spPr>
            <a:xfrm>
              <a:off x="1763057" y="5500136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8" name="任意多边形: 形状 10027">
              <a:extLst>
                <a:ext uri="{FF2B5EF4-FFF2-40B4-BE49-F238E27FC236}">
                  <a16:creationId xmlns:a16="http://schemas.microsoft.com/office/drawing/2014/main" id="{8EF2F3AC-F92D-4D79-9D09-03B184196674}"/>
                </a:ext>
              </a:extLst>
            </p:cNvPr>
            <p:cNvSpPr/>
            <p:nvPr/>
          </p:nvSpPr>
          <p:spPr>
            <a:xfrm>
              <a:off x="1763057" y="5571277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29" name="任意多边形: 形状 10028">
              <a:extLst>
                <a:ext uri="{FF2B5EF4-FFF2-40B4-BE49-F238E27FC236}">
                  <a16:creationId xmlns:a16="http://schemas.microsoft.com/office/drawing/2014/main" id="{1FF50C43-3E26-4346-AF91-2EFCBCEFBE5B}"/>
                </a:ext>
              </a:extLst>
            </p:cNvPr>
            <p:cNvSpPr/>
            <p:nvPr/>
          </p:nvSpPr>
          <p:spPr>
            <a:xfrm>
              <a:off x="1763057" y="5642418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0" name="任意多边形: 形状 10029">
              <a:extLst>
                <a:ext uri="{FF2B5EF4-FFF2-40B4-BE49-F238E27FC236}">
                  <a16:creationId xmlns:a16="http://schemas.microsoft.com/office/drawing/2014/main" id="{AB69F952-8C59-480E-9882-53BE137E81D1}"/>
                </a:ext>
              </a:extLst>
            </p:cNvPr>
            <p:cNvSpPr/>
            <p:nvPr/>
          </p:nvSpPr>
          <p:spPr>
            <a:xfrm>
              <a:off x="1763057" y="5713559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1" name="任意多边形: 形状 10030">
              <a:extLst>
                <a:ext uri="{FF2B5EF4-FFF2-40B4-BE49-F238E27FC236}">
                  <a16:creationId xmlns:a16="http://schemas.microsoft.com/office/drawing/2014/main" id="{65978572-7D4C-40E4-BED9-6E4E8E219E08}"/>
                </a:ext>
              </a:extLst>
            </p:cNvPr>
            <p:cNvSpPr/>
            <p:nvPr/>
          </p:nvSpPr>
          <p:spPr>
            <a:xfrm>
              <a:off x="1923897" y="4030922"/>
              <a:ext cx="30931" cy="1855850"/>
            </a:xfrm>
            <a:custGeom>
              <a:avLst/>
              <a:gdLst>
                <a:gd name="connsiteX0" fmla="*/ 0 w 30930"/>
                <a:gd name="connsiteY0" fmla="*/ 0 h 1855849"/>
                <a:gd name="connsiteX1" fmla="*/ 30931 w 30930"/>
                <a:gd name="connsiteY1" fmla="*/ 0 h 1855849"/>
                <a:gd name="connsiteX2" fmla="*/ 30931 w 30930"/>
                <a:gd name="connsiteY2" fmla="*/ 1862036 h 1855849"/>
                <a:gd name="connsiteX3" fmla="*/ 0 w 30930"/>
                <a:gd name="connsiteY3" fmla="*/ 1862036 h 18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855849">
                  <a:moveTo>
                    <a:pt x="0" y="0"/>
                  </a:moveTo>
                  <a:lnTo>
                    <a:pt x="30931" y="0"/>
                  </a:lnTo>
                  <a:lnTo>
                    <a:pt x="30931" y="1862036"/>
                  </a:lnTo>
                  <a:lnTo>
                    <a:pt x="0" y="1862036"/>
                  </a:lnTo>
                  <a:close/>
                </a:path>
              </a:pathLst>
            </a:custGeom>
            <a:solidFill>
              <a:srgbClr val="FFE2D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2" name="任意多边形: 形状 10031">
              <a:extLst>
                <a:ext uri="{FF2B5EF4-FFF2-40B4-BE49-F238E27FC236}">
                  <a16:creationId xmlns:a16="http://schemas.microsoft.com/office/drawing/2014/main" id="{B5DDA4A5-520D-46D8-9884-E1BADF235E4E}"/>
                </a:ext>
              </a:extLst>
            </p:cNvPr>
            <p:cNvSpPr/>
            <p:nvPr/>
          </p:nvSpPr>
          <p:spPr>
            <a:xfrm>
              <a:off x="2152785" y="3993805"/>
              <a:ext cx="30931" cy="1917712"/>
            </a:xfrm>
            <a:custGeom>
              <a:avLst/>
              <a:gdLst>
                <a:gd name="connsiteX0" fmla="*/ 0 w 0"/>
                <a:gd name="connsiteY0" fmla="*/ 0 h 1917711"/>
                <a:gd name="connsiteX1" fmla="*/ 27838 w 0"/>
                <a:gd name="connsiteY1" fmla="*/ 0 h 1917711"/>
                <a:gd name="connsiteX2" fmla="*/ 27838 w 0"/>
                <a:gd name="connsiteY2" fmla="*/ 1933177 h 1917711"/>
                <a:gd name="connsiteX3" fmla="*/ 0 w 0"/>
                <a:gd name="connsiteY3" fmla="*/ 1933177 h 191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917711">
                  <a:moveTo>
                    <a:pt x="0" y="0"/>
                  </a:moveTo>
                  <a:lnTo>
                    <a:pt x="27838" y="0"/>
                  </a:lnTo>
                  <a:lnTo>
                    <a:pt x="27838" y="1933177"/>
                  </a:lnTo>
                  <a:lnTo>
                    <a:pt x="0" y="1933177"/>
                  </a:lnTo>
                  <a:close/>
                </a:path>
              </a:pathLst>
            </a:custGeom>
            <a:solidFill>
              <a:srgbClr val="FFE2D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3" name="任意多边形: 形状 10032">
              <a:extLst>
                <a:ext uri="{FF2B5EF4-FFF2-40B4-BE49-F238E27FC236}">
                  <a16:creationId xmlns:a16="http://schemas.microsoft.com/office/drawing/2014/main" id="{B6452F28-B106-4190-A38E-1C08A2B4A4CF}"/>
                </a:ext>
              </a:extLst>
            </p:cNvPr>
            <p:cNvSpPr/>
            <p:nvPr/>
          </p:nvSpPr>
          <p:spPr>
            <a:xfrm>
              <a:off x="856783" y="5416623"/>
              <a:ext cx="154654" cy="1206302"/>
            </a:xfrm>
            <a:custGeom>
              <a:avLst/>
              <a:gdLst>
                <a:gd name="connsiteX0" fmla="*/ 170120 w 154654"/>
                <a:gd name="connsiteY0" fmla="*/ 1206303 h 1206302"/>
                <a:gd name="connsiteX1" fmla="*/ 0 w 154654"/>
                <a:gd name="connsiteY1" fmla="*/ 1206303 h 1206302"/>
                <a:gd name="connsiteX2" fmla="*/ 0 w 154654"/>
                <a:gd name="connsiteY2" fmla="*/ 108258 h 1206302"/>
                <a:gd name="connsiteX3" fmla="*/ 170120 w 154654"/>
                <a:gd name="connsiteY3" fmla="*/ 0 h 120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206302">
                  <a:moveTo>
                    <a:pt x="170120" y="1206303"/>
                  </a:moveTo>
                  <a:lnTo>
                    <a:pt x="0" y="1206303"/>
                  </a:lnTo>
                  <a:lnTo>
                    <a:pt x="0" y="108258"/>
                  </a:lnTo>
                  <a:lnTo>
                    <a:pt x="170120" y="0"/>
                  </a:lnTo>
                  <a:close/>
                </a:path>
              </a:pathLst>
            </a:custGeom>
            <a:solidFill>
              <a:srgbClr val="004A5B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4" name="任意多边形: 形状 10033">
              <a:extLst>
                <a:ext uri="{FF2B5EF4-FFF2-40B4-BE49-F238E27FC236}">
                  <a16:creationId xmlns:a16="http://schemas.microsoft.com/office/drawing/2014/main" id="{DE3629E1-F5ED-4C1C-8371-1F70DE6EEB5F}"/>
                </a:ext>
              </a:extLst>
            </p:cNvPr>
            <p:cNvSpPr/>
            <p:nvPr/>
          </p:nvSpPr>
          <p:spPr>
            <a:xfrm>
              <a:off x="1026903" y="5416623"/>
              <a:ext cx="154654" cy="1206302"/>
            </a:xfrm>
            <a:custGeom>
              <a:avLst/>
              <a:gdLst>
                <a:gd name="connsiteX0" fmla="*/ 0 w 154654"/>
                <a:gd name="connsiteY0" fmla="*/ 0 h 1206302"/>
                <a:gd name="connsiteX1" fmla="*/ 173213 w 154654"/>
                <a:gd name="connsiteY1" fmla="*/ 0 h 1206302"/>
                <a:gd name="connsiteX2" fmla="*/ 173213 w 154654"/>
                <a:gd name="connsiteY2" fmla="*/ 1224861 h 1206302"/>
                <a:gd name="connsiteX3" fmla="*/ 0 w 154654"/>
                <a:gd name="connsiteY3" fmla="*/ 1224861 h 120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206302">
                  <a:moveTo>
                    <a:pt x="0" y="0"/>
                  </a:moveTo>
                  <a:lnTo>
                    <a:pt x="173213" y="0"/>
                  </a:lnTo>
                  <a:lnTo>
                    <a:pt x="173213" y="1224861"/>
                  </a:lnTo>
                  <a:lnTo>
                    <a:pt x="0" y="1224861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5" name="任意多边形: 形状 10034">
              <a:extLst>
                <a:ext uri="{FF2B5EF4-FFF2-40B4-BE49-F238E27FC236}">
                  <a16:creationId xmlns:a16="http://schemas.microsoft.com/office/drawing/2014/main" id="{572201FC-3F1E-4F15-8868-038233C1451C}"/>
                </a:ext>
              </a:extLst>
            </p:cNvPr>
            <p:cNvSpPr/>
            <p:nvPr/>
          </p:nvSpPr>
          <p:spPr>
            <a:xfrm>
              <a:off x="1957921" y="5048546"/>
              <a:ext cx="618617" cy="309308"/>
            </a:xfrm>
            <a:custGeom>
              <a:avLst/>
              <a:gdLst>
                <a:gd name="connsiteX0" fmla="*/ 210330 w 618616"/>
                <a:gd name="connsiteY0" fmla="*/ 0 h 309308"/>
                <a:gd name="connsiteX1" fmla="*/ 0 w 618616"/>
                <a:gd name="connsiteY1" fmla="*/ 287657 h 309308"/>
                <a:gd name="connsiteX2" fmla="*/ 637175 w 618616"/>
                <a:gd name="connsiteY2" fmla="*/ 321681 h 309308"/>
                <a:gd name="connsiteX3" fmla="*/ 429939 w 618616"/>
                <a:gd name="connsiteY3" fmla="*/ 18558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6" h="309308">
                  <a:moveTo>
                    <a:pt x="210330" y="0"/>
                  </a:moveTo>
                  <a:lnTo>
                    <a:pt x="0" y="287657"/>
                  </a:lnTo>
                  <a:lnTo>
                    <a:pt x="637175" y="321681"/>
                  </a:lnTo>
                  <a:lnTo>
                    <a:pt x="429939" y="18558"/>
                  </a:lnTo>
                  <a:close/>
                </a:path>
              </a:pathLst>
            </a:custGeom>
            <a:solidFill>
              <a:srgbClr val="004A5B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6" name="任意多边形: 形状 10035">
              <a:extLst>
                <a:ext uri="{FF2B5EF4-FFF2-40B4-BE49-F238E27FC236}">
                  <a16:creationId xmlns:a16="http://schemas.microsoft.com/office/drawing/2014/main" id="{57873939-A40C-4871-AFB0-BFB0F7727D16}"/>
                </a:ext>
              </a:extLst>
            </p:cNvPr>
            <p:cNvSpPr/>
            <p:nvPr/>
          </p:nvSpPr>
          <p:spPr>
            <a:xfrm>
              <a:off x="2245577" y="5231038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7" name="任意多边形: 形状 10036">
              <a:extLst>
                <a:ext uri="{FF2B5EF4-FFF2-40B4-BE49-F238E27FC236}">
                  <a16:creationId xmlns:a16="http://schemas.microsoft.com/office/drawing/2014/main" id="{AEC36BA8-3639-4FE1-9CA8-BD47E495AD55}"/>
                </a:ext>
              </a:extLst>
            </p:cNvPr>
            <p:cNvSpPr/>
            <p:nvPr/>
          </p:nvSpPr>
          <p:spPr>
            <a:xfrm>
              <a:off x="2137320" y="5246504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8" name="任意多边形: 形状 10037">
              <a:extLst>
                <a:ext uri="{FF2B5EF4-FFF2-40B4-BE49-F238E27FC236}">
                  <a16:creationId xmlns:a16="http://schemas.microsoft.com/office/drawing/2014/main" id="{974F65DB-1E90-4FF2-836B-4761812BEBE7}"/>
                </a:ext>
              </a:extLst>
            </p:cNvPr>
            <p:cNvSpPr/>
            <p:nvPr/>
          </p:nvSpPr>
          <p:spPr>
            <a:xfrm>
              <a:off x="2044527" y="5295993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39" name="任意多边形: 形状 10038">
              <a:extLst>
                <a:ext uri="{FF2B5EF4-FFF2-40B4-BE49-F238E27FC236}">
                  <a16:creationId xmlns:a16="http://schemas.microsoft.com/office/drawing/2014/main" id="{F592DAB7-DF3A-4534-8B4E-AE0977B69617}"/>
                </a:ext>
              </a:extLst>
            </p:cNvPr>
            <p:cNvSpPr/>
            <p:nvPr/>
          </p:nvSpPr>
          <p:spPr>
            <a:xfrm>
              <a:off x="1967200" y="5311458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0" name="任意多边形: 形状 10039">
              <a:extLst>
                <a:ext uri="{FF2B5EF4-FFF2-40B4-BE49-F238E27FC236}">
                  <a16:creationId xmlns:a16="http://schemas.microsoft.com/office/drawing/2014/main" id="{58A6EC03-9973-4647-997E-FB3B94BC97A8}"/>
                </a:ext>
              </a:extLst>
            </p:cNvPr>
            <p:cNvSpPr/>
            <p:nvPr/>
          </p:nvSpPr>
          <p:spPr>
            <a:xfrm>
              <a:off x="2545607" y="5330017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1" name="任意多边形: 形状 10040">
              <a:extLst>
                <a:ext uri="{FF2B5EF4-FFF2-40B4-BE49-F238E27FC236}">
                  <a16:creationId xmlns:a16="http://schemas.microsoft.com/office/drawing/2014/main" id="{4B05AFF9-F1F6-46F1-B05A-133B90C74AD4}"/>
                </a:ext>
              </a:extLst>
            </p:cNvPr>
            <p:cNvSpPr/>
            <p:nvPr/>
          </p:nvSpPr>
          <p:spPr>
            <a:xfrm>
              <a:off x="2471373" y="5271248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2" name="任意多边形: 形状 10041">
              <a:extLst>
                <a:ext uri="{FF2B5EF4-FFF2-40B4-BE49-F238E27FC236}">
                  <a16:creationId xmlns:a16="http://schemas.microsoft.com/office/drawing/2014/main" id="{FAF31132-DDDA-4BC6-8AB5-425F1B1EB4DB}"/>
                </a:ext>
              </a:extLst>
            </p:cNvPr>
            <p:cNvSpPr/>
            <p:nvPr/>
          </p:nvSpPr>
          <p:spPr>
            <a:xfrm>
              <a:off x="1933176" y="4503785"/>
              <a:ext cx="494893" cy="804202"/>
            </a:xfrm>
            <a:custGeom>
              <a:avLst/>
              <a:gdLst>
                <a:gd name="connsiteX0" fmla="*/ 0 w 494893"/>
                <a:gd name="connsiteY0" fmla="*/ 204522 h 804201"/>
                <a:gd name="connsiteX1" fmla="*/ 21652 w 494893"/>
                <a:gd name="connsiteY1" fmla="*/ 829325 h 804201"/>
                <a:gd name="connsiteX2" fmla="*/ 275284 w 494893"/>
                <a:gd name="connsiteY2" fmla="*/ 755091 h 804201"/>
                <a:gd name="connsiteX3" fmla="*/ 497986 w 494893"/>
                <a:gd name="connsiteY3" fmla="*/ 755091 h 804201"/>
                <a:gd name="connsiteX4" fmla="*/ 497986 w 494893"/>
                <a:gd name="connsiteY4" fmla="*/ 379 h 804201"/>
                <a:gd name="connsiteX5" fmla="*/ 0 w 494893"/>
                <a:gd name="connsiteY5" fmla="*/ 204522 h 80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893" h="804201">
                  <a:moveTo>
                    <a:pt x="0" y="204522"/>
                  </a:moveTo>
                  <a:lnTo>
                    <a:pt x="21652" y="829325"/>
                  </a:lnTo>
                  <a:cubicBezTo>
                    <a:pt x="21652" y="829325"/>
                    <a:pt x="201050" y="770557"/>
                    <a:pt x="275284" y="755091"/>
                  </a:cubicBezTo>
                  <a:cubicBezTo>
                    <a:pt x="349519" y="736532"/>
                    <a:pt x="497986" y="755091"/>
                    <a:pt x="497986" y="755091"/>
                  </a:cubicBezTo>
                  <a:lnTo>
                    <a:pt x="497986" y="379"/>
                  </a:lnTo>
                  <a:cubicBezTo>
                    <a:pt x="501079" y="379"/>
                    <a:pt x="179399" y="-18180"/>
                    <a:pt x="0" y="204522"/>
                  </a:cubicBez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3" name="任意多边形: 形状 10042">
              <a:extLst>
                <a:ext uri="{FF2B5EF4-FFF2-40B4-BE49-F238E27FC236}">
                  <a16:creationId xmlns:a16="http://schemas.microsoft.com/office/drawing/2014/main" id="{D4852933-3515-4972-8481-6F0D4B52C79E}"/>
                </a:ext>
              </a:extLst>
            </p:cNvPr>
            <p:cNvSpPr/>
            <p:nvPr/>
          </p:nvSpPr>
          <p:spPr>
            <a:xfrm>
              <a:off x="1926990" y="4491791"/>
              <a:ext cx="494893" cy="835132"/>
            </a:xfrm>
            <a:custGeom>
              <a:avLst/>
              <a:gdLst>
                <a:gd name="connsiteX0" fmla="*/ 24745 w 494893"/>
                <a:gd name="connsiteY0" fmla="*/ 850598 h 835132"/>
                <a:gd name="connsiteX1" fmla="*/ 0 w 494893"/>
                <a:gd name="connsiteY1" fmla="*/ 213423 h 835132"/>
                <a:gd name="connsiteX2" fmla="*/ 0 w 494893"/>
                <a:gd name="connsiteY2" fmla="*/ 210330 h 835132"/>
                <a:gd name="connsiteX3" fmla="*/ 488707 w 494893"/>
                <a:gd name="connsiteY3" fmla="*/ 0 h 835132"/>
                <a:gd name="connsiteX4" fmla="*/ 504173 w 494893"/>
                <a:gd name="connsiteY4" fmla="*/ 0 h 835132"/>
                <a:gd name="connsiteX5" fmla="*/ 510359 w 494893"/>
                <a:gd name="connsiteY5" fmla="*/ 0 h 835132"/>
                <a:gd name="connsiteX6" fmla="*/ 510359 w 494893"/>
                <a:gd name="connsiteY6" fmla="*/ 770178 h 835132"/>
                <a:gd name="connsiteX7" fmla="*/ 504173 w 494893"/>
                <a:gd name="connsiteY7" fmla="*/ 770178 h 835132"/>
                <a:gd name="connsiteX8" fmla="*/ 371170 w 494893"/>
                <a:gd name="connsiteY8" fmla="*/ 763991 h 835132"/>
                <a:gd name="connsiteX9" fmla="*/ 281471 w 494893"/>
                <a:gd name="connsiteY9" fmla="*/ 770178 h 835132"/>
                <a:gd name="connsiteX10" fmla="*/ 27838 w 494893"/>
                <a:gd name="connsiteY10" fmla="*/ 844412 h 835132"/>
                <a:gd name="connsiteX11" fmla="*/ 24745 w 494893"/>
                <a:gd name="connsiteY11" fmla="*/ 850598 h 835132"/>
                <a:gd name="connsiteX12" fmla="*/ 12372 w 494893"/>
                <a:gd name="connsiteY12" fmla="*/ 219609 h 835132"/>
                <a:gd name="connsiteX13" fmla="*/ 34024 w 494893"/>
                <a:gd name="connsiteY13" fmla="*/ 835132 h 835132"/>
                <a:gd name="connsiteX14" fmla="*/ 281471 w 494893"/>
                <a:gd name="connsiteY14" fmla="*/ 763991 h 835132"/>
                <a:gd name="connsiteX15" fmla="*/ 374263 w 494893"/>
                <a:gd name="connsiteY15" fmla="*/ 754712 h 835132"/>
                <a:gd name="connsiteX16" fmla="*/ 501080 w 494893"/>
                <a:gd name="connsiteY16" fmla="*/ 760898 h 835132"/>
                <a:gd name="connsiteX17" fmla="*/ 501080 w 494893"/>
                <a:gd name="connsiteY17" fmla="*/ 15465 h 835132"/>
                <a:gd name="connsiteX18" fmla="*/ 491800 w 494893"/>
                <a:gd name="connsiteY18" fmla="*/ 15465 h 835132"/>
                <a:gd name="connsiteX19" fmla="*/ 12372 w 494893"/>
                <a:gd name="connsiteY19" fmla="*/ 219609 h 83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94893" h="835132">
                  <a:moveTo>
                    <a:pt x="24745" y="850598"/>
                  </a:moveTo>
                  <a:lnTo>
                    <a:pt x="0" y="213423"/>
                  </a:lnTo>
                  <a:lnTo>
                    <a:pt x="0" y="210330"/>
                  </a:lnTo>
                  <a:cubicBezTo>
                    <a:pt x="154654" y="15465"/>
                    <a:pt x="411380" y="0"/>
                    <a:pt x="488707" y="0"/>
                  </a:cubicBezTo>
                  <a:cubicBezTo>
                    <a:pt x="497987" y="0"/>
                    <a:pt x="504173" y="0"/>
                    <a:pt x="504173" y="0"/>
                  </a:cubicBezTo>
                  <a:lnTo>
                    <a:pt x="510359" y="0"/>
                  </a:lnTo>
                  <a:lnTo>
                    <a:pt x="510359" y="770178"/>
                  </a:lnTo>
                  <a:lnTo>
                    <a:pt x="504173" y="770178"/>
                  </a:lnTo>
                  <a:cubicBezTo>
                    <a:pt x="504173" y="770178"/>
                    <a:pt x="436125" y="763991"/>
                    <a:pt x="371170" y="763991"/>
                  </a:cubicBezTo>
                  <a:cubicBezTo>
                    <a:pt x="334053" y="763991"/>
                    <a:pt x="303122" y="767085"/>
                    <a:pt x="281471" y="770178"/>
                  </a:cubicBezTo>
                  <a:cubicBezTo>
                    <a:pt x="207237" y="785643"/>
                    <a:pt x="30931" y="844412"/>
                    <a:pt x="27838" y="844412"/>
                  </a:cubicBezTo>
                  <a:lnTo>
                    <a:pt x="24745" y="850598"/>
                  </a:lnTo>
                  <a:close/>
                  <a:moveTo>
                    <a:pt x="12372" y="219609"/>
                  </a:moveTo>
                  <a:lnTo>
                    <a:pt x="34024" y="835132"/>
                  </a:lnTo>
                  <a:cubicBezTo>
                    <a:pt x="68048" y="822760"/>
                    <a:pt x="213423" y="776364"/>
                    <a:pt x="281471" y="763991"/>
                  </a:cubicBezTo>
                  <a:cubicBezTo>
                    <a:pt x="303122" y="757805"/>
                    <a:pt x="334053" y="754712"/>
                    <a:pt x="374263" y="754712"/>
                  </a:cubicBezTo>
                  <a:cubicBezTo>
                    <a:pt x="426845" y="754712"/>
                    <a:pt x="482521" y="760898"/>
                    <a:pt x="501080" y="760898"/>
                  </a:cubicBezTo>
                  <a:lnTo>
                    <a:pt x="501080" y="15465"/>
                  </a:lnTo>
                  <a:cubicBezTo>
                    <a:pt x="497987" y="15465"/>
                    <a:pt x="494893" y="15465"/>
                    <a:pt x="491800" y="15465"/>
                  </a:cubicBezTo>
                  <a:cubicBezTo>
                    <a:pt x="417566" y="15465"/>
                    <a:pt x="163933" y="30931"/>
                    <a:pt x="12372" y="219609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4" name="任意多边形: 形状 10043">
              <a:extLst>
                <a:ext uri="{FF2B5EF4-FFF2-40B4-BE49-F238E27FC236}">
                  <a16:creationId xmlns:a16="http://schemas.microsoft.com/office/drawing/2014/main" id="{31F9C606-EA92-4889-97C5-4DC7BE91925D}"/>
                </a:ext>
              </a:extLst>
            </p:cNvPr>
            <p:cNvSpPr/>
            <p:nvPr/>
          </p:nvSpPr>
          <p:spPr>
            <a:xfrm>
              <a:off x="2434255" y="4504164"/>
              <a:ext cx="154654" cy="866063"/>
            </a:xfrm>
            <a:custGeom>
              <a:avLst/>
              <a:gdLst>
                <a:gd name="connsiteX0" fmla="*/ 160840 w 154654"/>
                <a:gd name="connsiteY0" fmla="*/ 241260 h 866063"/>
                <a:gd name="connsiteX1" fmla="*/ 0 w 154654"/>
                <a:gd name="connsiteY1" fmla="*/ 0 h 866063"/>
                <a:gd name="connsiteX2" fmla="*/ 0 w 154654"/>
                <a:gd name="connsiteY2" fmla="*/ 757805 h 866063"/>
                <a:gd name="connsiteX3" fmla="*/ 154654 w 154654"/>
                <a:gd name="connsiteY3" fmla="*/ 887715 h 86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866063">
                  <a:moveTo>
                    <a:pt x="160840" y="241260"/>
                  </a:moveTo>
                  <a:lnTo>
                    <a:pt x="0" y="0"/>
                  </a:lnTo>
                  <a:lnTo>
                    <a:pt x="0" y="757805"/>
                  </a:lnTo>
                  <a:lnTo>
                    <a:pt x="154654" y="887715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5" name="任意多边形: 形状 10044">
              <a:extLst>
                <a:ext uri="{FF2B5EF4-FFF2-40B4-BE49-F238E27FC236}">
                  <a16:creationId xmlns:a16="http://schemas.microsoft.com/office/drawing/2014/main" id="{7C976AF5-0DA3-4FCB-8E7F-1BD2D66E8667}"/>
                </a:ext>
              </a:extLst>
            </p:cNvPr>
            <p:cNvSpPr/>
            <p:nvPr/>
          </p:nvSpPr>
          <p:spPr>
            <a:xfrm>
              <a:off x="1957921" y="5914610"/>
              <a:ext cx="618617" cy="309308"/>
            </a:xfrm>
            <a:custGeom>
              <a:avLst/>
              <a:gdLst>
                <a:gd name="connsiteX0" fmla="*/ 210330 w 618616"/>
                <a:gd name="connsiteY0" fmla="*/ 0 h 309308"/>
                <a:gd name="connsiteX1" fmla="*/ 0 w 618616"/>
                <a:gd name="connsiteY1" fmla="*/ 287657 h 309308"/>
                <a:gd name="connsiteX2" fmla="*/ 637175 w 618616"/>
                <a:gd name="connsiteY2" fmla="*/ 321681 h 309308"/>
                <a:gd name="connsiteX3" fmla="*/ 429939 w 618616"/>
                <a:gd name="connsiteY3" fmla="*/ 15465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6" h="309308">
                  <a:moveTo>
                    <a:pt x="210330" y="0"/>
                  </a:moveTo>
                  <a:lnTo>
                    <a:pt x="0" y="287657"/>
                  </a:lnTo>
                  <a:lnTo>
                    <a:pt x="637175" y="321681"/>
                  </a:lnTo>
                  <a:lnTo>
                    <a:pt x="429939" y="15465"/>
                  </a:lnTo>
                  <a:close/>
                </a:path>
              </a:pathLst>
            </a:custGeom>
            <a:solidFill>
              <a:srgbClr val="004A5B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6" name="任意多边形: 形状 10045">
              <a:extLst>
                <a:ext uri="{FF2B5EF4-FFF2-40B4-BE49-F238E27FC236}">
                  <a16:creationId xmlns:a16="http://schemas.microsoft.com/office/drawing/2014/main" id="{6FA31847-84A0-4655-87CA-DE7D73BEC52F}"/>
                </a:ext>
              </a:extLst>
            </p:cNvPr>
            <p:cNvSpPr/>
            <p:nvPr/>
          </p:nvSpPr>
          <p:spPr>
            <a:xfrm>
              <a:off x="2245577" y="6097102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7" name="任意多边形: 形状 10046">
              <a:extLst>
                <a:ext uri="{FF2B5EF4-FFF2-40B4-BE49-F238E27FC236}">
                  <a16:creationId xmlns:a16="http://schemas.microsoft.com/office/drawing/2014/main" id="{E71B3641-3964-443E-94EF-A770E966EAF7}"/>
                </a:ext>
              </a:extLst>
            </p:cNvPr>
            <p:cNvSpPr/>
            <p:nvPr/>
          </p:nvSpPr>
          <p:spPr>
            <a:xfrm>
              <a:off x="2137320" y="6112567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8" name="任意多边形: 形状 10047">
              <a:extLst>
                <a:ext uri="{FF2B5EF4-FFF2-40B4-BE49-F238E27FC236}">
                  <a16:creationId xmlns:a16="http://schemas.microsoft.com/office/drawing/2014/main" id="{502E3563-BB6B-4F47-AD86-087AD6B9DB30}"/>
                </a:ext>
              </a:extLst>
            </p:cNvPr>
            <p:cNvSpPr/>
            <p:nvPr/>
          </p:nvSpPr>
          <p:spPr>
            <a:xfrm>
              <a:off x="2044527" y="6162056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49" name="任意多边形: 形状 10048">
              <a:extLst>
                <a:ext uri="{FF2B5EF4-FFF2-40B4-BE49-F238E27FC236}">
                  <a16:creationId xmlns:a16="http://schemas.microsoft.com/office/drawing/2014/main" id="{022332AD-EC9E-4213-BA9E-705136481911}"/>
                </a:ext>
              </a:extLst>
            </p:cNvPr>
            <p:cNvSpPr/>
            <p:nvPr/>
          </p:nvSpPr>
          <p:spPr>
            <a:xfrm>
              <a:off x="1967200" y="6177522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0" name="任意多边形: 形状 10049">
              <a:extLst>
                <a:ext uri="{FF2B5EF4-FFF2-40B4-BE49-F238E27FC236}">
                  <a16:creationId xmlns:a16="http://schemas.microsoft.com/office/drawing/2014/main" id="{6E62E8B2-88EE-4EF2-9756-E6FAED2CD7B1}"/>
                </a:ext>
              </a:extLst>
            </p:cNvPr>
            <p:cNvSpPr/>
            <p:nvPr/>
          </p:nvSpPr>
          <p:spPr>
            <a:xfrm>
              <a:off x="2545607" y="6196080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1" name="任意多边形: 形状 10050">
              <a:extLst>
                <a:ext uri="{FF2B5EF4-FFF2-40B4-BE49-F238E27FC236}">
                  <a16:creationId xmlns:a16="http://schemas.microsoft.com/office/drawing/2014/main" id="{A530EF07-2786-4457-AB21-ED62C9CD95D7}"/>
                </a:ext>
              </a:extLst>
            </p:cNvPr>
            <p:cNvSpPr/>
            <p:nvPr/>
          </p:nvSpPr>
          <p:spPr>
            <a:xfrm>
              <a:off x="2471373" y="6137312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2" name="任意多边形: 形状 10051">
              <a:extLst>
                <a:ext uri="{FF2B5EF4-FFF2-40B4-BE49-F238E27FC236}">
                  <a16:creationId xmlns:a16="http://schemas.microsoft.com/office/drawing/2014/main" id="{D167D74D-E8AB-4F3B-9747-A42D1340036D}"/>
                </a:ext>
              </a:extLst>
            </p:cNvPr>
            <p:cNvSpPr/>
            <p:nvPr/>
          </p:nvSpPr>
          <p:spPr>
            <a:xfrm>
              <a:off x="1933176" y="5366904"/>
              <a:ext cx="494893" cy="804202"/>
            </a:xfrm>
            <a:custGeom>
              <a:avLst/>
              <a:gdLst>
                <a:gd name="connsiteX0" fmla="*/ 0 w 494893"/>
                <a:gd name="connsiteY0" fmla="*/ 207466 h 804201"/>
                <a:gd name="connsiteX1" fmla="*/ 21652 w 494893"/>
                <a:gd name="connsiteY1" fmla="*/ 832269 h 804201"/>
                <a:gd name="connsiteX2" fmla="*/ 275284 w 494893"/>
                <a:gd name="connsiteY2" fmla="*/ 758035 h 804201"/>
                <a:gd name="connsiteX3" fmla="*/ 497986 w 494893"/>
                <a:gd name="connsiteY3" fmla="*/ 758035 h 804201"/>
                <a:gd name="connsiteX4" fmla="*/ 497986 w 494893"/>
                <a:gd name="connsiteY4" fmla="*/ 230 h 804201"/>
                <a:gd name="connsiteX5" fmla="*/ 0 w 494893"/>
                <a:gd name="connsiteY5" fmla="*/ 207466 h 80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893" h="804201">
                  <a:moveTo>
                    <a:pt x="0" y="207466"/>
                  </a:moveTo>
                  <a:lnTo>
                    <a:pt x="21652" y="832269"/>
                  </a:lnTo>
                  <a:cubicBezTo>
                    <a:pt x="21652" y="832269"/>
                    <a:pt x="201050" y="773501"/>
                    <a:pt x="275284" y="758035"/>
                  </a:cubicBezTo>
                  <a:cubicBezTo>
                    <a:pt x="349519" y="739477"/>
                    <a:pt x="497986" y="758035"/>
                    <a:pt x="497986" y="758035"/>
                  </a:cubicBezTo>
                  <a:lnTo>
                    <a:pt x="497986" y="230"/>
                  </a:lnTo>
                  <a:cubicBezTo>
                    <a:pt x="501079" y="230"/>
                    <a:pt x="179399" y="-15235"/>
                    <a:pt x="0" y="207466"/>
                  </a:cubicBez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3" name="任意多边形: 形状 10052">
              <a:extLst>
                <a:ext uri="{FF2B5EF4-FFF2-40B4-BE49-F238E27FC236}">
                  <a16:creationId xmlns:a16="http://schemas.microsoft.com/office/drawing/2014/main" id="{22B9C949-3FD4-480A-A102-77901EA513E2}"/>
                </a:ext>
              </a:extLst>
            </p:cNvPr>
            <p:cNvSpPr/>
            <p:nvPr/>
          </p:nvSpPr>
          <p:spPr>
            <a:xfrm>
              <a:off x="1926990" y="5357855"/>
              <a:ext cx="494893" cy="835132"/>
            </a:xfrm>
            <a:custGeom>
              <a:avLst/>
              <a:gdLst>
                <a:gd name="connsiteX0" fmla="*/ 24745 w 494893"/>
                <a:gd name="connsiteY0" fmla="*/ 850598 h 835132"/>
                <a:gd name="connsiteX1" fmla="*/ 0 w 494893"/>
                <a:gd name="connsiteY1" fmla="*/ 213423 h 835132"/>
                <a:gd name="connsiteX2" fmla="*/ 0 w 494893"/>
                <a:gd name="connsiteY2" fmla="*/ 210330 h 835132"/>
                <a:gd name="connsiteX3" fmla="*/ 488707 w 494893"/>
                <a:gd name="connsiteY3" fmla="*/ 0 h 835132"/>
                <a:gd name="connsiteX4" fmla="*/ 504173 w 494893"/>
                <a:gd name="connsiteY4" fmla="*/ 0 h 835132"/>
                <a:gd name="connsiteX5" fmla="*/ 510359 w 494893"/>
                <a:gd name="connsiteY5" fmla="*/ 0 h 835132"/>
                <a:gd name="connsiteX6" fmla="*/ 510359 w 494893"/>
                <a:gd name="connsiteY6" fmla="*/ 770178 h 835132"/>
                <a:gd name="connsiteX7" fmla="*/ 504173 w 494893"/>
                <a:gd name="connsiteY7" fmla="*/ 770178 h 835132"/>
                <a:gd name="connsiteX8" fmla="*/ 371170 w 494893"/>
                <a:gd name="connsiteY8" fmla="*/ 763991 h 835132"/>
                <a:gd name="connsiteX9" fmla="*/ 281471 w 494893"/>
                <a:gd name="connsiteY9" fmla="*/ 770178 h 835132"/>
                <a:gd name="connsiteX10" fmla="*/ 27838 w 494893"/>
                <a:gd name="connsiteY10" fmla="*/ 844412 h 835132"/>
                <a:gd name="connsiteX11" fmla="*/ 24745 w 494893"/>
                <a:gd name="connsiteY11" fmla="*/ 850598 h 835132"/>
                <a:gd name="connsiteX12" fmla="*/ 12372 w 494893"/>
                <a:gd name="connsiteY12" fmla="*/ 219609 h 835132"/>
                <a:gd name="connsiteX13" fmla="*/ 34024 w 494893"/>
                <a:gd name="connsiteY13" fmla="*/ 835132 h 835132"/>
                <a:gd name="connsiteX14" fmla="*/ 281471 w 494893"/>
                <a:gd name="connsiteY14" fmla="*/ 763991 h 835132"/>
                <a:gd name="connsiteX15" fmla="*/ 374263 w 494893"/>
                <a:gd name="connsiteY15" fmla="*/ 754712 h 835132"/>
                <a:gd name="connsiteX16" fmla="*/ 501080 w 494893"/>
                <a:gd name="connsiteY16" fmla="*/ 760898 h 835132"/>
                <a:gd name="connsiteX17" fmla="*/ 501080 w 494893"/>
                <a:gd name="connsiteY17" fmla="*/ 15465 h 835132"/>
                <a:gd name="connsiteX18" fmla="*/ 491800 w 494893"/>
                <a:gd name="connsiteY18" fmla="*/ 15465 h 835132"/>
                <a:gd name="connsiteX19" fmla="*/ 12372 w 494893"/>
                <a:gd name="connsiteY19" fmla="*/ 219609 h 83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94893" h="835132">
                  <a:moveTo>
                    <a:pt x="24745" y="850598"/>
                  </a:moveTo>
                  <a:lnTo>
                    <a:pt x="0" y="213423"/>
                  </a:lnTo>
                  <a:lnTo>
                    <a:pt x="0" y="210330"/>
                  </a:lnTo>
                  <a:cubicBezTo>
                    <a:pt x="154654" y="15465"/>
                    <a:pt x="411380" y="0"/>
                    <a:pt x="488707" y="0"/>
                  </a:cubicBezTo>
                  <a:cubicBezTo>
                    <a:pt x="497987" y="0"/>
                    <a:pt x="504173" y="0"/>
                    <a:pt x="504173" y="0"/>
                  </a:cubicBezTo>
                  <a:lnTo>
                    <a:pt x="510359" y="0"/>
                  </a:lnTo>
                  <a:lnTo>
                    <a:pt x="510359" y="770178"/>
                  </a:lnTo>
                  <a:lnTo>
                    <a:pt x="504173" y="770178"/>
                  </a:lnTo>
                  <a:cubicBezTo>
                    <a:pt x="504173" y="770178"/>
                    <a:pt x="436125" y="763991"/>
                    <a:pt x="371170" y="763991"/>
                  </a:cubicBezTo>
                  <a:cubicBezTo>
                    <a:pt x="334053" y="763991"/>
                    <a:pt x="303122" y="767085"/>
                    <a:pt x="281471" y="770178"/>
                  </a:cubicBezTo>
                  <a:cubicBezTo>
                    <a:pt x="207237" y="785643"/>
                    <a:pt x="30931" y="844412"/>
                    <a:pt x="27838" y="844412"/>
                  </a:cubicBezTo>
                  <a:lnTo>
                    <a:pt x="24745" y="850598"/>
                  </a:lnTo>
                  <a:close/>
                  <a:moveTo>
                    <a:pt x="12372" y="219609"/>
                  </a:moveTo>
                  <a:lnTo>
                    <a:pt x="34024" y="835132"/>
                  </a:lnTo>
                  <a:cubicBezTo>
                    <a:pt x="68048" y="822760"/>
                    <a:pt x="213423" y="776364"/>
                    <a:pt x="281471" y="763991"/>
                  </a:cubicBezTo>
                  <a:cubicBezTo>
                    <a:pt x="303122" y="757805"/>
                    <a:pt x="334053" y="754712"/>
                    <a:pt x="374263" y="754712"/>
                  </a:cubicBezTo>
                  <a:cubicBezTo>
                    <a:pt x="426845" y="754712"/>
                    <a:pt x="482521" y="760898"/>
                    <a:pt x="501080" y="760898"/>
                  </a:cubicBezTo>
                  <a:lnTo>
                    <a:pt x="501080" y="15465"/>
                  </a:lnTo>
                  <a:cubicBezTo>
                    <a:pt x="497987" y="15465"/>
                    <a:pt x="494893" y="15465"/>
                    <a:pt x="491800" y="15465"/>
                  </a:cubicBezTo>
                  <a:cubicBezTo>
                    <a:pt x="417566" y="15465"/>
                    <a:pt x="163933" y="30931"/>
                    <a:pt x="12372" y="219609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4" name="任意多边形: 形状 10053">
              <a:extLst>
                <a:ext uri="{FF2B5EF4-FFF2-40B4-BE49-F238E27FC236}">
                  <a16:creationId xmlns:a16="http://schemas.microsoft.com/office/drawing/2014/main" id="{F7C2E3EE-4D9E-4AFA-9394-9D75317D7717}"/>
                </a:ext>
              </a:extLst>
            </p:cNvPr>
            <p:cNvSpPr/>
            <p:nvPr/>
          </p:nvSpPr>
          <p:spPr>
            <a:xfrm>
              <a:off x="2434255" y="5367134"/>
              <a:ext cx="154654" cy="866063"/>
            </a:xfrm>
            <a:custGeom>
              <a:avLst/>
              <a:gdLst>
                <a:gd name="connsiteX0" fmla="*/ 160840 w 154654"/>
                <a:gd name="connsiteY0" fmla="*/ 241260 h 866063"/>
                <a:gd name="connsiteX1" fmla="*/ 0 w 154654"/>
                <a:gd name="connsiteY1" fmla="*/ 0 h 866063"/>
                <a:gd name="connsiteX2" fmla="*/ 0 w 154654"/>
                <a:gd name="connsiteY2" fmla="*/ 757805 h 866063"/>
                <a:gd name="connsiteX3" fmla="*/ 154654 w 154654"/>
                <a:gd name="connsiteY3" fmla="*/ 890808 h 86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866063">
                  <a:moveTo>
                    <a:pt x="160840" y="241260"/>
                  </a:moveTo>
                  <a:lnTo>
                    <a:pt x="0" y="0"/>
                  </a:lnTo>
                  <a:lnTo>
                    <a:pt x="0" y="757805"/>
                  </a:lnTo>
                  <a:lnTo>
                    <a:pt x="154654" y="890808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5" name="任意多边形: 形状 10054">
              <a:extLst>
                <a:ext uri="{FF2B5EF4-FFF2-40B4-BE49-F238E27FC236}">
                  <a16:creationId xmlns:a16="http://schemas.microsoft.com/office/drawing/2014/main" id="{3D8368FE-DE79-4B2F-A34B-35BBA1E56C93}"/>
                </a:ext>
              </a:extLst>
            </p:cNvPr>
            <p:cNvSpPr/>
            <p:nvPr/>
          </p:nvSpPr>
          <p:spPr>
            <a:xfrm>
              <a:off x="3028128" y="3177231"/>
              <a:ext cx="340239" cy="927925"/>
            </a:xfrm>
            <a:custGeom>
              <a:avLst/>
              <a:gdLst>
                <a:gd name="connsiteX0" fmla="*/ 368077 w 340239"/>
                <a:gd name="connsiteY0" fmla="*/ 931018 h 927924"/>
                <a:gd name="connsiteX1" fmla="*/ 0 w 340239"/>
                <a:gd name="connsiteY1" fmla="*/ 931018 h 927924"/>
                <a:gd name="connsiteX2" fmla="*/ 0 w 340239"/>
                <a:gd name="connsiteY2" fmla="*/ 0 h 927924"/>
                <a:gd name="connsiteX3" fmla="*/ 368077 w 340239"/>
                <a:gd name="connsiteY3" fmla="*/ 157747 h 92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239" h="927924">
                  <a:moveTo>
                    <a:pt x="368077" y="931018"/>
                  </a:moveTo>
                  <a:lnTo>
                    <a:pt x="0" y="931018"/>
                  </a:lnTo>
                  <a:lnTo>
                    <a:pt x="0" y="0"/>
                  </a:lnTo>
                  <a:lnTo>
                    <a:pt x="368077" y="157747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6" name="任意多边形: 形状 10055">
              <a:extLst>
                <a:ext uri="{FF2B5EF4-FFF2-40B4-BE49-F238E27FC236}">
                  <a16:creationId xmlns:a16="http://schemas.microsoft.com/office/drawing/2014/main" id="{AD814EF9-05FB-4989-A325-BF9D02319A21}"/>
                </a:ext>
              </a:extLst>
            </p:cNvPr>
            <p:cNvSpPr/>
            <p:nvPr/>
          </p:nvSpPr>
          <p:spPr>
            <a:xfrm>
              <a:off x="1388793" y="3996898"/>
              <a:ext cx="247447" cy="61862"/>
            </a:xfrm>
            <a:custGeom>
              <a:avLst/>
              <a:gdLst>
                <a:gd name="connsiteX0" fmla="*/ 0 w 247446"/>
                <a:gd name="connsiteY0" fmla="*/ 0 h 61861"/>
                <a:gd name="connsiteX1" fmla="*/ 262912 w 247446"/>
                <a:gd name="connsiteY1" fmla="*/ 0 h 61861"/>
                <a:gd name="connsiteX2" fmla="*/ 262912 w 247446"/>
                <a:gd name="connsiteY2" fmla="*/ 86606 h 61861"/>
                <a:gd name="connsiteX3" fmla="*/ 0 w 247446"/>
                <a:gd name="connsiteY3" fmla="*/ 8660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0"/>
                  </a:moveTo>
                  <a:lnTo>
                    <a:pt x="262912" y="0"/>
                  </a:lnTo>
                  <a:lnTo>
                    <a:pt x="262912" y="86606"/>
                  </a:lnTo>
                  <a:lnTo>
                    <a:pt x="0" y="86606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7" name="任意多边形: 形状 10056">
              <a:extLst>
                <a:ext uri="{FF2B5EF4-FFF2-40B4-BE49-F238E27FC236}">
                  <a16:creationId xmlns:a16="http://schemas.microsoft.com/office/drawing/2014/main" id="{39D28B51-0380-4F41-880F-A7FCB588D29E}"/>
                </a:ext>
              </a:extLst>
            </p:cNvPr>
            <p:cNvSpPr/>
            <p:nvPr/>
          </p:nvSpPr>
          <p:spPr>
            <a:xfrm>
              <a:off x="2898218" y="3768010"/>
              <a:ext cx="309308" cy="2319812"/>
            </a:xfrm>
            <a:custGeom>
              <a:avLst/>
              <a:gdLst>
                <a:gd name="connsiteX0" fmla="*/ 0 w 309308"/>
                <a:gd name="connsiteY0" fmla="*/ 0 h 2319812"/>
                <a:gd name="connsiteX1" fmla="*/ 337146 w 309308"/>
                <a:gd name="connsiteY1" fmla="*/ 0 h 2319812"/>
                <a:gd name="connsiteX2" fmla="*/ 337146 w 309308"/>
                <a:gd name="connsiteY2" fmla="*/ 2347650 h 2319812"/>
                <a:gd name="connsiteX3" fmla="*/ 0 w 309308"/>
                <a:gd name="connsiteY3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8" h="2319812">
                  <a:moveTo>
                    <a:pt x="0" y="0"/>
                  </a:moveTo>
                  <a:lnTo>
                    <a:pt x="337146" y="0"/>
                  </a:lnTo>
                  <a:lnTo>
                    <a:pt x="337146" y="2347650"/>
                  </a:lnTo>
                  <a:lnTo>
                    <a:pt x="0" y="2347650"/>
                  </a:lnTo>
                  <a:close/>
                </a:path>
              </a:pathLst>
            </a:custGeom>
            <a:solidFill>
              <a:srgbClr val="E5D9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8" name="任意多边形: 形状 10057">
              <a:extLst>
                <a:ext uri="{FF2B5EF4-FFF2-40B4-BE49-F238E27FC236}">
                  <a16:creationId xmlns:a16="http://schemas.microsoft.com/office/drawing/2014/main" id="{35135AFE-8886-4CB7-A54C-1EC3BD0F438A}"/>
                </a:ext>
              </a:extLst>
            </p:cNvPr>
            <p:cNvSpPr/>
            <p:nvPr/>
          </p:nvSpPr>
          <p:spPr>
            <a:xfrm>
              <a:off x="2892032" y="3721614"/>
              <a:ext cx="185585" cy="2319812"/>
            </a:xfrm>
            <a:custGeom>
              <a:avLst/>
              <a:gdLst>
                <a:gd name="connsiteX0" fmla="*/ 188678 w 185585"/>
                <a:gd name="connsiteY0" fmla="*/ 2347650 h 2319812"/>
                <a:gd name="connsiteX1" fmla="*/ 0 w 185585"/>
                <a:gd name="connsiteY1" fmla="*/ 2347650 h 2319812"/>
                <a:gd name="connsiteX2" fmla="*/ 0 w 185585"/>
                <a:gd name="connsiteY2" fmla="*/ 0 h 2319812"/>
                <a:gd name="connsiteX3" fmla="*/ 80420 w 185585"/>
                <a:gd name="connsiteY3" fmla="*/ 550569 h 2319812"/>
                <a:gd name="connsiteX4" fmla="*/ 188678 w 185585"/>
                <a:gd name="connsiteY4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85" h="2319812">
                  <a:moveTo>
                    <a:pt x="188678" y="2347650"/>
                  </a:moveTo>
                  <a:lnTo>
                    <a:pt x="0" y="2347650"/>
                  </a:lnTo>
                  <a:lnTo>
                    <a:pt x="0" y="0"/>
                  </a:lnTo>
                  <a:cubicBezTo>
                    <a:pt x="0" y="0"/>
                    <a:pt x="46396" y="0"/>
                    <a:pt x="80420" y="550569"/>
                  </a:cubicBezTo>
                  <a:cubicBezTo>
                    <a:pt x="108258" y="1017624"/>
                    <a:pt x="170120" y="2047621"/>
                    <a:pt x="188678" y="2347650"/>
                  </a:cubicBezTo>
                  <a:close/>
                </a:path>
              </a:pathLst>
            </a:custGeom>
            <a:solidFill>
              <a:srgbClr val="B6AE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59" name="任意多边形: 形状 10058">
              <a:extLst>
                <a:ext uri="{FF2B5EF4-FFF2-40B4-BE49-F238E27FC236}">
                  <a16:creationId xmlns:a16="http://schemas.microsoft.com/office/drawing/2014/main" id="{89006BAA-9746-45A8-9CBE-C50778B0F469}"/>
                </a:ext>
              </a:extLst>
            </p:cNvPr>
            <p:cNvSpPr/>
            <p:nvPr/>
          </p:nvSpPr>
          <p:spPr>
            <a:xfrm>
              <a:off x="2895125" y="4114435"/>
              <a:ext cx="309308" cy="123723"/>
            </a:xfrm>
            <a:custGeom>
              <a:avLst/>
              <a:gdLst>
                <a:gd name="connsiteX0" fmla="*/ 334053 w 309308"/>
                <a:gd name="connsiteY0" fmla="*/ 105165 h 123723"/>
                <a:gd name="connsiteX1" fmla="*/ 68048 w 309308"/>
                <a:gd name="connsiteY1" fmla="*/ 105165 h 123723"/>
                <a:gd name="connsiteX2" fmla="*/ 0 w 309308"/>
                <a:gd name="connsiteY2" fmla="*/ 142282 h 123723"/>
                <a:gd name="connsiteX3" fmla="*/ 0 w 309308"/>
                <a:gd name="connsiteY3" fmla="*/ 40210 h 123723"/>
                <a:gd name="connsiteX4" fmla="*/ 64955 w 309308"/>
                <a:gd name="connsiteY4" fmla="*/ 0 h 123723"/>
                <a:gd name="connsiteX5" fmla="*/ 334053 w 309308"/>
                <a:gd name="connsiteY5" fmla="*/ 0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123723">
                  <a:moveTo>
                    <a:pt x="334053" y="105165"/>
                  </a:moveTo>
                  <a:lnTo>
                    <a:pt x="68048" y="105165"/>
                  </a:lnTo>
                  <a:lnTo>
                    <a:pt x="0" y="142282"/>
                  </a:lnTo>
                  <a:lnTo>
                    <a:pt x="0" y="40210"/>
                  </a:lnTo>
                  <a:lnTo>
                    <a:pt x="64955" y="0"/>
                  </a:lnTo>
                  <a:lnTo>
                    <a:pt x="334053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0" name="任意多边形: 形状 10059">
              <a:extLst>
                <a:ext uri="{FF2B5EF4-FFF2-40B4-BE49-F238E27FC236}">
                  <a16:creationId xmlns:a16="http://schemas.microsoft.com/office/drawing/2014/main" id="{B77D3FAB-586B-4C4F-9DEA-B0C2D1930492}"/>
                </a:ext>
              </a:extLst>
            </p:cNvPr>
            <p:cNvSpPr/>
            <p:nvPr/>
          </p:nvSpPr>
          <p:spPr>
            <a:xfrm>
              <a:off x="2898218" y="4250531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71141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64955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71141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64955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1" name="任意多边形: 形状 10060">
              <a:extLst>
                <a:ext uri="{FF2B5EF4-FFF2-40B4-BE49-F238E27FC236}">
                  <a16:creationId xmlns:a16="http://schemas.microsoft.com/office/drawing/2014/main" id="{2BF2F5EB-4169-4FD2-9A34-E516C829CA13}"/>
                </a:ext>
              </a:extLst>
            </p:cNvPr>
            <p:cNvSpPr/>
            <p:nvPr/>
          </p:nvSpPr>
          <p:spPr>
            <a:xfrm>
              <a:off x="2898218" y="4358789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77327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74234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77327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74234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2" name="任意多边形: 形状 10061">
              <a:extLst>
                <a:ext uri="{FF2B5EF4-FFF2-40B4-BE49-F238E27FC236}">
                  <a16:creationId xmlns:a16="http://schemas.microsoft.com/office/drawing/2014/main" id="{E3AFAED7-1D8C-4B8E-A2A2-E59AA4C834A4}"/>
                </a:ext>
              </a:extLst>
            </p:cNvPr>
            <p:cNvSpPr/>
            <p:nvPr/>
          </p:nvSpPr>
          <p:spPr>
            <a:xfrm>
              <a:off x="2898218" y="4467047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86606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80420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86606" y="58769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80420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3" name="任意多边形: 形状 10062">
              <a:extLst>
                <a:ext uri="{FF2B5EF4-FFF2-40B4-BE49-F238E27FC236}">
                  <a16:creationId xmlns:a16="http://schemas.microsoft.com/office/drawing/2014/main" id="{F520F48E-FD73-4044-9CE6-D022A2ECDF98}"/>
                </a:ext>
              </a:extLst>
            </p:cNvPr>
            <p:cNvSpPr/>
            <p:nvPr/>
          </p:nvSpPr>
          <p:spPr>
            <a:xfrm>
              <a:off x="2898218" y="4575305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92793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89699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92793" y="58769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89699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4" name="任意多边形: 形状 10063">
              <a:extLst>
                <a:ext uri="{FF2B5EF4-FFF2-40B4-BE49-F238E27FC236}">
                  <a16:creationId xmlns:a16="http://schemas.microsoft.com/office/drawing/2014/main" id="{3EE7A904-DF47-4C0B-9D0F-CD7E6B21BFE6}"/>
                </a:ext>
              </a:extLst>
            </p:cNvPr>
            <p:cNvSpPr/>
            <p:nvPr/>
          </p:nvSpPr>
          <p:spPr>
            <a:xfrm>
              <a:off x="2898218" y="4683563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98979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95886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98979" y="58769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95886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5" name="任意多边形: 形状 10064">
              <a:extLst>
                <a:ext uri="{FF2B5EF4-FFF2-40B4-BE49-F238E27FC236}">
                  <a16:creationId xmlns:a16="http://schemas.microsoft.com/office/drawing/2014/main" id="{8ACB4DF2-D997-4B58-B5EA-A54DEB9E93E4}"/>
                </a:ext>
              </a:extLst>
            </p:cNvPr>
            <p:cNvSpPr/>
            <p:nvPr/>
          </p:nvSpPr>
          <p:spPr>
            <a:xfrm>
              <a:off x="2898218" y="4794913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08258 w 309308"/>
                <a:gd name="connsiteY1" fmla="*/ 55675 h 92792"/>
                <a:gd name="connsiteX2" fmla="*/ 0 w 309308"/>
                <a:gd name="connsiteY2" fmla="*/ 92792 h 92792"/>
                <a:gd name="connsiteX3" fmla="*/ 0 w 309308"/>
                <a:gd name="connsiteY3" fmla="*/ 37117 h 92792"/>
                <a:gd name="connsiteX4" fmla="*/ 105165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08258" y="55675"/>
                  </a:lnTo>
                  <a:lnTo>
                    <a:pt x="0" y="92792"/>
                  </a:lnTo>
                  <a:lnTo>
                    <a:pt x="0" y="37117"/>
                  </a:lnTo>
                  <a:lnTo>
                    <a:pt x="105165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6" name="任意多边形: 形状 10065">
              <a:extLst>
                <a:ext uri="{FF2B5EF4-FFF2-40B4-BE49-F238E27FC236}">
                  <a16:creationId xmlns:a16="http://schemas.microsoft.com/office/drawing/2014/main" id="{06CFF280-BE44-46D3-BDFE-9CF9B5593B9E}"/>
                </a:ext>
              </a:extLst>
            </p:cNvPr>
            <p:cNvSpPr/>
            <p:nvPr/>
          </p:nvSpPr>
          <p:spPr>
            <a:xfrm>
              <a:off x="2898218" y="4903171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14444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11351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14444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11351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7" name="任意多边形: 形状 10066">
              <a:extLst>
                <a:ext uri="{FF2B5EF4-FFF2-40B4-BE49-F238E27FC236}">
                  <a16:creationId xmlns:a16="http://schemas.microsoft.com/office/drawing/2014/main" id="{E3F70DB0-6B23-4484-8605-9BE316960B8B}"/>
                </a:ext>
              </a:extLst>
            </p:cNvPr>
            <p:cNvSpPr/>
            <p:nvPr/>
          </p:nvSpPr>
          <p:spPr>
            <a:xfrm>
              <a:off x="2898218" y="5011429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23723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20630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23723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20630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8" name="任意多边形: 形状 10067">
              <a:extLst>
                <a:ext uri="{FF2B5EF4-FFF2-40B4-BE49-F238E27FC236}">
                  <a16:creationId xmlns:a16="http://schemas.microsoft.com/office/drawing/2014/main" id="{B88F2C8B-77E9-4C36-A2D6-3150003D35F0}"/>
                </a:ext>
              </a:extLst>
            </p:cNvPr>
            <p:cNvSpPr/>
            <p:nvPr/>
          </p:nvSpPr>
          <p:spPr>
            <a:xfrm>
              <a:off x="2898218" y="5119687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129910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26817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129910" y="58769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26817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69" name="任意多边形: 形状 10068">
              <a:extLst>
                <a:ext uri="{FF2B5EF4-FFF2-40B4-BE49-F238E27FC236}">
                  <a16:creationId xmlns:a16="http://schemas.microsoft.com/office/drawing/2014/main" id="{527BDF56-9803-4F39-8A71-4A8CA6D0A7C9}"/>
                </a:ext>
              </a:extLst>
            </p:cNvPr>
            <p:cNvSpPr/>
            <p:nvPr/>
          </p:nvSpPr>
          <p:spPr>
            <a:xfrm>
              <a:off x="2898218" y="5227945"/>
              <a:ext cx="309308" cy="92792"/>
            </a:xfrm>
            <a:custGeom>
              <a:avLst/>
              <a:gdLst>
                <a:gd name="connsiteX0" fmla="*/ 330960 w 309308"/>
                <a:gd name="connsiteY0" fmla="*/ 58768 h 92792"/>
                <a:gd name="connsiteX1" fmla="*/ 139189 w 309308"/>
                <a:gd name="connsiteY1" fmla="*/ 58768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36096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8"/>
                  </a:moveTo>
                  <a:lnTo>
                    <a:pt x="139189" y="58768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36096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0" name="任意多边形: 形状 10069">
              <a:extLst>
                <a:ext uri="{FF2B5EF4-FFF2-40B4-BE49-F238E27FC236}">
                  <a16:creationId xmlns:a16="http://schemas.microsoft.com/office/drawing/2014/main" id="{87BDB4F3-1755-4654-BE1B-012219E06FFE}"/>
                </a:ext>
              </a:extLst>
            </p:cNvPr>
            <p:cNvSpPr/>
            <p:nvPr/>
          </p:nvSpPr>
          <p:spPr>
            <a:xfrm>
              <a:off x="2898218" y="5336203"/>
              <a:ext cx="309308" cy="92792"/>
            </a:xfrm>
            <a:custGeom>
              <a:avLst/>
              <a:gdLst>
                <a:gd name="connsiteX0" fmla="*/ 330960 w 309308"/>
                <a:gd name="connsiteY0" fmla="*/ 58768 h 92792"/>
                <a:gd name="connsiteX1" fmla="*/ 145375 w 309308"/>
                <a:gd name="connsiteY1" fmla="*/ 58768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42282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8"/>
                  </a:moveTo>
                  <a:lnTo>
                    <a:pt x="145375" y="58768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42282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1" name="任意多边形: 形状 10070">
              <a:extLst>
                <a:ext uri="{FF2B5EF4-FFF2-40B4-BE49-F238E27FC236}">
                  <a16:creationId xmlns:a16="http://schemas.microsoft.com/office/drawing/2014/main" id="{A6A4672F-2DE2-4FFE-9024-BF64352486BE}"/>
                </a:ext>
              </a:extLst>
            </p:cNvPr>
            <p:cNvSpPr/>
            <p:nvPr/>
          </p:nvSpPr>
          <p:spPr>
            <a:xfrm>
              <a:off x="2898218" y="5444461"/>
              <a:ext cx="309308" cy="92792"/>
            </a:xfrm>
            <a:custGeom>
              <a:avLst/>
              <a:gdLst>
                <a:gd name="connsiteX0" fmla="*/ 330960 w 309308"/>
                <a:gd name="connsiteY0" fmla="*/ 58768 h 92792"/>
                <a:gd name="connsiteX1" fmla="*/ 154654 w 309308"/>
                <a:gd name="connsiteY1" fmla="*/ 58768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51561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8"/>
                  </a:moveTo>
                  <a:lnTo>
                    <a:pt x="154654" y="58768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51561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2" name="任意多边形: 形状 10071">
              <a:extLst>
                <a:ext uri="{FF2B5EF4-FFF2-40B4-BE49-F238E27FC236}">
                  <a16:creationId xmlns:a16="http://schemas.microsoft.com/office/drawing/2014/main" id="{78496F91-7DA6-4183-AF0C-D40445BC9C38}"/>
                </a:ext>
              </a:extLst>
            </p:cNvPr>
            <p:cNvSpPr/>
            <p:nvPr/>
          </p:nvSpPr>
          <p:spPr>
            <a:xfrm>
              <a:off x="2898218" y="5555812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60840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57747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60840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57747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3" name="任意多边形: 形状 10072">
              <a:extLst>
                <a:ext uri="{FF2B5EF4-FFF2-40B4-BE49-F238E27FC236}">
                  <a16:creationId xmlns:a16="http://schemas.microsoft.com/office/drawing/2014/main" id="{E16722E5-9FDA-4CF9-9C73-1AE3A1CCAACD}"/>
                </a:ext>
              </a:extLst>
            </p:cNvPr>
            <p:cNvSpPr/>
            <p:nvPr/>
          </p:nvSpPr>
          <p:spPr>
            <a:xfrm>
              <a:off x="2898218" y="5664070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70120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67027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70120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67027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4" name="任意多边形: 形状 10073">
              <a:extLst>
                <a:ext uri="{FF2B5EF4-FFF2-40B4-BE49-F238E27FC236}">
                  <a16:creationId xmlns:a16="http://schemas.microsoft.com/office/drawing/2014/main" id="{EF3B533C-2A2A-4DCD-AADE-128917D49C0C}"/>
                </a:ext>
              </a:extLst>
            </p:cNvPr>
            <p:cNvSpPr/>
            <p:nvPr/>
          </p:nvSpPr>
          <p:spPr>
            <a:xfrm>
              <a:off x="2898218" y="5772328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176306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73213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176306" y="58769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73213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5" name="任意多边形: 形状 10074">
              <a:extLst>
                <a:ext uri="{FF2B5EF4-FFF2-40B4-BE49-F238E27FC236}">
                  <a16:creationId xmlns:a16="http://schemas.microsoft.com/office/drawing/2014/main" id="{C12F1F42-B19D-4297-AC4D-DCD1E3B867F0}"/>
                </a:ext>
              </a:extLst>
            </p:cNvPr>
            <p:cNvSpPr/>
            <p:nvPr/>
          </p:nvSpPr>
          <p:spPr>
            <a:xfrm>
              <a:off x="2898218" y="5880586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185585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79399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185585" y="58769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79399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6" name="任意多边形: 形状 10075">
              <a:extLst>
                <a:ext uri="{FF2B5EF4-FFF2-40B4-BE49-F238E27FC236}">
                  <a16:creationId xmlns:a16="http://schemas.microsoft.com/office/drawing/2014/main" id="{76EF6727-AD56-4886-9575-92E8903202FF}"/>
                </a:ext>
              </a:extLst>
            </p:cNvPr>
            <p:cNvSpPr/>
            <p:nvPr/>
          </p:nvSpPr>
          <p:spPr>
            <a:xfrm>
              <a:off x="3229178" y="3721614"/>
              <a:ext cx="309308" cy="2319812"/>
            </a:xfrm>
            <a:custGeom>
              <a:avLst/>
              <a:gdLst>
                <a:gd name="connsiteX0" fmla="*/ 0 w 309308"/>
                <a:gd name="connsiteY0" fmla="*/ 0 h 2319812"/>
                <a:gd name="connsiteX1" fmla="*/ 337146 w 309308"/>
                <a:gd name="connsiteY1" fmla="*/ 0 h 2319812"/>
                <a:gd name="connsiteX2" fmla="*/ 337146 w 309308"/>
                <a:gd name="connsiteY2" fmla="*/ 2347650 h 2319812"/>
                <a:gd name="connsiteX3" fmla="*/ 0 w 309308"/>
                <a:gd name="connsiteY3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8" h="2319812">
                  <a:moveTo>
                    <a:pt x="0" y="0"/>
                  </a:moveTo>
                  <a:lnTo>
                    <a:pt x="337146" y="0"/>
                  </a:lnTo>
                  <a:lnTo>
                    <a:pt x="337146" y="2347650"/>
                  </a:lnTo>
                  <a:lnTo>
                    <a:pt x="0" y="2347650"/>
                  </a:lnTo>
                  <a:close/>
                </a:path>
              </a:pathLst>
            </a:custGeom>
            <a:solidFill>
              <a:srgbClr val="E5D9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7" name="任意多边形: 形状 10076">
              <a:extLst>
                <a:ext uri="{FF2B5EF4-FFF2-40B4-BE49-F238E27FC236}">
                  <a16:creationId xmlns:a16="http://schemas.microsoft.com/office/drawing/2014/main" id="{2138FE15-365A-448D-AE6C-29DB3ECF33E6}"/>
                </a:ext>
              </a:extLst>
            </p:cNvPr>
            <p:cNvSpPr/>
            <p:nvPr/>
          </p:nvSpPr>
          <p:spPr>
            <a:xfrm>
              <a:off x="3374553" y="3721614"/>
              <a:ext cx="185585" cy="2319812"/>
            </a:xfrm>
            <a:custGeom>
              <a:avLst/>
              <a:gdLst>
                <a:gd name="connsiteX0" fmla="*/ 0 w 185585"/>
                <a:gd name="connsiteY0" fmla="*/ 2347650 h 2319812"/>
                <a:gd name="connsiteX1" fmla="*/ 188678 w 185585"/>
                <a:gd name="connsiteY1" fmla="*/ 2347650 h 2319812"/>
                <a:gd name="connsiteX2" fmla="*/ 188678 w 185585"/>
                <a:gd name="connsiteY2" fmla="*/ 0 h 2319812"/>
                <a:gd name="connsiteX3" fmla="*/ 108258 w 185585"/>
                <a:gd name="connsiteY3" fmla="*/ 550569 h 2319812"/>
                <a:gd name="connsiteX4" fmla="*/ 0 w 185585"/>
                <a:gd name="connsiteY4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85" h="2319812">
                  <a:moveTo>
                    <a:pt x="0" y="2347650"/>
                  </a:moveTo>
                  <a:lnTo>
                    <a:pt x="188678" y="2347650"/>
                  </a:lnTo>
                  <a:lnTo>
                    <a:pt x="188678" y="0"/>
                  </a:lnTo>
                  <a:cubicBezTo>
                    <a:pt x="188678" y="0"/>
                    <a:pt x="142282" y="0"/>
                    <a:pt x="108258" y="550569"/>
                  </a:cubicBezTo>
                  <a:cubicBezTo>
                    <a:pt x="80420" y="1017624"/>
                    <a:pt x="18558" y="2047621"/>
                    <a:pt x="0" y="2347650"/>
                  </a:cubicBezTo>
                  <a:close/>
                </a:path>
              </a:pathLst>
            </a:custGeom>
            <a:solidFill>
              <a:srgbClr val="B6AE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8" name="任意多边形: 形状 10077">
              <a:extLst>
                <a:ext uri="{FF2B5EF4-FFF2-40B4-BE49-F238E27FC236}">
                  <a16:creationId xmlns:a16="http://schemas.microsoft.com/office/drawing/2014/main" id="{D937A6C6-AC02-4335-9C58-83112EC81397}"/>
                </a:ext>
              </a:extLst>
            </p:cNvPr>
            <p:cNvSpPr/>
            <p:nvPr/>
          </p:nvSpPr>
          <p:spPr>
            <a:xfrm>
              <a:off x="3229178" y="4114435"/>
              <a:ext cx="309308" cy="123723"/>
            </a:xfrm>
            <a:custGeom>
              <a:avLst/>
              <a:gdLst>
                <a:gd name="connsiteX0" fmla="*/ 0 w 309308"/>
                <a:gd name="connsiteY0" fmla="*/ 105165 h 123723"/>
                <a:gd name="connsiteX1" fmla="*/ 262912 w 309308"/>
                <a:gd name="connsiteY1" fmla="*/ 105165 h 123723"/>
                <a:gd name="connsiteX2" fmla="*/ 334053 w 309308"/>
                <a:gd name="connsiteY2" fmla="*/ 142282 h 123723"/>
                <a:gd name="connsiteX3" fmla="*/ 334053 w 309308"/>
                <a:gd name="connsiteY3" fmla="*/ 40210 h 123723"/>
                <a:gd name="connsiteX4" fmla="*/ 266005 w 309308"/>
                <a:gd name="connsiteY4" fmla="*/ 0 h 123723"/>
                <a:gd name="connsiteX5" fmla="*/ 0 w 309308"/>
                <a:gd name="connsiteY5" fmla="*/ 0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123723">
                  <a:moveTo>
                    <a:pt x="0" y="105165"/>
                  </a:moveTo>
                  <a:lnTo>
                    <a:pt x="262912" y="105165"/>
                  </a:lnTo>
                  <a:lnTo>
                    <a:pt x="334053" y="142282"/>
                  </a:lnTo>
                  <a:lnTo>
                    <a:pt x="334053" y="40210"/>
                  </a:ln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79" name="任意多边形: 形状 10078">
              <a:extLst>
                <a:ext uri="{FF2B5EF4-FFF2-40B4-BE49-F238E27FC236}">
                  <a16:creationId xmlns:a16="http://schemas.microsoft.com/office/drawing/2014/main" id="{6EDF6761-D54B-4FF8-950F-691B793C22D1}"/>
                </a:ext>
              </a:extLst>
            </p:cNvPr>
            <p:cNvSpPr/>
            <p:nvPr/>
          </p:nvSpPr>
          <p:spPr>
            <a:xfrm>
              <a:off x="3229178" y="4250531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59819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62912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59819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629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0" name="任意多边形: 形状 10079">
              <a:extLst>
                <a:ext uri="{FF2B5EF4-FFF2-40B4-BE49-F238E27FC236}">
                  <a16:creationId xmlns:a16="http://schemas.microsoft.com/office/drawing/2014/main" id="{1151C093-48D5-499F-8EF8-3FC710B6F489}"/>
                </a:ext>
              </a:extLst>
            </p:cNvPr>
            <p:cNvSpPr/>
            <p:nvPr/>
          </p:nvSpPr>
          <p:spPr>
            <a:xfrm>
              <a:off x="3229178" y="4358789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53633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56726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53633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567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1" name="任意多边形: 形状 10080">
              <a:extLst>
                <a:ext uri="{FF2B5EF4-FFF2-40B4-BE49-F238E27FC236}">
                  <a16:creationId xmlns:a16="http://schemas.microsoft.com/office/drawing/2014/main" id="{A488990C-7CD7-479D-90E3-3D41C5E4A307}"/>
                </a:ext>
              </a:extLst>
            </p:cNvPr>
            <p:cNvSpPr/>
            <p:nvPr/>
          </p:nvSpPr>
          <p:spPr>
            <a:xfrm>
              <a:off x="3229178" y="4467047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244354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47447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244354" y="58769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4744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2" name="任意多边形: 形状 10081">
              <a:extLst>
                <a:ext uri="{FF2B5EF4-FFF2-40B4-BE49-F238E27FC236}">
                  <a16:creationId xmlns:a16="http://schemas.microsoft.com/office/drawing/2014/main" id="{25A8FB7C-9878-47E4-BECF-8E78286A41AC}"/>
                </a:ext>
              </a:extLst>
            </p:cNvPr>
            <p:cNvSpPr/>
            <p:nvPr/>
          </p:nvSpPr>
          <p:spPr>
            <a:xfrm>
              <a:off x="3229178" y="4575305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238167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24126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238167" y="58769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2412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3" name="任意多边形: 形状 10082">
              <a:extLst>
                <a:ext uri="{FF2B5EF4-FFF2-40B4-BE49-F238E27FC236}">
                  <a16:creationId xmlns:a16="http://schemas.microsoft.com/office/drawing/2014/main" id="{E15DF0DC-9C1A-4919-801B-D2C83D206E61}"/>
                </a:ext>
              </a:extLst>
            </p:cNvPr>
            <p:cNvSpPr/>
            <p:nvPr/>
          </p:nvSpPr>
          <p:spPr>
            <a:xfrm>
              <a:off x="3229178" y="4683563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228888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231981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228888" y="58769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23198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4" name="任意多边形: 形状 10083">
              <a:extLst>
                <a:ext uri="{FF2B5EF4-FFF2-40B4-BE49-F238E27FC236}">
                  <a16:creationId xmlns:a16="http://schemas.microsoft.com/office/drawing/2014/main" id="{EC55C2A8-4988-4778-930F-CFE06EB5C3D8}"/>
                </a:ext>
              </a:extLst>
            </p:cNvPr>
            <p:cNvSpPr/>
            <p:nvPr/>
          </p:nvSpPr>
          <p:spPr>
            <a:xfrm>
              <a:off x="3229178" y="4794913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22702 w 309308"/>
                <a:gd name="connsiteY1" fmla="*/ 55675 h 92792"/>
                <a:gd name="connsiteX2" fmla="*/ 327867 w 309308"/>
                <a:gd name="connsiteY2" fmla="*/ 92792 h 92792"/>
                <a:gd name="connsiteX3" fmla="*/ 327867 w 309308"/>
                <a:gd name="connsiteY3" fmla="*/ 37117 h 92792"/>
                <a:gd name="connsiteX4" fmla="*/ 225795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22702" y="55675"/>
                  </a:lnTo>
                  <a:lnTo>
                    <a:pt x="327867" y="92792"/>
                  </a:lnTo>
                  <a:lnTo>
                    <a:pt x="327867" y="37117"/>
                  </a:lnTo>
                  <a:lnTo>
                    <a:pt x="2257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5" name="任意多边形: 形状 10084">
              <a:extLst>
                <a:ext uri="{FF2B5EF4-FFF2-40B4-BE49-F238E27FC236}">
                  <a16:creationId xmlns:a16="http://schemas.microsoft.com/office/drawing/2014/main" id="{44190DE4-220C-4BAC-8ABE-9AF22FED80FA}"/>
                </a:ext>
              </a:extLst>
            </p:cNvPr>
            <p:cNvSpPr/>
            <p:nvPr/>
          </p:nvSpPr>
          <p:spPr>
            <a:xfrm>
              <a:off x="3229178" y="4903171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13423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16516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13423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165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6" name="任意多边形: 形状 10085">
              <a:extLst>
                <a:ext uri="{FF2B5EF4-FFF2-40B4-BE49-F238E27FC236}">
                  <a16:creationId xmlns:a16="http://schemas.microsoft.com/office/drawing/2014/main" id="{F627C14B-772F-4508-8598-D5156FD05312}"/>
                </a:ext>
              </a:extLst>
            </p:cNvPr>
            <p:cNvSpPr/>
            <p:nvPr/>
          </p:nvSpPr>
          <p:spPr>
            <a:xfrm>
              <a:off x="3229178" y="5011429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07236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1033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07236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103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7" name="任意多边形: 形状 10086">
              <a:extLst>
                <a:ext uri="{FF2B5EF4-FFF2-40B4-BE49-F238E27FC236}">
                  <a16:creationId xmlns:a16="http://schemas.microsoft.com/office/drawing/2014/main" id="{E0BB1132-8E9E-4B5D-AA20-F7942B7E134C}"/>
                </a:ext>
              </a:extLst>
            </p:cNvPr>
            <p:cNvSpPr/>
            <p:nvPr/>
          </p:nvSpPr>
          <p:spPr>
            <a:xfrm>
              <a:off x="3229178" y="5119687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197957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0105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197957" y="58769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010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8" name="任意多边形: 形状 10087">
              <a:extLst>
                <a:ext uri="{FF2B5EF4-FFF2-40B4-BE49-F238E27FC236}">
                  <a16:creationId xmlns:a16="http://schemas.microsoft.com/office/drawing/2014/main" id="{0A6AA4CD-5137-474C-AB9A-09E7CD0D2F37}"/>
                </a:ext>
              </a:extLst>
            </p:cNvPr>
            <p:cNvSpPr/>
            <p:nvPr/>
          </p:nvSpPr>
          <p:spPr>
            <a:xfrm>
              <a:off x="3229178" y="5227945"/>
              <a:ext cx="309308" cy="92792"/>
            </a:xfrm>
            <a:custGeom>
              <a:avLst/>
              <a:gdLst>
                <a:gd name="connsiteX0" fmla="*/ 0 w 309308"/>
                <a:gd name="connsiteY0" fmla="*/ 58768 h 92792"/>
                <a:gd name="connsiteX1" fmla="*/ 191771 w 309308"/>
                <a:gd name="connsiteY1" fmla="*/ 58768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94864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8"/>
                  </a:moveTo>
                  <a:lnTo>
                    <a:pt x="191771" y="58768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9486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89" name="任意多边形: 形状 10088">
              <a:extLst>
                <a:ext uri="{FF2B5EF4-FFF2-40B4-BE49-F238E27FC236}">
                  <a16:creationId xmlns:a16="http://schemas.microsoft.com/office/drawing/2014/main" id="{FE2DE114-5976-425A-A7FB-984D6723464A}"/>
                </a:ext>
              </a:extLst>
            </p:cNvPr>
            <p:cNvSpPr/>
            <p:nvPr/>
          </p:nvSpPr>
          <p:spPr>
            <a:xfrm>
              <a:off x="3229178" y="5336203"/>
              <a:ext cx="309308" cy="92792"/>
            </a:xfrm>
            <a:custGeom>
              <a:avLst/>
              <a:gdLst>
                <a:gd name="connsiteX0" fmla="*/ 0 w 309308"/>
                <a:gd name="connsiteY0" fmla="*/ 58768 h 92792"/>
                <a:gd name="connsiteX1" fmla="*/ 182492 w 309308"/>
                <a:gd name="connsiteY1" fmla="*/ 58768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85585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8"/>
                  </a:moveTo>
                  <a:lnTo>
                    <a:pt x="182492" y="58768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855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0" name="任意多边形: 形状 10089">
              <a:extLst>
                <a:ext uri="{FF2B5EF4-FFF2-40B4-BE49-F238E27FC236}">
                  <a16:creationId xmlns:a16="http://schemas.microsoft.com/office/drawing/2014/main" id="{1EB01738-EFFA-46D0-A633-350EDBBE701F}"/>
                </a:ext>
              </a:extLst>
            </p:cNvPr>
            <p:cNvSpPr/>
            <p:nvPr/>
          </p:nvSpPr>
          <p:spPr>
            <a:xfrm>
              <a:off x="3229178" y="5444461"/>
              <a:ext cx="309308" cy="92792"/>
            </a:xfrm>
            <a:custGeom>
              <a:avLst/>
              <a:gdLst>
                <a:gd name="connsiteX0" fmla="*/ 0 w 309308"/>
                <a:gd name="connsiteY0" fmla="*/ 58768 h 92792"/>
                <a:gd name="connsiteX1" fmla="*/ 176306 w 309308"/>
                <a:gd name="connsiteY1" fmla="*/ 58768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79399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8"/>
                  </a:moveTo>
                  <a:lnTo>
                    <a:pt x="176306" y="58768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793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1" name="任意多边形: 形状 10090">
              <a:extLst>
                <a:ext uri="{FF2B5EF4-FFF2-40B4-BE49-F238E27FC236}">
                  <a16:creationId xmlns:a16="http://schemas.microsoft.com/office/drawing/2014/main" id="{5C5BB6E3-E4C5-425C-BF74-023F466D7636}"/>
                </a:ext>
              </a:extLst>
            </p:cNvPr>
            <p:cNvSpPr/>
            <p:nvPr/>
          </p:nvSpPr>
          <p:spPr>
            <a:xfrm>
              <a:off x="3229178" y="5555812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167027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17012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167027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1701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2" name="任意多边形: 形状 10091">
              <a:extLst>
                <a:ext uri="{FF2B5EF4-FFF2-40B4-BE49-F238E27FC236}">
                  <a16:creationId xmlns:a16="http://schemas.microsoft.com/office/drawing/2014/main" id="{E83DD0DA-DF9B-458A-95AA-1008B557C512}"/>
                </a:ext>
              </a:extLst>
            </p:cNvPr>
            <p:cNvSpPr/>
            <p:nvPr/>
          </p:nvSpPr>
          <p:spPr>
            <a:xfrm>
              <a:off x="3229178" y="5664070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160840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163933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160840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16393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3" name="任意多边形: 形状 10092">
              <a:extLst>
                <a:ext uri="{FF2B5EF4-FFF2-40B4-BE49-F238E27FC236}">
                  <a16:creationId xmlns:a16="http://schemas.microsoft.com/office/drawing/2014/main" id="{C54330D5-E9DE-4FC0-A2C7-DE4101924A79}"/>
                </a:ext>
              </a:extLst>
            </p:cNvPr>
            <p:cNvSpPr/>
            <p:nvPr/>
          </p:nvSpPr>
          <p:spPr>
            <a:xfrm>
              <a:off x="3229178" y="5772328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151561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157747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151561" y="58769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15774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4" name="任意多边形: 形状 10093">
              <a:extLst>
                <a:ext uri="{FF2B5EF4-FFF2-40B4-BE49-F238E27FC236}">
                  <a16:creationId xmlns:a16="http://schemas.microsoft.com/office/drawing/2014/main" id="{CA58EEC2-1F85-42C9-A6D6-96E2703087C0}"/>
                </a:ext>
              </a:extLst>
            </p:cNvPr>
            <p:cNvSpPr/>
            <p:nvPr/>
          </p:nvSpPr>
          <p:spPr>
            <a:xfrm>
              <a:off x="3229178" y="5880586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145375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48468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145375" y="58769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484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5" name="任意多边形: 形状 10094">
              <a:extLst>
                <a:ext uri="{FF2B5EF4-FFF2-40B4-BE49-F238E27FC236}">
                  <a16:creationId xmlns:a16="http://schemas.microsoft.com/office/drawing/2014/main" id="{38CCF2DD-273F-48F1-9DE4-9BE6DDBCEF48}"/>
                </a:ext>
              </a:extLst>
            </p:cNvPr>
            <p:cNvSpPr/>
            <p:nvPr/>
          </p:nvSpPr>
          <p:spPr>
            <a:xfrm>
              <a:off x="3782840" y="4733052"/>
              <a:ext cx="154654" cy="154654"/>
            </a:xfrm>
            <a:custGeom>
              <a:avLst/>
              <a:gdLst>
                <a:gd name="connsiteX0" fmla="*/ 0 w 154654"/>
                <a:gd name="connsiteY0" fmla="*/ 0 h 154654"/>
                <a:gd name="connsiteX1" fmla="*/ 154654 w 154654"/>
                <a:gd name="connsiteY1" fmla="*/ 0 h 154654"/>
                <a:gd name="connsiteX2" fmla="*/ 154654 w 154654"/>
                <a:gd name="connsiteY2" fmla="*/ 170120 h 154654"/>
                <a:gd name="connsiteX3" fmla="*/ 0 w 154654"/>
                <a:gd name="connsiteY3" fmla="*/ 170120 h 15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54654">
                  <a:moveTo>
                    <a:pt x="0" y="0"/>
                  </a:moveTo>
                  <a:lnTo>
                    <a:pt x="154654" y="0"/>
                  </a:lnTo>
                  <a:lnTo>
                    <a:pt x="154654" y="170120"/>
                  </a:lnTo>
                  <a:lnTo>
                    <a:pt x="0" y="170120"/>
                  </a:lnTo>
                  <a:close/>
                </a:path>
              </a:pathLst>
            </a:custGeom>
            <a:solidFill>
              <a:srgbClr val="56557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6" name="任意多边形: 形状 10095">
              <a:extLst>
                <a:ext uri="{FF2B5EF4-FFF2-40B4-BE49-F238E27FC236}">
                  <a16:creationId xmlns:a16="http://schemas.microsoft.com/office/drawing/2014/main" id="{115F472F-0114-402F-8949-EB147228A329}"/>
                </a:ext>
              </a:extLst>
            </p:cNvPr>
            <p:cNvSpPr/>
            <p:nvPr/>
          </p:nvSpPr>
          <p:spPr>
            <a:xfrm>
              <a:off x="3702420" y="4702121"/>
              <a:ext cx="92793" cy="216516"/>
            </a:xfrm>
            <a:custGeom>
              <a:avLst/>
              <a:gdLst>
                <a:gd name="connsiteX0" fmla="*/ 0 w 92792"/>
                <a:gd name="connsiteY0" fmla="*/ 0 h 216515"/>
                <a:gd name="connsiteX1" fmla="*/ 98978 w 92792"/>
                <a:gd name="connsiteY1" fmla="*/ 0 h 216515"/>
                <a:gd name="connsiteX2" fmla="*/ 98978 w 92792"/>
                <a:gd name="connsiteY2" fmla="*/ 216516 h 216515"/>
                <a:gd name="connsiteX3" fmla="*/ 0 w 92792"/>
                <a:gd name="connsiteY3" fmla="*/ 216516 h 21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92" h="216515">
                  <a:moveTo>
                    <a:pt x="0" y="0"/>
                  </a:moveTo>
                  <a:lnTo>
                    <a:pt x="98978" y="0"/>
                  </a:lnTo>
                  <a:lnTo>
                    <a:pt x="98978" y="216516"/>
                  </a:lnTo>
                  <a:lnTo>
                    <a:pt x="0" y="216516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7" name="任意多边形: 形状 10096">
              <a:extLst>
                <a:ext uri="{FF2B5EF4-FFF2-40B4-BE49-F238E27FC236}">
                  <a16:creationId xmlns:a16="http://schemas.microsoft.com/office/drawing/2014/main" id="{5A5ED9A9-87DD-42DB-B8E4-1CF363970265}"/>
                </a:ext>
              </a:extLst>
            </p:cNvPr>
            <p:cNvSpPr/>
            <p:nvPr/>
          </p:nvSpPr>
          <p:spPr>
            <a:xfrm>
              <a:off x="3918936" y="4702121"/>
              <a:ext cx="92793" cy="216516"/>
            </a:xfrm>
            <a:custGeom>
              <a:avLst/>
              <a:gdLst>
                <a:gd name="connsiteX0" fmla="*/ 0 w 92792"/>
                <a:gd name="connsiteY0" fmla="*/ 0 h 216515"/>
                <a:gd name="connsiteX1" fmla="*/ 98978 w 92792"/>
                <a:gd name="connsiteY1" fmla="*/ 0 h 216515"/>
                <a:gd name="connsiteX2" fmla="*/ 98978 w 92792"/>
                <a:gd name="connsiteY2" fmla="*/ 216516 h 216515"/>
                <a:gd name="connsiteX3" fmla="*/ 0 w 92792"/>
                <a:gd name="connsiteY3" fmla="*/ 216516 h 21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92" h="216515">
                  <a:moveTo>
                    <a:pt x="0" y="0"/>
                  </a:moveTo>
                  <a:lnTo>
                    <a:pt x="98978" y="0"/>
                  </a:lnTo>
                  <a:lnTo>
                    <a:pt x="98978" y="216516"/>
                  </a:lnTo>
                  <a:lnTo>
                    <a:pt x="0" y="216516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8" name="任意多边形: 形状 10097">
              <a:extLst>
                <a:ext uri="{FF2B5EF4-FFF2-40B4-BE49-F238E27FC236}">
                  <a16:creationId xmlns:a16="http://schemas.microsoft.com/office/drawing/2014/main" id="{70157969-FFD5-4135-A6AC-7E4288471E55}"/>
                </a:ext>
              </a:extLst>
            </p:cNvPr>
            <p:cNvSpPr/>
            <p:nvPr/>
          </p:nvSpPr>
          <p:spPr>
            <a:xfrm>
              <a:off x="3767374" y="471449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82492 w 154654"/>
                <a:gd name="connsiteY1" fmla="*/ 0 h 0"/>
                <a:gd name="connsiteX2" fmla="*/ 182492 w 154654"/>
                <a:gd name="connsiteY2" fmla="*/ 21652 h 0"/>
                <a:gd name="connsiteX3" fmla="*/ 0 w 154654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82492" y="0"/>
                  </a:lnTo>
                  <a:lnTo>
                    <a:pt x="182492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99" name="任意多边形: 形状 10098">
              <a:extLst>
                <a:ext uri="{FF2B5EF4-FFF2-40B4-BE49-F238E27FC236}">
                  <a16:creationId xmlns:a16="http://schemas.microsoft.com/office/drawing/2014/main" id="{462D9316-CCC0-4D8A-AF9C-452167FB20A2}"/>
                </a:ext>
              </a:extLst>
            </p:cNvPr>
            <p:cNvSpPr/>
            <p:nvPr/>
          </p:nvSpPr>
          <p:spPr>
            <a:xfrm>
              <a:off x="3767374" y="478563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82492 w 154654"/>
                <a:gd name="connsiteY1" fmla="*/ 0 h 0"/>
                <a:gd name="connsiteX2" fmla="*/ 182492 w 154654"/>
                <a:gd name="connsiteY2" fmla="*/ 21652 h 0"/>
                <a:gd name="connsiteX3" fmla="*/ 0 w 154654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82492" y="0"/>
                  </a:lnTo>
                  <a:lnTo>
                    <a:pt x="182492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0" name="任意多边形: 形状 10099">
              <a:extLst>
                <a:ext uri="{FF2B5EF4-FFF2-40B4-BE49-F238E27FC236}">
                  <a16:creationId xmlns:a16="http://schemas.microsoft.com/office/drawing/2014/main" id="{02AACE51-3128-40AF-B147-E0EBCC871A03}"/>
                </a:ext>
              </a:extLst>
            </p:cNvPr>
            <p:cNvSpPr/>
            <p:nvPr/>
          </p:nvSpPr>
          <p:spPr>
            <a:xfrm>
              <a:off x="3683861" y="4909358"/>
              <a:ext cx="402101" cy="463962"/>
            </a:xfrm>
            <a:custGeom>
              <a:avLst/>
              <a:gdLst>
                <a:gd name="connsiteX0" fmla="*/ 0 w 402100"/>
                <a:gd name="connsiteY0" fmla="*/ 0 h 463962"/>
                <a:gd name="connsiteX1" fmla="*/ 405194 w 402100"/>
                <a:gd name="connsiteY1" fmla="*/ 0 h 463962"/>
                <a:gd name="connsiteX2" fmla="*/ 405194 w 402100"/>
                <a:gd name="connsiteY2" fmla="*/ 485614 h 463962"/>
                <a:gd name="connsiteX3" fmla="*/ 0 w 402100"/>
                <a:gd name="connsiteY3" fmla="*/ 485614 h 46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463962">
                  <a:moveTo>
                    <a:pt x="0" y="0"/>
                  </a:moveTo>
                  <a:lnTo>
                    <a:pt x="405194" y="0"/>
                  </a:lnTo>
                  <a:lnTo>
                    <a:pt x="405194" y="485614"/>
                  </a:lnTo>
                  <a:lnTo>
                    <a:pt x="0" y="485614"/>
                  </a:lnTo>
                  <a:close/>
                </a:path>
              </a:pathLst>
            </a:custGeom>
            <a:solidFill>
              <a:srgbClr val="56557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1" name="任意多边形: 形状 10100">
              <a:extLst>
                <a:ext uri="{FF2B5EF4-FFF2-40B4-BE49-F238E27FC236}">
                  <a16:creationId xmlns:a16="http://schemas.microsoft.com/office/drawing/2014/main" id="{C4912CF7-706E-4481-B72D-A4154FDFB421}"/>
                </a:ext>
              </a:extLst>
            </p:cNvPr>
            <p:cNvSpPr/>
            <p:nvPr/>
          </p:nvSpPr>
          <p:spPr>
            <a:xfrm>
              <a:off x="3671489" y="5354762"/>
              <a:ext cx="433032" cy="1484680"/>
            </a:xfrm>
            <a:custGeom>
              <a:avLst/>
              <a:gdLst>
                <a:gd name="connsiteX0" fmla="*/ 0 w 433031"/>
                <a:gd name="connsiteY0" fmla="*/ 0 h 1484679"/>
                <a:gd name="connsiteX1" fmla="*/ 439218 w 433031"/>
                <a:gd name="connsiteY1" fmla="*/ 0 h 1484679"/>
                <a:gd name="connsiteX2" fmla="*/ 439218 w 433031"/>
                <a:gd name="connsiteY2" fmla="*/ 1503238 h 1484679"/>
                <a:gd name="connsiteX3" fmla="*/ 0 w 433031"/>
                <a:gd name="connsiteY3" fmla="*/ 1503238 h 148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31" h="1484679">
                  <a:moveTo>
                    <a:pt x="0" y="0"/>
                  </a:moveTo>
                  <a:lnTo>
                    <a:pt x="439218" y="0"/>
                  </a:lnTo>
                  <a:lnTo>
                    <a:pt x="439218" y="1503238"/>
                  </a:lnTo>
                  <a:lnTo>
                    <a:pt x="0" y="1503238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2" name="任意多边形: 形状 10101">
              <a:extLst>
                <a:ext uri="{FF2B5EF4-FFF2-40B4-BE49-F238E27FC236}">
                  <a16:creationId xmlns:a16="http://schemas.microsoft.com/office/drawing/2014/main" id="{91F8BF79-09F6-4AE2-855F-C6E5B4C27890}"/>
                </a:ext>
              </a:extLst>
            </p:cNvPr>
            <p:cNvSpPr/>
            <p:nvPr/>
          </p:nvSpPr>
          <p:spPr>
            <a:xfrm>
              <a:off x="5320102" y="5215573"/>
              <a:ext cx="402101" cy="1639334"/>
            </a:xfrm>
            <a:custGeom>
              <a:avLst/>
              <a:gdLst>
                <a:gd name="connsiteX0" fmla="*/ 0 w 402100"/>
                <a:gd name="connsiteY0" fmla="*/ 18558 h 1639334"/>
                <a:gd name="connsiteX1" fmla="*/ 405194 w 402100"/>
                <a:gd name="connsiteY1" fmla="*/ 0 h 1639334"/>
                <a:gd name="connsiteX2" fmla="*/ 405194 w 402100"/>
                <a:gd name="connsiteY2" fmla="*/ 1639334 h 1639334"/>
                <a:gd name="connsiteX3" fmla="*/ 0 w 402100"/>
                <a:gd name="connsiteY3" fmla="*/ 1639334 h 163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1639334">
                  <a:moveTo>
                    <a:pt x="0" y="18558"/>
                  </a:moveTo>
                  <a:lnTo>
                    <a:pt x="405194" y="0"/>
                  </a:lnTo>
                  <a:lnTo>
                    <a:pt x="405194" y="1639334"/>
                  </a:lnTo>
                  <a:lnTo>
                    <a:pt x="0" y="1639334"/>
                  </a:lnTo>
                  <a:close/>
                </a:path>
              </a:pathLst>
            </a:custGeom>
            <a:solidFill>
              <a:srgbClr val="F2D3D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3" name="任意多边形: 形状 10102">
              <a:extLst>
                <a:ext uri="{FF2B5EF4-FFF2-40B4-BE49-F238E27FC236}">
                  <a16:creationId xmlns:a16="http://schemas.microsoft.com/office/drawing/2014/main" id="{2E07B1C2-91D4-464A-8056-39200F8DDE3D}"/>
                </a:ext>
              </a:extLst>
            </p:cNvPr>
            <p:cNvSpPr/>
            <p:nvPr/>
          </p:nvSpPr>
          <p:spPr>
            <a:xfrm>
              <a:off x="5317009" y="5209387"/>
              <a:ext cx="402101" cy="1639334"/>
            </a:xfrm>
            <a:custGeom>
              <a:avLst/>
              <a:gdLst>
                <a:gd name="connsiteX0" fmla="*/ 414473 w 402100"/>
                <a:gd name="connsiteY0" fmla="*/ 1651707 h 1639334"/>
                <a:gd name="connsiteX1" fmla="*/ 0 w 402100"/>
                <a:gd name="connsiteY1" fmla="*/ 1651707 h 1639334"/>
                <a:gd name="connsiteX2" fmla="*/ 0 w 402100"/>
                <a:gd name="connsiteY2" fmla="*/ 21652 h 1639334"/>
                <a:gd name="connsiteX3" fmla="*/ 414473 w 402100"/>
                <a:gd name="connsiteY3" fmla="*/ 0 h 1639334"/>
                <a:gd name="connsiteX4" fmla="*/ 414473 w 402100"/>
                <a:gd name="connsiteY4" fmla="*/ 1651707 h 1639334"/>
                <a:gd name="connsiteX5" fmla="*/ 9279 w 402100"/>
                <a:gd name="connsiteY5" fmla="*/ 1639334 h 1639334"/>
                <a:gd name="connsiteX6" fmla="*/ 402101 w 402100"/>
                <a:gd name="connsiteY6" fmla="*/ 1639334 h 1639334"/>
                <a:gd name="connsiteX7" fmla="*/ 402101 w 402100"/>
                <a:gd name="connsiteY7" fmla="*/ 12372 h 1639334"/>
                <a:gd name="connsiteX8" fmla="*/ 9279 w 402100"/>
                <a:gd name="connsiteY8" fmla="*/ 30931 h 1639334"/>
                <a:gd name="connsiteX9" fmla="*/ 9279 w 402100"/>
                <a:gd name="connsiteY9" fmla="*/ 1639334 h 163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100" h="1639334">
                  <a:moveTo>
                    <a:pt x="414473" y="1651707"/>
                  </a:moveTo>
                  <a:lnTo>
                    <a:pt x="0" y="1651707"/>
                  </a:lnTo>
                  <a:lnTo>
                    <a:pt x="0" y="21652"/>
                  </a:lnTo>
                  <a:lnTo>
                    <a:pt x="414473" y="0"/>
                  </a:lnTo>
                  <a:lnTo>
                    <a:pt x="414473" y="1651707"/>
                  </a:lnTo>
                  <a:close/>
                  <a:moveTo>
                    <a:pt x="9279" y="1639334"/>
                  </a:moveTo>
                  <a:lnTo>
                    <a:pt x="402101" y="1639334"/>
                  </a:lnTo>
                  <a:lnTo>
                    <a:pt x="402101" y="12372"/>
                  </a:lnTo>
                  <a:lnTo>
                    <a:pt x="9279" y="30931"/>
                  </a:lnTo>
                  <a:lnTo>
                    <a:pt x="9279" y="1639334"/>
                  </a:lnTo>
                  <a:close/>
                </a:path>
              </a:pathLst>
            </a:custGeom>
            <a:solidFill>
              <a:srgbClr val="EBF1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4" name="任意多边形: 形状 10103">
              <a:extLst>
                <a:ext uri="{FF2B5EF4-FFF2-40B4-BE49-F238E27FC236}">
                  <a16:creationId xmlns:a16="http://schemas.microsoft.com/office/drawing/2014/main" id="{8A47C8F3-D4E4-4F7F-B30C-20DE3CA2B158}"/>
                </a:ext>
              </a:extLst>
            </p:cNvPr>
            <p:cNvSpPr/>
            <p:nvPr/>
          </p:nvSpPr>
          <p:spPr>
            <a:xfrm>
              <a:off x="5261334" y="6731184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5" name="任意多边形: 形状 10104">
              <a:extLst>
                <a:ext uri="{FF2B5EF4-FFF2-40B4-BE49-F238E27FC236}">
                  <a16:creationId xmlns:a16="http://schemas.microsoft.com/office/drawing/2014/main" id="{08F2A054-732A-4236-BC8E-36443E9A4A11}"/>
                </a:ext>
              </a:extLst>
            </p:cNvPr>
            <p:cNvSpPr/>
            <p:nvPr/>
          </p:nvSpPr>
          <p:spPr>
            <a:xfrm>
              <a:off x="5260707" y="6711920"/>
              <a:ext cx="402101" cy="30931"/>
            </a:xfrm>
            <a:custGeom>
              <a:avLst/>
              <a:gdLst>
                <a:gd name="connsiteX0" fmla="*/ 0 w 402100"/>
                <a:gd name="connsiteY0" fmla="*/ 19819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2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9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2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6" name="任意多边形: 形状 10105">
              <a:extLst>
                <a:ext uri="{FF2B5EF4-FFF2-40B4-BE49-F238E27FC236}">
                  <a16:creationId xmlns:a16="http://schemas.microsoft.com/office/drawing/2014/main" id="{7A1CDC98-DC20-4AE5-9F18-725CF3EE4FA9}"/>
                </a:ext>
              </a:extLst>
            </p:cNvPr>
            <p:cNvSpPr/>
            <p:nvPr/>
          </p:nvSpPr>
          <p:spPr>
            <a:xfrm>
              <a:off x="5261334" y="6644577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7" name="任意多边形: 形状 10106">
              <a:extLst>
                <a:ext uri="{FF2B5EF4-FFF2-40B4-BE49-F238E27FC236}">
                  <a16:creationId xmlns:a16="http://schemas.microsoft.com/office/drawing/2014/main" id="{389B6B8C-EDDA-4B1A-92FB-DCDC8906C86E}"/>
                </a:ext>
              </a:extLst>
            </p:cNvPr>
            <p:cNvSpPr/>
            <p:nvPr/>
          </p:nvSpPr>
          <p:spPr>
            <a:xfrm>
              <a:off x="5260728" y="6625316"/>
              <a:ext cx="402101" cy="30931"/>
            </a:xfrm>
            <a:custGeom>
              <a:avLst/>
              <a:gdLst>
                <a:gd name="connsiteX0" fmla="*/ 0 w 402100"/>
                <a:gd name="connsiteY0" fmla="*/ 19816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79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6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799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8" name="任意多边形: 形状 10107">
              <a:extLst>
                <a:ext uri="{FF2B5EF4-FFF2-40B4-BE49-F238E27FC236}">
                  <a16:creationId xmlns:a16="http://schemas.microsoft.com/office/drawing/2014/main" id="{C998F682-06DD-417F-A1F3-3F03F95D4CBD}"/>
                </a:ext>
              </a:extLst>
            </p:cNvPr>
            <p:cNvSpPr/>
            <p:nvPr/>
          </p:nvSpPr>
          <p:spPr>
            <a:xfrm>
              <a:off x="5261334" y="6554878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09" name="任意多边形: 形状 10108">
              <a:extLst>
                <a:ext uri="{FF2B5EF4-FFF2-40B4-BE49-F238E27FC236}">
                  <a16:creationId xmlns:a16="http://schemas.microsoft.com/office/drawing/2014/main" id="{97C91AE2-1807-4AE8-A5D2-ADC357C076FA}"/>
                </a:ext>
              </a:extLst>
            </p:cNvPr>
            <p:cNvSpPr/>
            <p:nvPr/>
          </p:nvSpPr>
          <p:spPr>
            <a:xfrm>
              <a:off x="5260751" y="6538708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0" name="任意多边形: 形状 10109">
              <a:extLst>
                <a:ext uri="{FF2B5EF4-FFF2-40B4-BE49-F238E27FC236}">
                  <a16:creationId xmlns:a16="http://schemas.microsoft.com/office/drawing/2014/main" id="{E0CA7562-D378-4101-9FC4-3EC9BD1072E4}"/>
                </a:ext>
              </a:extLst>
            </p:cNvPr>
            <p:cNvSpPr/>
            <p:nvPr/>
          </p:nvSpPr>
          <p:spPr>
            <a:xfrm>
              <a:off x="5261334" y="6468272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1" name="任意多边形: 形状 10110">
              <a:extLst>
                <a:ext uri="{FF2B5EF4-FFF2-40B4-BE49-F238E27FC236}">
                  <a16:creationId xmlns:a16="http://schemas.microsoft.com/office/drawing/2014/main" id="{E92D9A55-2F23-4AD7-860D-6C112677C34A}"/>
                </a:ext>
              </a:extLst>
            </p:cNvPr>
            <p:cNvSpPr/>
            <p:nvPr/>
          </p:nvSpPr>
          <p:spPr>
            <a:xfrm>
              <a:off x="5260776" y="6452100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2" name="任意多边形: 形状 10111">
              <a:extLst>
                <a:ext uri="{FF2B5EF4-FFF2-40B4-BE49-F238E27FC236}">
                  <a16:creationId xmlns:a16="http://schemas.microsoft.com/office/drawing/2014/main" id="{75AE2737-2967-4E49-9EA7-F76876E45C6A}"/>
                </a:ext>
              </a:extLst>
            </p:cNvPr>
            <p:cNvSpPr/>
            <p:nvPr/>
          </p:nvSpPr>
          <p:spPr>
            <a:xfrm>
              <a:off x="5261334" y="6381665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3" name="任意多边形: 形状 10112">
              <a:extLst>
                <a:ext uri="{FF2B5EF4-FFF2-40B4-BE49-F238E27FC236}">
                  <a16:creationId xmlns:a16="http://schemas.microsoft.com/office/drawing/2014/main" id="{F412FC1E-B460-4A99-8A5E-3EAB61F7118E}"/>
                </a:ext>
              </a:extLst>
            </p:cNvPr>
            <p:cNvSpPr/>
            <p:nvPr/>
          </p:nvSpPr>
          <p:spPr>
            <a:xfrm>
              <a:off x="5260650" y="6362407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4" name="任意多边形: 形状 10113">
              <a:extLst>
                <a:ext uri="{FF2B5EF4-FFF2-40B4-BE49-F238E27FC236}">
                  <a16:creationId xmlns:a16="http://schemas.microsoft.com/office/drawing/2014/main" id="{72E85AF3-0C4B-4F88-9D67-E7761B797E7F}"/>
                </a:ext>
              </a:extLst>
            </p:cNvPr>
            <p:cNvSpPr/>
            <p:nvPr/>
          </p:nvSpPr>
          <p:spPr>
            <a:xfrm>
              <a:off x="5261334" y="6295059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5" name="任意多边形: 形状 10114">
              <a:extLst>
                <a:ext uri="{FF2B5EF4-FFF2-40B4-BE49-F238E27FC236}">
                  <a16:creationId xmlns:a16="http://schemas.microsoft.com/office/drawing/2014/main" id="{2399B12C-40FB-4550-B891-85B3940708EA}"/>
                </a:ext>
              </a:extLst>
            </p:cNvPr>
            <p:cNvSpPr/>
            <p:nvPr/>
          </p:nvSpPr>
          <p:spPr>
            <a:xfrm>
              <a:off x="5260669" y="6275799"/>
              <a:ext cx="402101" cy="30931"/>
            </a:xfrm>
            <a:custGeom>
              <a:avLst/>
              <a:gdLst>
                <a:gd name="connsiteX0" fmla="*/ 0 w 402100"/>
                <a:gd name="connsiteY0" fmla="*/ 19816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79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6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799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6" name="任意多边形: 形状 10115">
              <a:extLst>
                <a:ext uri="{FF2B5EF4-FFF2-40B4-BE49-F238E27FC236}">
                  <a16:creationId xmlns:a16="http://schemas.microsoft.com/office/drawing/2014/main" id="{F8EEFD70-8BD5-49C1-A5D4-72D44942C280}"/>
                </a:ext>
              </a:extLst>
            </p:cNvPr>
            <p:cNvSpPr/>
            <p:nvPr/>
          </p:nvSpPr>
          <p:spPr>
            <a:xfrm>
              <a:off x="5261334" y="6208453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7" name="任意多边形: 形状 10116">
              <a:extLst>
                <a:ext uri="{FF2B5EF4-FFF2-40B4-BE49-F238E27FC236}">
                  <a16:creationId xmlns:a16="http://schemas.microsoft.com/office/drawing/2014/main" id="{2C2E775B-C6A6-4DFA-835F-E8DA6DB5A960}"/>
                </a:ext>
              </a:extLst>
            </p:cNvPr>
            <p:cNvSpPr/>
            <p:nvPr/>
          </p:nvSpPr>
          <p:spPr>
            <a:xfrm>
              <a:off x="5260691" y="6189192"/>
              <a:ext cx="402101" cy="30931"/>
            </a:xfrm>
            <a:custGeom>
              <a:avLst/>
              <a:gdLst>
                <a:gd name="connsiteX0" fmla="*/ 0 w 402100"/>
                <a:gd name="connsiteY0" fmla="*/ 19819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2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9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2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8" name="任意多边形: 形状 10117">
              <a:extLst>
                <a:ext uri="{FF2B5EF4-FFF2-40B4-BE49-F238E27FC236}">
                  <a16:creationId xmlns:a16="http://schemas.microsoft.com/office/drawing/2014/main" id="{04FFCEA6-D7AB-47D0-A32B-1E9A0140F4BE}"/>
                </a:ext>
              </a:extLst>
            </p:cNvPr>
            <p:cNvSpPr/>
            <p:nvPr/>
          </p:nvSpPr>
          <p:spPr>
            <a:xfrm>
              <a:off x="5261334" y="6121846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19" name="任意多边形: 形状 10118">
              <a:extLst>
                <a:ext uri="{FF2B5EF4-FFF2-40B4-BE49-F238E27FC236}">
                  <a16:creationId xmlns:a16="http://schemas.microsoft.com/office/drawing/2014/main" id="{FFA042B4-208A-4A27-9E97-B73F511812F0}"/>
                </a:ext>
              </a:extLst>
            </p:cNvPr>
            <p:cNvSpPr/>
            <p:nvPr/>
          </p:nvSpPr>
          <p:spPr>
            <a:xfrm>
              <a:off x="5260714" y="6102587"/>
              <a:ext cx="402101" cy="30931"/>
            </a:xfrm>
            <a:custGeom>
              <a:avLst/>
              <a:gdLst>
                <a:gd name="connsiteX0" fmla="*/ 0 w 402100"/>
                <a:gd name="connsiteY0" fmla="*/ 19816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79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6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799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0" name="任意多边形: 形状 10119">
              <a:extLst>
                <a:ext uri="{FF2B5EF4-FFF2-40B4-BE49-F238E27FC236}">
                  <a16:creationId xmlns:a16="http://schemas.microsoft.com/office/drawing/2014/main" id="{13AA061F-4CBE-496C-A4C6-A497D73564CD}"/>
                </a:ext>
              </a:extLst>
            </p:cNvPr>
            <p:cNvSpPr/>
            <p:nvPr/>
          </p:nvSpPr>
          <p:spPr>
            <a:xfrm>
              <a:off x="5261334" y="6035240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1" name="任意多边形: 形状 10120">
              <a:extLst>
                <a:ext uri="{FF2B5EF4-FFF2-40B4-BE49-F238E27FC236}">
                  <a16:creationId xmlns:a16="http://schemas.microsoft.com/office/drawing/2014/main" id="{70B0F36E-DC51-4D09-84D3-D65D799BDE74}"/>
                </a:ext>
              </a:extLst>
            </p:cNvPr>
            <p:cNvSpPr/>
            <p:nvPr/>
          </p:nvSpPr>
          <p:spPr>
            <a:xfrm>
              <a:off x="5260738" y="6015979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2" name="任意多边形: 形状 10121">
              <a:extLst>
                <a:ext uri="{FF2B5EF4-FFF2-40B4-BE49-F238E27FC236}">
                  <a16:creationId xmlns:a16="http://schemas.microsoft.com/office/drawing/2014/main" id="{EB67F66A-2AA9-4D78-95B5-3B83CA3FC421}"/>
                </a:ext>
              </a:extLst>
            </p:cNvPr>
            <p:cNvSpPr/>
            <p:nvPr/>
          </p:nvSpPr>
          <p:spPr>
            <a:xfrm>
              <a:off x="5261334" y="5945540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3" name="任意多边形: 形状 10122">
              <a:extLst>
                <a:ext uri="{FF2B5EF4-FFF2-40B4-BE49-F238E27FC236}">
                  <a16:creationId xmlns:a16="http://schemas.microsoft.com/office/drawing/2014/main" id="{868BCB72-F784-4B5A-8278-63146B2D9B98}"/>
                </a:ext>
              </a:extLst>
            </p:cNvPr>
            <p:cNvSpPr/>
            <p:nvPr/>
          </p:nvSpPr>
          <p:spPr>
            <a:xfrm>
              <a:off x="5260760" y="5929372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4" name="任意多边形: 形状 10123">
              <a:extLst>
                <a:ext uri="{FF2B5EF4-FFF2-40B4-BE49-F238E27FC236}">
                  <a16:creationId xmlns:a16="http://schemas.microsoft.com/office/drawing/2014/main" id="{81310857-DB23-4D10-A9AD-0C87DD81AA9E}"/>
                </a:ext>
              </a:extLst>
            </p:cNvPr>
            <p:cNvSpPr/>
            <p:nvPr/>
          </p:nvSpPr>
          <p:spPr>
            <a:xfrm>
              <a:off x="5261334" y="5858934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5" name="任意多边形: 形状 10124">
              <a:extLst>
                <a:ext uri="{FF2B5EF4-FFF2-40B4-BE49-F238E27FC236}">
                  <a16:creationId xmlns:a16="http://schemas.microsoft.com/office/drawing/2014/main" id="{BA730F55-C2C1-4757-B1A2-F8422956EBE8}"/>
                </a:ext>
              </a:extLst>
            </p:cNvPr>
            <p:cNvSpPr/>
            <p:nvPr/>
          </p:nvSpPr>
          <p:spPr>
            <a:xfrm>
              <a:off x="5260781" y="5842767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6" name="任意多边形: 形状 10125">
              <a:extLst>
                <a:ext uri="{FF2B5EF4-FFF2-40B4-BE49-F238E27FC236}">
                  <a16:creationId xmlns:a16="http://schemas.microsoft.com/office/drawing/2014/main" id="{68DDBB1D-A8CA-4432-A393-834343C61E13}"/>
                </a:ext>
              </a:extLst>
            </p:cNvPr>
            <p:cNvSpPr/>
            <p:nvPr/>
          </p:nvSpPr>
          <p:spPr>
            <a:xfrm>
              <a:off x="5261334" y="5772328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7" name="任意多边形: 形状 10126">
              <a:extLst>
                <a:ext uri="{FF2B5EF4-FFF2-40B4-BE49-F238E27FC236}">
                  <a16:creationId xmlns:a16="http://schemas.microsoft.com/office/drawing/2014/main" id="{492E1AA4-0565-4313-9727-720B212AACAD}"/>
                </a:ext>
              </a:extLst>
            </p:cNvPr>
            <p:cNvSpPr/>
            <p:nvPr/>
          </p:nvSpPr>
          <p:spPr>
            <a:xfrm>
              <a:off x="5260655" y="5753071"/>
              <a:ext cx="402101" cy="30931"/>
            </a:xfrm>
            <a:custGeom>
              <a:avLst/>
              <a:gdLst>
                <a:gd name="connsiteX0" fmla="*/ 0 w 402100"/>
                <a:gd name="connsiteY0" fmla="*/ 19819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2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9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2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8" name="任意多边形: 形状 10127">
              <a:extLst>
                <a:ext uri="{FF2B5EF4-FFF2-40B4-BE49-F238E27FC236}">
                  <a16:creationId xmlns:a16="http://schemas.microsoft.com/office/drawing/2014/main" id="{292FD78F-E813-4A6E-8B93-ACF0796AEC38}"/>
                </a:ext>
              </a:extLst>
            </p:cNvPr>
            <p:cNvSpPr/>
            <p:nvPr/>
          </p:nvSpPr>
          <p:spPr>
            <a:xfrm>
              <a:off x="5261334" y="5685721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29" name="任意多边形: 形状 10128">
              <a:extLst>
                <a:ext uri="{FF2B5EF4-FFF2-40B4-BE49-F238E27FC236}">
                  <a16:creationId xmlns:a16="http://schemas.microsoft.com/office/drawing/2014/main" id="{197F1CA5-0D62-40BF-B991-ABCCEC2B525D}"/>
                </a:ext>
              </a:extLst>
            </p:cNvPr>
            <p:cNvSpPr/>
            <p:nvPr/>
          </p:nvSpPr>
          <p:spPr>
            <a:xfrm>
              <a:off x="5260677" y="5666463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0" name="任意多边形: 形状 10129">
              <a:extLst>
                <a:ext uri="{FF2B5EF4-FFF2-40B4-BE49-F238E27FC236}">
                  <a16:creationId xmlns:a16="http://schemas.microsoft.com/office/drawing/2014/main" id="{D9B7400B-9B03-4784-92DB-DE4A75FD5F7A}"/>
                </a:ext>
              </a:extLst>
            </p:cNvPr>
            <p:cNvSpPr/>
            <p:nvPr/>
          </p:nvSpPr>
          <p:spPr>
            <a:xfrm>
              <a:off x="5261334" y="5599115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1" name="任意多边形: 形状 10130">
              <a:extLst>
                <a:ext uri="{FF2B5EF4-FFF2-40B4-BE49-F238E27FC236}">
                  <a16:creationId xmlns:a16="http://schemas.microsoft.com/office/drawing/2014/main" id="{63CE4C65-4600-4B9E-B453-2D88659922C0}"/>
                </a:ext>
              </a:extLst>
            </p:cNvPr>
            <p:cNvSpPr/>
            <p:nvPr/>
          </p:nvSpPr>
          <p:spPr>
            <a:xfrm>
              <a:off x="5260700" y="5579855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2" name="任意多边形: 形状 10131">
              <a:extLst>
                <a:ext uri="{FF2B5EF4-FFF2-40B4-BE49-F238E27FC236}">
                  <a16:creationId xmlns:a16="http://schemas.microsoft.com/office/drawing/2014/main" id="{9FD16F83-DE68-4826-A327-20DE645F25EB}"/>
                </a:ext>
              </a:extLst>
            </p:cNvPr>
            <p:cNvSpPr/>
            <p:nvPr/>
          </p:nvSpPr>
          <p:spPr>
            <a:xfrm>
              <a:off x="5261334" y="5512509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3" name="任意多边形: 形状 10132">
              <a:extLst>
                <a:ext uri="{FF2B5EF4-FFF2-40B4-BE49-F238E27FC236}">
                  <a16:creationId xmlns:a16="http://schemas.microsoft.com/office/drawing/2014/main" id="{10EC25A4-2372-4587-89F6-10265F763544}"/>
                </a:ext>
              </a:extLst>
            </p:cNvPr>
            <p:cNvSpPr/>
            <p:nvPr/>
          </p:nvSpPr>
          <p:spPr>
            <a:xfrm>
              <a:off x="5260722" y="5493251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4" name="任意多边形: 形状 10133">
              <a:extLst>
                <a:ext uri="{FF2B5EF4-FFF2-40B4-BE49-F238E27FC236}">
                  <a16:creationId xmlns:a16="http://schemas.microsoft.com/office/drawing/2014/main" id="{271C6914-2115-4717-A3C4-FB81F33A719E}"/>
                </a:ext>
              </a:extLst>
            </p:cNvPr>
            <p:cNvSpPr/>
            <p:nvPr/>
          </p:nvSpPr>
          <p:spPr>
            <a:xfrm>
              <a:off x="5261334" y="5425902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5" name="任意多边形: 形状 10134">
              <a:extLst>
                <a:ext uri="{FF2B5EF4-FFF2-40B4-BE49-F238E27FC236}">
                  <a16:creationId xmlns:a16="http://schemas.microsoft.com/office/drawing/2014/main" id="{B8440E99-DBB1-4F07-8A56-DDB98C2C9760}"/>
                </a:ext>
              </a:extLst>
            </p:cNvPr>
            <p:cNvSpPr/>
            <p:nvPr/>
          </p:nvSpPr>
          <p:spPr>
            <a:xfrm>
              <a:off x="5260745" y="5406643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6" name="任意多边形: 形状 10135">
              <a:extLst>
                <a:ext uri="{FF2B5EF4-FFF2-40B4-BE49-F238E27FC236}">
                  <a16:creationId xmlns:a16="http://schemas.microsoft.com/office/drawing/2014/main" id="{AC2EF3C6-2B5A-4075-8416-0EC1163EA182}"/>
                </a:ext>
              </a:extLst>
            </p:cNvPr>
            <p:cNvSpPr/>
            <p:nvPr/>
          </p:nvSpPr>
          <p:spPr>
            <a:xfrm>
              <a:off x="5261334" y="5336203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7" name="任意多边形: 形状 10136">
              <a:extLst>
                <a:ext uri="{FF2B5EF4-FFF2-40B4-BE49-F238E27FC236}">
                  <a16:creationId xmlns:a16="http://schemas.microsoft.com/office/drawing/2014/main" id="{CCF2BC76-2D6B-470C-8468-D70C914172BD}"/>
                </a:ext>
              </a:extLst>
            </p:cNvPr>
            <p:cNvSpPr/>
            <p:nvPr/>
          </p:nvSpPr>
          <p:spPr>
            <a:xfrm>
              <a:off x="5260767" y="5320035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8" name="任意多边形: 形状 10137">
              <a:extLst>
                <a:ext uri="{FF2B5EF4-FFF2-40B4-BE49-F238E27FC236}">
                  <a16:creationId xmlns:a16="http://schemas.microsoft.com/office/drawing/2014/main" id="{5D297FF0-D8D9-4DEC-902F-1E2CFE978CB1}"/>
                </a:ext>
              </a:extLst>
            </p:cNvPr>
            <p:cNvSpPr/>
            <p:nvPr/>
          </p:nvSpPr>
          <p:spPr>
            <a:xfrm>
              <a:off x="4837581" y="4869148"/>
              <a:ext cx="587686" cy="1886781"/>
            </a:xfrm>
            <a:custGeom>
              <a:avLst/>
              <a:gdLst>
                <a:gd name="connsiteX0" fmla="*/ 0 w 587685"/>
                <a:gd name="connsiteY0" fmla="*/ 0 h 1886780"/>
                <a:gd name="connsiteX1" fmla="*/ 612431 w 587685"/>
                <a:gd name="connsiteY1" fmla="*/ 83513 h 1886780"/>
                <a:gd name="connsiteX2" fmla="*/ 612431 w 587685"/>
                <a:gd name="connsiteY2" fmla="*/ 1911525 h 1886780"/>
                <a:gd name="connsiteX3" fmla="*/ 0 w 587685"/>
                <a:gd name="connsiteY3" fmla="*/ 1828012 h 188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1886780">
                  <a:moveTo>
                    <a:pt x="0" y="0"/>
                  </a:moveTo>
                  <a:lnTo>
                    <a:pt x="612431" y="83513"/>
                  </a:lnTo>
                  <a:lnTo>
                    <a:pt x="612431" y="1911525"/>
                  </a:lnTo>
                  <a:lnTo>
                    <a:pt x="0" y="1828012"/>
                  </a:lnTo>
                  <a:close/>
                </a:path>
              </a:pathLst>
            </a:custGeom>
            <a:solidFill>
              <a:srgbClr val="EBF1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39" name="任意多边形: 形状 10138">
              <a:extLst>
                <a:ext uri="{FF2B5EF4-FFF2-40B4-BE49-F238E27FC236}">
                  <a16:creationId xmlns:a16="http://schemas.microsoft.com/office/drawing/2014/main" id="{62F1F9F0-04A4-48FD-A387-DAC924FCAC98}"/>
                </a:ext>
              </a:extLst>
            </p:cNvPr>
            <p:cNvSpPr/>
            <p:nvPr/>
          </p:nvSpPr>
          <p:spPr>
            <a:xfrm>
              <a:off x="4837581" y="6610553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0" name="任意多边形: 形状 10139">
              <a:extLst>
                <a:ext uri="{FF2B5EF4-FFF2-40B4-BE49-F238E27FC236}">
                  <a16:creationId xmlns:a16="http://schemas.microsoft.com/office/drawing/2014/main" id="{227ABD68-2B46-4A6E-928B-CB9AE538DB89}"/>
                </a:ext>
              </a:extLst>
            </p:cNvPr>
            <p:cNvSpPr/>
            <p:nvPr/>
          </p:nvSpPr>
          <p:spPr>
            <a:xfrm>
              <a:off x="4838064" y="6591610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1" name="任意多边形: 形状 10140">
              <a:extLst>
                <a:ext uri="{FF2B5EF4-FFF2-40B4-BE49-F238E27FC236}">
                  <a16:creationId xmlns:a16="http://schemas.microsoft.com/office/drawing/2014/main" id="{5BA8F415-F4AB-415F-9837-255D880D925B}"/>
                </a:ext>
              </a:extLst>
            </p:cNvPr>
            <p:cNvSpPr/>
            <p:nvPr/>
          </p:nvSpPr>
          <p:spPr>
            <a:xfrm>
              <a:off x="4837581" y="6520854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2" name="任意多边形: 形状 10141">
              <a:extLst>
                <a:ext uri="{FF2B5EF4-FFF2-40B4-BE49-F238E27FC236}">
                  <a16:creationId xmlns:a16="http://schemas.microsoft.com/office/drawing/2014/main" id="{DED91045-5413-45A0-991F-67A949F21B34}"/>
                </a:ext>
              </a:extLst>
            </p:cNvPr>
            <p:cNvSpPr/>
            <p:nvPr/>
          </p:nvSpPr>
          <p:spPr>
            <a:xfrm>
              <a:off x="4835473" y="6504145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3" name="任意多边形: 形状 10142">
              <a:extLst>
                <a:ext uri="{FF2B5EF4-FFF2-40B4-BE49-F238E27FC236}">
                  <a16:creationId xmlns:a16="http://schemas.microsoft.com/office/drawing/2014/main" id="{2990416C-F214-4213-8B18-FA3FF3B83A0D}"/>
                </a:ext>
              </a:extLst>
            </p:cNvPr>
            <p:cNvSpPr/>
            <p:nvPr/>
          </p:nvSpPr>
          <p:spPr>
            <a:xfrm>
              <a:off x="4837581" y="6434248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4" name="任意多边形: 形状 10143">
              <a:extLst>
                <a:ext uri="{FF2B5EF4-FFF2-40B4-BE49-F238E27FC236}">
                  <a16:creationId xmlns:a16="http://schemas.microsoft.com/office/drawing/2014/main" id="{E2B73731-91B1-4B5E-BFAA-F9A5FEA95C5B}"/>
                </a:ext>
              </a:extLst>
            </p:cNvPr>
            <p:cNvSpPr/>
            <p:nvPr/>
          </p:nvSpPr>
          <p:spPr>
            <a:xfrm>
              <a:off x="4835996" y="6417199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5" name="任意多边形: 形状 10144">
              <a:extLst>
                <a:ext uri="{FF2B5EF4-FFF2-40B4-BE49-F238E27FC236}">
                  <a16:creationId xmlns:a16="http://schemas.microsoft.com/office/drawing/2014/main" id="{CC585187-0CFB-4617-9BB7-1C0690AFC96D}"/>
                </a:ext>
              </a:extLst>
            </p:cNvPr>
            <p:cNvSpPr/>
            <p:nvPr/>
          </p:nvSpPr>
          <p:spPr>
            <a:xfrm>
              <a:off x="4837581" y="6347641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6" name="任意多边形: 形状 10145">
              <a:extLst>
                <a:ext uri="{FF2B5EF4-FFF2-40B4-BE49-F238E27FC236}">
                  <a16:creationId xmlns:a16="http://schemas.microsoft.com/office/drawing/2014/main" id="{4FC5D3D1-2856-4ED2-B673-F47194DBBEA3}"/>
                </a:ext>
              </a:extLst>
            </p:cNvPr>
            <p:cNvSpPr/>
            <p:nvPr/>
          </p:nvSpPr>
          <p:spPr>
            <a:xfrm>
              <a:off x="4836383" y="6330159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7" name="任意多边形: 形状 10146">
              <a:extLst>
                <a:ext uri="{FF2B5EF4-FFF2-40B4-BE49-F238E27FC236}">
                  <a16:creationId xmlns:a16="http://schemas.microsoft.com/office/drawing/2014/main" id="{F745342F-170B-40FD-B076-D27A11C0FA8D}"/>
                </a:ext>
              </a:extLst>
            </p:cNvPr>
            <p:cNvSpPr/>
            <p:nvPr/>
          </p:nvSpPr>
          <p:spPr>
            <a:xfrm>
              <a:off x="4837581" y="6261035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8" name="任意多边形: 形状 10147">
              <a:extLst>
                <a:ext uri="{FF2B5EF4-FFF2-40B4-BE49-F238E27FC236}">
                  <a16:creationId xmlns:a16="http://schemas.microsoft.com/office/drawing/2014/main" id="{1961700A-7945-4BEE-AA16-D94F5D6DA424}"/>
                </a:ext>
              </a:extLst>
            </p:cNvPr>
            <p:cNvSpPr/>
            <p:nvPr/>
          </p:nvSpPr>
          <p:spPr>
            <a:xfrm>
              <a:off x="4836844" y="6243151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49" name="任意多边形: 形状 10148">
              <a:extLst>
                <a:ext uri="{FF2B5EF4-FFF2-40B4-BE49-F238E27FC236}">
                  <a16:creationId xmlns:a16="http://schemas.microsoft.com/office/drawing/2014/main" id="{6BA60DB0-0933-412D-82A6-0B85ED05B361}"/>
                </a:ext>
              </a:extLst>
            </p:cNvPr>
            <p:cNvSpPr/>
            <p:nvPr/>
          </p:nvSpPr>
          <p:spPr>
            <a:xfrm>
              <a:off x="4837581" y="6174429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0" name="任意多边形: 形状 10149">
              <a:extLst>
                <a:ext uri="{FF2B5EF4-FFF2-40B4-BE49-F238E27FC236}">
                  <a16:creationId xmlns:a16="http://schemas.microsoft.com/office/drawing/2014/main" id="{909E52CB-5ADD-4D5C-8B9C-E472F0B1DBC4}"/>
                </a:ext>
              </a:extLst>
            </p:cNvPr>
            <p:cNvSpPr/>
            <p:nvPr/>
          </p:nvSpPr>
          <p:spPr>
            <a:xfrm>
              <a:off x="4837301" y="6156142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1" name="任意多边形: 形状 10150">
              <a:extLst>
                <a:ext uri="{FF2B5EF4-FFF2-40B4-BE49-F238E27FC236}">
                  <a16:creationId xmlns:a16="http://schemas.microsoft.com/office/drawing/2014/main" id="{0A5F88C7-63D4-4429-A2DC-5498B0EC3A48}"/>
                </a:ext>
              </a:extLst>
            </p:cNvPr>
            <p:cNvSpPr/>
            <p:nvPr/>
          </p:nvSpPr>
          <p:spPr>
            <a:xfrm>
              <a:off x="4837581" y="6087822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2" name="任意多边形: 形状 10151">
              <a:extLst>
                <a:ext uri="{FF2B5EF4-FFF2-40B4-BE49-F238E27FC236}">
                  <a16:creationId xmlns:a16="http://schemas.microsoft.com/office/drawing/2014/main" id="{CB56899C-2231-42AB-AB6E-265EF066692D}"/>
                </a:ext>
              </a:extLst>
            </p:cNvPr>
            <p:cNvSpPr/>
            <p:nvPr/>
          </p:nvSpPr>
          <p:spPr>
            <a:xfrm>
              <a:off x="4837756" y="6069134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3" name="任意多边形: 形状 10152">
              <a:extLst>
                <a:ext uri="{FF2B5EF4-FFF2-40B4-BE49-F238E27FC236}">
                  <a16:creationId xmlns:a16="http://schemas.microsoft.com/office/drawing/2014/main" id="{7DFC9AB1-4FA6-4F0F-B285-9D5273A716DA}"/>
                </a:ext>
              </a:extLst>
            </p:cNvPr>
            <p:cNvSpPr/>
            <p:nvPr/>
          </p:nvSpPr>
          <p:spPr>
            <a:xfrm>
              <a:off x="4837581" y="6001216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4" name="任意多边形: 形状 10153">
              <a:extLst>
                <a:ext uri="{FF2B5EF4-FFF2-40B4-BE49-F238E27FC236}">
                  <a16:creationId xmlns:a16="http://schemas.microsoft.com/office/drawing/2014/main" id="{14A75B6F-E5E4-41EA-9439-A2DC409475B9}"/>
                </a:ext>
              </a:extLst>
            </p:cNvPr>
            <p:cNvSpPr/>
            <p:nvPr/>
          </p:nvSpPr>
          <p:spPr>
            <a:xfrm>
              <a:off x="4838229" y="5982125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5" name="任意多边形: 形状 10154">
              <a:extLst>
                <a:ext uri="{FF2B5EF4-FFF2-40B4-BE49-F238E27FC236}">
                  <a16:creationId xmlns:a16="http://schemas.microsoft.com/office/drawing/2014/main" id="{4E71CF3B-7B9C-4331-8A3B-A028662E9AC4}"/>
                </a:ext>
              </a:extLst>
            </p:cNvPr>
            <p:cNvSpPr/>
            <p:nvPr/>
          </p:nvSpPr>
          <p:spPr>
            <a:xfrm>
              <a:off x="4837581" y="5911517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6" name="任意多边形: 形状 10155">
              <a:extLst>
                <a:ext uri="{FF2B5EF4-FFF2-40B4-BE49-F238E27FC236}">
                  <a16:creationId xmlns:a16="http://schemas.microsoft.com/office/drawing/2014/main" id="{C66AE3E2-4814-43C1-8DDF-BB90DBFCD834}"/>
                </a:ext>
              </a:extLst>
            </p:cNvPr>
            <p:cNvSpPr/>
            <p:nvPr/>
          </p:nvSpPr>
          <p:spPr>
            <a:xfrm>
              <a:off x="4835617" y="5894692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7" name="任意多边形: 形状 10156">
              <a:extLst>
                <a:ext uri="{FF2B5EF4-FFF2-40B4-BE49-F238E27FC236}">
                  <a16:creationId xmlns:a16="http://schemas.microsoft.com/office/drawing/2014/main" id="{714BB704-F406-4DA4-A05C-99E719E00724}"/>
                </a:ext>
              </a:extLst>
            </p:cNvPr>
            <p:cNvSpPr/>
            <p:nvPr/>
          </p:nvSpPr>
          <p:spPr>
            <a:xfrm>
              <a:off x="4837581" y="5824910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8" name="任意多边形: 形状 10157">
              <a:extLst>
                <a:ext uri="{FF2B5EF4-FFF2-40B4-BE49-F238E27FC236}">
                  <a16:creationId xmlns:a16="http://schemas.microsoft.com/office/drawing/2014/main" id="{20DEF92B-B1A6-4C6B-907F-6362CABD0CFA}"/>
                </a:ext>
              </a:extLst>
            </p:cNvPr>
            <p:cNvSpPr/>
            <p:nvPr/>
          </p:nvSpPr>
          <p:spPr>
            <a:xfrm>
              <a:off x="4836075" y="5807683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59" name="任意多边形: 形状 10158">
              <a:extLst>
                <a:ext uri="{FF2B5EF4-FFF2-40B4-BE49-F238E27FC236}">
                  <a16:creationId xmlns:a16="http://schemas.microsoft.com/office/drawing/2014/main" id="{6FA82DB3-FCF4-4028-B1CF-20F1BEED83E6}"/>
                </a:ext>
              </a:extLst>
            </p:cNvPr>
            <p:cNvSpPr/>
            <p:nvPr/>
          </p:nvSpPr>
          <p:spPr>
            <a:xfrm>
              <a:off x="4837581" y="5738304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0" name="任意多边形: 形状 10159">
              <a:extLst>
                <a:ext uri="{FF2B5EF4-FFF2-40B4-BE49-F238E27FC236}">
                  <a16:creationId xmlns:a16="http://schemas.microsoft.com/office/drawing/2014/main" id="{24EACE39-0BBE-42B8-A480-B4933DC5B629}"/>
                </a:ext>
              </a:extLst>
            </p:cNvPr>
            <p:cNvSpPr/>
            <p:nvPr/>
          </p:nvSpPr>
          <p:spPr>
            <a:xfrm>
              <a:off x="4836536" y="5720675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1" name="任意多边形: 形状 10160">
              <a:extLst>
                <a:ext uri="{FF2B5EF4-FFF2-40B4-BE49-F238E27FC236}">
                  <a16:creationId xmlns:a16="http://schemas.microsoft.com/office/drawing/2014/main" id="{07F97045-9989-4CD5-B7AE-3B15E908652C}"/>
                </a:ext>
              </a:extLst>
            </p:cNvPr>
            <p:cNvSpPr/>
            <p:nvPr/>
          </p:nvSpPr>
          <p:spPr>
            <a:xfrm>
              <a:off x="4837581" y="5651698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2" name="任意多边形: 形状 10161">
              <a:extLst>
                <a:ext uri="{FF2B5EF4-FFF2-40B4-BE49-F238E27FC236}">
                  <a16:creationId xmlns:a16="http://schemas.microsoft.com/office/drawing/2014/main" id="{3952099E-4E2C-47C1-A991-9F3544E549A1}"/>
                </a:ext>
              </a:extLst>
            </p:cNvPr>
            <p:cNvSpPr/>
            <p:nvPr/>
          </p:nvSpPr>
          <p:spPr>
            <a:xfrm>
              <a:off x="4836991" y="5633666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3" name="任意多边形: 形状 10162">
              <a:extLst>
                <a:ext uri="{FF2B5EF4-FFF2-40B4-BE49-F238E27FC236}">
                  <a16:creationId xmlns:a16="http://schemas.microsoft.com/office/drawing/2014/main" id="{4E85CB07-7DB2-4A2C-BB3F-444679C231DB}"/>
                </a:ext>
              </a:extLst>
            </p:cNvPr>
            <p:cNvSpPr/>
            <p:nvPr/>
          </p:nvSpPr>
          <p:spPr>
            <a:xfrm>
              <a:off x="4837581" y="5565091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4" name="任意多边形: 形状 10163">
              <a:extLst>
                <a:ext uri="{FF2B5EF4-FFF2-40B4-BE49-F238E27FC236}">
                  <a16:creationId xmlns:a16="http://schemas.microsoft.com/office/drawing/2014/main" id="{552512D6-F72E-4236-8810-63677F173E47}"/>
                </a:ext>
              </a:extLst>
            </p:cNvPr>
            <p:cNvSpPr/>
            <p:nvPr/>
          </p:nvSpPr>
          <p:spPr>
            <a:xfrm>
              <a:off x="4837448" y="5546658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5" name="任意多边形: 形状 10164">
              <a:extLst>
                <a:ext uri="{FF2B5EF4-FFF2-40B4-BE49-F238E27FC236}">
                  <a16:creationId xmlns:a16="http://schemas.microsoft.com/office/drawing/2014/main" id="{C6FC3D6A-D1A4-4D42-8AC9-1D678A8A37C0}"/>
                </a:ext>
              </a:extLst>
            </p:cNvPr>
            <p:cNvSpPr/>
            <p:nvPr/>
          </p:nvSpPr>
          <p:spPr>
            <a:xfrm>
              <a:off x="4837581" y="5478485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6" name="任意多边形: 形状 10165">
              <a:extLst>
                <a:ext uri="{FF2B5EF4-FFF2-40B4-BE49-F238E27FC236}">
                  <a16:creationId xmlns:a16="http://schemas.microsoft.com/office/drawing/2014/main" id="{62E87AD2-4E15-4A38-B2B7-773858914525}"/>
                </a:ext>
              </a:extLst>
            </p:cNvPr>
            <p:cNvSpPr/>
            <p:nvPr/>
          </p:nvSpPr>
          <p:spPr>
            <a:xfrm>
              <a:off x="4837918" y="5459650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7" name="任意多边形: 形状 10166">
              <a:extLst>
                <a:ext uri="{FF2B5EF4-FFF2-40B4-BE49-F238E27FC236}">
                  <a16:creationId xmlns:a16="http://schemas.microsoft.com/office/drawing/2014/main" id="{83AC1041-57BF-4302-99E8-A55877382F91}"/>
                </a:ext>
              </a:extLst>
            </p:cNvPr>
            <p:cNvSpPr/>
            <p:nvPr/>
          </p:nvSpPr>
          <p:spPr>
            <a:xfrm>
              <a:off x="4837581" y="5388785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8" name="任意多边形: 形状 10167">
              <a:extLst>
                <a:ext uri="{FF2B5EF4-FFF2-40B4-BE49-F238E27FC236}">
                  <a16:creationId xmlns:a16="http://schemas.microsoft.com/office/drawing/2014/main" id="{6AE91CCC-FC9C-482B-AEF5-9DE432068BBC}"/>
                </a:ext>
              </a:extLst>
            </p:cNvPr>
            <p:cNvSpPr/>
            <p:nvPr/>
          </p:nvSpPr>
          <p:spPr>
            <a:xfrm>
              <a:off x="4835309" y="5372216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69" name="任意多边形: 形状 10168">
              <a:extLst>
                <a:ext uri="{FF2B5EF4-FFF2-40B4-BE49-F238E27FC236}">
                  <a16:creationId xmlns:a16="http://schemas.microsoft.com/office/drawing/2014/main" id="{30D69814-5C58-4F15-AAA6-103A173EA208}"/>
                </a:ext>
              </a:extLst>
            </p:cNvPr>
            <p:cNvSpPr/>
            <p:nvPr/>
          </p:nvSpPr>
          <p:spPr>
            <a:xfrm>
              <a:off x="4837581" y="5302179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0" name="任意多边形: 形状 10169">
              <a:extLst>
                <a:ext uri="{FF2B5EF4-FFF2-40B4-BE49-F238E27FC236}">
                  <a16:creationId xmlns:a16="http://schemas.microsoft.com/office/drawing/2014/main" id="{2E2C2886-EDBB-44E6-8B60-5335E32DD431}"/>
                </a:ext>
              </a:extLst>
            </p:cNvPr>
            <p:cNvSpPr/>
            <p:nvPr/>
          </p:nvSpPr>
          <p:spPr>
            <a:xfrm>
              <a:off x="4835767" y="5285207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1" name="任意多边形: 形状 10170">
              <a:extLst>
                <a:ext uri="{FF2B5EF4-FFF2-40B4-BE49-F238E27FC236}">
                  <a16:creationId xmlns:a16="http://schemas.microsoft.com/office/drawing/2014/main" id="{051AB14F-9677-43C3-AEBE-02FA3943482A}"/>
                </a:ext>
              </a:extLst>
            </p:cNvPr>
            <p:cNvSpPr/>
            <p:nvPr/>
          </p:nvSpPr>
          <p:spPr>
            <a:xfrm>
              <a:off x="4837581" y="5215573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2" name="任意多边形: 形状 10171">
              <a:extLst>
                <a:ext uri="{FF2B5EF4-FFF2-40B4-BE49-F238E27FC236}">
                  <a16:creationId xmlns:a16="http://schemas.microsoft.com/office/drawing/2014/main" id="{68B0F1D7-8585-46CF-B02E-4C67F70F5B54}"/>
                </a:ext>
              </a:extLst>
            </p:cNvPr>
            <p:cNvSpPr/>
            <p:nvPr/>
          </p:nvSpPr>
          <p:spPr>
            <a:xfrm>
              <a:off x="4836228" y="5198199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3" name="任意多边形: 形状 10172">
              <a:extLst>
                <a:ext uri="{FF2B5EF4-FFF2-40B4-BE49-F238E27FC236}">
                  <a16:creationId xmlns:a16="http://schemas.microsoft.com/office/drawing/2014/main" id="{0BCAF3C1-4958-44B7-B67A-4B5F2FF4051D}"/>
                </a:ext>
              </a:extLst>
            </p:cNvPr>
            <p:cNvSpPr/>
            <p:nvPr/>
          </p:nvSpPr>
          <p:spPr>
            <a:xfrm>
              <a:off x="4837581" y="5128966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4" name="任意多边形: 形状 10173">
              <a:extLst>
                <a:ext uri="{FF2B5EF4-FFF2-40B4-BE49-F238E27FC236}">
                  <a16:creationId xmlns:a16="http://schemas.microsoft.com/office/drawing/2014/main" id="{6AB91DD1-00E9-4A0E-B09D-DC93F14C4FF1}"/>
                </a:ext>
              </a:extLst>
            </p:cNvPr>
            <p:cNvSpPr/>
            <p:nvPr/>
          </p:nvSpPr>
          <p:spPr>
            <a:xfrm>
              <a:off x="4836683" y="5111191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5" name="任意多边形: 形状 10174">
              <a:extLst>
                <a:ext uri="{FF2B5EF4-FFF2-40B4-BE49-F238E27FC236}">
                  <a16:creationId xmlns:a16="http://schemas.microsoft.com/office/drawing/2014/main" id="{A41ADFCC-8857-49E3-9B16-0E7E2A3F2708}"/>
                </a:ext>
              </a:extLst>
            </p:cNvPr>
            <p:cNvSpPr/>
            <p:nvPr/>
          </p:nvSpPr>
          <p:spPr>
            <a:xfrm>
              <a:off x="4837581" y="5042360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6" name="任意多边形: 形状 10175">
              <a:extLst>
                <a:ext uri="{FF2B5EF4-FFF2-40B4-BE49-F238E27FC236}">
                  <a16:creationId xmlns:a16="http://schemas.microsoft.com/office/drawing/2014/main" id="{41F9DBE7-1B9B-46DE-B1C2-7D6E348F3BA4}"/>
                </a:ext>
              </a:extLst>
            </p:cNvPr>
            <p:cNvSpPr/>
            <p:nvPr/>
          </p:nvSpPr>
          <p:spPr>
            <a:xfrm>
              <a:off x="4837165" y="5024213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7" name="任意多边形: 形状 10176">
              <a:extLst>
                <a:ext uri="{FF2B5EF4-FFF2-40B4-BE49-F238E27FC236}">
                  <a16:creationId xmlns:a16="http://schemas.microsoft.com/office/drawing/2014/main" id="{8550A0E9-A956-404E-A615-CA67514DC334}"/>
                </a:ext>
              </a:extLst>
            </p:cNvPr>
            <p:cNvSpPr/>
            <p:nvPr/>
          </p:nvSpPr>
          <p:spPr>
            <a:xfrm>
              <a:off x="4438574" y="3412305"/>
              <a:ext cx="92793" cy="278377"/>
            </a:xfrm>
            <a:custGeom>
              <a:avLst/>
              <a:gdLst>
                <a:gd name="connsiteX0" fmla="*/ 0 w 92792"/>
                <a:gd name="connsiteY0" fmla="*/ 0 h 278377"/>
                <a:gd name="connsiteX1" fmla="*/ 98979 w 92792"/>
                <a:gd name="connsiteY1" fmla="*/ 0 h 278377"/>
                <a:gd name="connsiteX2" fmla="*/ 98979 w 92792"/>
                <a:gd name="connsiteY2" fmla="*/ 303122 h 278377"/>
                <a:gd name="connsiteX3" fmla="*/ 0 w 92792"/>
                <a:gd name="connsiteY3" fmla="*/ 303122 h 27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92" h="278377">
                  <a:moveTo>
                    <a:pt x="0" y="0"/>
                  </a:moveTo>
                  <a:lnTo>
                    <a:pt x="98979" y="0"/>
                  </a:lnTo>
                  <a:lnTo>
                    <a:pt x="98979" y="303122"/>
                  </a:lnTo>
                  <a:lnTo>
                    <a:pt x="0" y="303122"/>
                  </a:lnTo>
                  <a:close/>
                </a:path>
              </a:pathLst>
            </a:custGeom>
            <a:solidFill>
              <a:srgbClr val="AFAFC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8" name="任意多边形: 形状 10177">
              <a:extLst>
                <a:ext uri="{FF2B5EF4-FFF2-40B4-BE49-F238E27FC236}">
                  <a16:creationId xmlns:a16="http://schemas.microsoft.com/office/drawing/2014/main" id="{E0BAFFB8-FE77-4AD0-A092-10CB4E4C2527}"/>
                </a:ext>
              </a:extLst>
            </p:cNvPr>
            <p:cNvSpPr/>
            <p:nvPr/>
          </p:nvSpPr>
          <p:spPr>
            <a:xfrm>
              <a:off x="4537552" y="3412305"/>
              <a:ext cx="247447" cy="340239"/>
            </a:xfrm>
            <a:custGeom>
              <a:avLst/>
              <a:gdLst>
                <a:gd name="connsiteX0" fmla="*/ 275285 w 247446"/>
                <a:gd name="connsiteY0" fmla="*/ 343332 h 340239"/>
                <a:gd name="connsiteX1" fmla="*/ 0 w 247446"/>
                <a:gd name="connsiteY1" fmla="*/ 343332 h 340239"/>
                <a:gd name="connsiteX2" fmla="*/ 0 w 247446"/>
                <a:gd name="connsiteY2" fmla="*/ 0 h 340239"/>
                <a:gd name="connsiteX3" fmla="*/ 275285 w 247446"/>
                <a:gd name="connsiteY3" fmla="*/ 34024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340239">
                  <a:moveTo>
                    <a:pt x="275285" y="343332"/>
                  </a:moveTo>
                  <a:lnTo>
                    <a:pt x="0" y="343332"/>
                  </a:lnTo>
                  <a:lnTo>
                    <a:pt x="0" y="0"/>
                  </a:lnTo>
                  <a:lnTo>
                    <a:pt x="275285" y="3402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79" name="任意多边形: 形状 10178">
              <a:extLst>
                <a:ext uri="{FF2B5EF4-FFF2-40B4-BE49-F238E27FC236}">
                  <a16:creationId xmlns:a16="http://schemas.microsoft.com/office/drawing/2014/main" id="{84B2DA75-61DF-44AC-A061-905E8169A569}"/>
                </a:ext>
              </a:extLst>
            </p:cNvPr>
            <p:cNvSpPr/>
            <p:nvPr/>
          </p:nvSpPr>
          <p:spPr>
            <a:xfrm>
              <a:off x="4593228" y="3471074"/>
              <a:ext cx="154654" cy="340239"/>
            </a:xfrm>
            <a:custGeom>
              <a:avLst/>
              <a:gdLst>
                <a:gd name="connsiteX0" fmla="*/ 167026 w 154654"/>
                <a:gd name="connsiteY0" fmla="*/ 346425 h 340239"/>
                <a:gd name="connsiteX1" fmla="*/ 0 w 154654"/>
                <a:gd name="connsiteY1" fmla="*/ 346425 h 340239"/>
                <a:gd name="connsiteX2" fmla="*/ 0 w 154654"/>
                <a:gd name="connsiteY2" fmla="*/ 0 h 340239"/>
                <a:gd name="connsiteX3" fmla="*/ 167026 w 154654"/>
                <a:gd name="connsiteY3" fmla="*/ 34024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340239">
                  <a:moveTo>
                    <a:pt x="167026" y="346425"/>
                  </a:moveTo>
                  <a:lnTo>
                    <a:pt x="0" y="346425"/>
                  </a:lnTo>
                  <a:lnTo>
                    <a:pt x="0" y="0"/>
                  </a:lnTo>
                  <a:lnTo>
                    <a:pt x="167026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0" name="任意多边形: 形状 10179">
              <a:extLst>
                <a:ext uri="{FF2B5EF4-FFF2-40B4-BE49-F238E27FC236}">
                  <a16:creationId xmlns:a16="http://schemas.microsoft.com/office/drawing/2014/main" id="{663051B9-CAEC-4D02-A843-55AAC95BD13D}"/>
                </a:ext>
              </a:extLst>
            </p:cNvPr>
            <p:cNvSpPr/>
            <p:nvPr/>
          </p:nvSpPr>
          <p:spPr>
            <a:xfrm>
              <a:off x="4355060" y="3675217"/>
              <a:ext cx="247447" cy="1515611"/>
            </a:xfrm>
            <a:custGeom>
              <a:avLst/>
              <a:gdLst>
                <a:gd name="connsiteX0" fmla="*/ 0 w 247446"/>
                <a:gd name="connsiteY0" fmla="*/ 0 h 1515610"/>
                <a:gd name="connsiteX1" fmla="*/ 266005 w 247446"/>
                <a:gd name="connsiteY1" fmla="*/ 0 h 1515610"/>
                <a:gd name="connsiteX2" fmla="*/ 266005 w 247446"/>
                <a:gd name="connsiteY2" fmla="*/ 1524890 h 1515610"/>
                <a:gd name="connsiteX3" fmla="*/ 0 w 247446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1515610">
                  <a:moveTo>
                    <a:pt x="0" y="0"/>
                  </a:moveTo>
                  <a:lnTo>
                    <a:pt x="266005" y="0"/>
                  </a:lnTo>
                  <a:lnTo>
                    <a:pt x="266005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1" name="任意多边形: 形状 10180">
              <a:extLst>
                <a:ext uri="{FF2B5EF4-FFF2-40B4-BE49-F238E27FC236}">
                  <a16:creationId xmlns:a16="http://schemas.microsoft.com/office/drawing/2014/main" id="{B0BA33E2-9788-472D-A0F0-A83951EF5E84}"/>
                </a:ext>
              </a:extLst>
            </p:cNvPr>
            <p:cNvSpPr/>
            <p:nvPr/>
          </p:nvSpPr>
          <p:spPr>
            <a:xfrm>
              <a:off x="4348874" y="3669031"/>
              <a:ext cx="278378" cy="1515611"/>
            </a:xfrm>
            <a:custGeom>
              <a:avLst/>
              <a:gdLst>
                <a:gd name="connsiteX0" fmla="*/ 278378 w 278377"/>
                <a:gd name="connsiteY0" fmla="*/ 1537262 h 1515610"/>
                <a:gd name="connsiteX1" fmla="*/ 0 w 278377"/>
                <a:gd name="connsiteY1" fmla="*/ 1537262 h 1515610"/>
                <a:gd name="connsiteX2" fmla="*/ 0 w 278377"/>
                <a:gd name="connsiteY2" fmla="*/ 0 h 1515610"/>
                <a:gd name="connsiteX3" fmla="*/ 278378 w 278377"/>
                <a:gd name="connsiteY3" fmla="*/ 0 h 1515610"/>
                <a:gd name="connsiteX4" fmla="*/ 278378 w 278377"/>
                <a:gd name="connsiteY4" fmla="*/ 1537262 h 1515610"/>
                <a:gd name="connsiteX5" fmla="*/ 12372 w 278377"/>
                <a:gd name="connsiteY5" fmla="*/ 1527983 h 1515610"/>
                <a:gd name="connsiteX6" fmla="*/ 266005 w 278377"/>
                <a:gd name="connsiteY6" fmla="*/ 1527983 h 1515610"/>
                <a:gd name="connsiteX7" fmla="*/ 266005 w 278377"/>
                <a:gd name="connsiteY7" fmla="*/ 12372 h 1515610"/>
                <a:gd name="connsiteX8" fmla="*/ 12372 w 278377"/>
                <a:gd name="connsiteY8" fmla="*/ 12372 h 1515610"/>
                <a:gd name="connsiteX9" fmla="*/ 12372 w 278377"/>
                <a:gd name="connsiteY9" fmla="*/ 1527983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77" h="1515610">
                  <a:moveTo>
                    <a:pt x="278378" y="1537262"/>
                  </a:moveTo>
                  <a:lnTo>
                    <a:pt x="0" y="1537262"/>
                  </a:lnTo>
                  <a:lnTo>
                    <a:pt x="0" y="0"/>
                  </a:lnTo>
                  <a:lnTo>
                    <a:pt x="278378" y="0"/>
                  </a:lnTo>
                  <a:lnTo>
                    <a:pt x="278378" y="1537262"/>
                  </a:lnTo>
                  <a:close/>
                  <a:moveTo>
                    <a:pt x="12372" y="1527983"/>
                  </a:moveTo>
                  <a:lnTo>
                    <a:pt x="266005" y="1527983"/>
                  </a:lnTo>
                  <a:lnTo>
                    <a:pt x="266005" y="12372"/>
                  </a:lnTo>
                  <a:lnTo>
                    <a:pt x="12372" y="12372"/>
                  </a:lnTo>
                  <a:lnTo>
                    <a:pt x="12372" y="1527983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2" name="任意多边形: 形状 10181">
              <a:extLst>
                <a:ext uri="{FF2B5EF4-FFF2-40B4-BE49-F238E27FC236}">
                  <a16:creationId xmlns:a16="http://schemas.microsoft.com/office/drawing/2014/main" id="{8E2FC38F-31A6-496E-BBCD-A829DBEFEACF}"/>
                </a:ext>
              </a:extLst>
            </p:cNvPr>
            <p:cNvSpPr/>
            <p:nvPr/>
          </p:nvSpPr>
          <p:spPr>
            <a:xfrm>
              <a:off x="4355060" y="515371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3" name="任意多边形: 形状 10182">
              <a:extLst>
                <a:ext uri="{FF2B5EF4-FFF2-40B4-BE49-F238E27FC236}">
                  <a16:creationId xmlns:a16="http://schemas.microsoft.com/office/drawing/2014/main" id="{3A5F3998-F65D-48E7-92C5-8877C7F97D60}"/>
                </a:ext>
              </a:extLst>
            </p:cNvPr>
            <p:cNvSpPr/>
            <p:nvPr/>
          </p:nvSpPr>
          <p:spPr>
            <a:xfrm>
              <a:off x="4355060" y="514752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4" name="任意多边形: 形状 10183">
              <a:extLst>
                <a:ext uri="{FF2B5EF4-FFF2-40B4-BE49-F238E27FC236}">
                  <a16:creationId xmlns:a16="http://schemas.microsoft.com/office/drawing/2014/main" id="{77661A63-3B29-46D5-8374-459ADD7D6F9C}"/>
                </a:ext>
              </a:extLst>
            </p:cNvPr>
            <p:cNvSpPr/>
            <p:nvPr/>
          </p:nvSpPr>
          <p:spPr>
            <a:xfrm>
              <a:off x="4355060" y="510422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5" name="任意多边形: 形状 10184">
              <a:extLst>
                <a:ext uri="{FF2B5EF4-FFF2-40B4-BE49-F238E27FC236}">
                  <a16:creationId xmlns:a16="http://schemas.microsoft.com/office/drawing/2014/main" id="{6A43C964-FF3F-467F-B2C5-214FDF60B2BB}"/>
                </a:ext>
              </a:extLst>
            </p:cNvPr>
            <p:cNvSpPr/>
            <p:nvPr/>
          </p:nvSpPr>
          <p:spPr>
            <a:xfrm>
              <a:off x="4355060" y="509803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6" name="任意多边形: 形状 10185">
              <a:extLst>
                <a:ext uri="{FF2B5EF4-FFF2-40B4-BE49-F238E27FC236}">
                  <a16:creationId xmlns:a16="http://schemas.microsoft.com/office/drawing/2014/main" id="{DE476F5F-2882-4880-97FA-A8015D6A2BB3}"/>
                </a:ext>
              </a:extLst>
            </p:cNvPr>
            <p:cNvSpPr/>
            <p:nvPr/>
          </p:nvSpPr>
          <p:spPr>
            <a:xfrm>
              <a:off x="4355060" y="505473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7" name="任意多边形: 形状 10186">
              <a:extLst>
                <a:ext uri="{FF2B5EF4-FFF2-40B4-BE49-F238E27FC236}">
                  <a16:creationId xmlns:a16="http://schemas.microsoft.com/office/drawing/2014/main" id="{3903E8F1-67F3-4FE9-BED2-F174AC33F9EE}"/>
                </a:ext>
              </a:extLst>
            </p:cNvPr>
            <p:cNvSpPr/>
            <p:nvPr/>
          </p:nvSpPr>
          <p:spPr>
            <a:xfrm>
              <a:off x="4355060" y="50485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8" name="任意多边形: 形状 10187">
              <a:extLst>
                <a:ext uri="{FF2B5EF4-FFF2-40B4-BE49-F238E27FC236}">
                  <a16:creationId xmlns:a16="http://schemas.microsoft.com/office/drawing/2014/main" id="{D9A0A94F-A9AD-490A-85E7-9794DB9547C5}"/>
                </a:ext>
              </a:extLst>
            </p:cNvPr>
            <p:cNvSpPr/>
            <p:nvPr/>
          </p:nvSpPr>
          <p:spPr>
            <a:xfrm>
              <a:off x="4355060" y="50052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89" name="任意多边形: 形状 10188">
              <a:extLst>
                <a:ext uri="{FF2B5EF4-FFF2-40B4-BE49-F238E27FC236}">
                  <a16:creationId xmlns:a16="http://schemas.microsoft.com/office/drawing/2014/main" id="{36ADDCCB-AE4E-4461-AD5B-88D1056BA7D0}"/>
                </a:ext>
              </a:extLst>
            </p:cNvPr>
            <p:cNvSpPr/>
            <p:nvPr/>
          </p:nvSpPr>
          <p:spPr>
            <a:xfrm>
              <a:off x="4355060" y="49990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0" name="任意多边形: 形状 10189">
              <a:extLst>
                <a:ext uri="{FF2B5EF4-FFF2-40B4-BE49-F238E27FC236}">
                  <a16:creationId xmlns:a16="http://schemas.microsoft.com/office/drawing/2014/main" id="{6BB73580-E501-474E-A015-C28905E3BF48}"/>
                </a:ext>
              </a:extLst>
            </p:cNvPr>
            <p:cNvSpPr/>
            <p:nvPr/>
          </p:nvSpPr>
          <p:spPr>
            <a:xfrm>
              <a:off x="4355060" y="495575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1" name="任意多边形: 形状 10190">
              <a:extLst>
                <a:ext uri="{FF2B5EF4-FFF2-40B4-BE49-F238E27FC236}">
                  <a16:creationId xmlns:a16="http://schemas.microsoft.com/office/drawing/2014/main" id="{8C7801F1-137B-44FA-BA37-36C6C0019063}"/>
                </a:ext>
              </a:extLst>
            </p:cNvPr>
            <p:cNvSpPr/>
            <p:nvPr/>
          </p:nvSpPr>
          <p:spPr>
            <a:xfrm>
              <a:off x="4355060" y="494956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2" name="任意多边形: 形状 10191">
              <a:extLst>
                <a:ext uri="{FF2B5EF4-FFF2-40B4-BE49-F238E27FC236}">
                  <a16:creationId xmlns:a16="http://schemas.microsoft.com/office/drawing/2014/main" id="{80EE4DF0-7CB0-4DA2-9FFB-F1EE74853769}"/>
                </a:ext>
              </a:extLst>
            </p:cNvPr>
            <p:cNvSpPr/>
            <p:nvPr/>
          </p:nvSpPr>
          <p:spPr>
            <a:xfrm>
              <a:off x="4355060" y="490626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3" name="任意多边形: 形状 10192">
              <a:extLst>
                <a:ext uri="{FF2B5EF4-FFF2-40B4-BE49-F238E27FC236}">
                  <a16:creationId xmlns:a16="http://schemas.microsoft.com/office/drawing/2014/main" id="{5A40ACAA-72A3-4B56-8BE7-55138A0A216B}"/>
                </a:ext>
              </a:extLst>
            </p:cNvPr>
            <p:cNvSpPr/>
            <p:nvPr/>
          </p:nvSpPr>
          <p:spPr>
            <a:xfrm>
              <a:off x="4355060" y="49000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4" name="任意多边形: 形状 10193">
              <a:extLst>
                <a:ext uri="{FF2B5EF4-FFF2-40B4-BE49-F238E27FC236}">
                  <a16:creationId xmlns:a16="http://schemas.microsoft.com/office/drawing/2014/main" id="{5F1CBA2B-A464-4D23-A7CC-45192540AEA0}"/>
                </a:ext>
              </a:extLst>
            </p:cNvPr>
            <p:cNvSpPr/>
            <p:nvPr/>
          </p:nvSpPr>
          <p:spPr>
            <a:xfrm>
              <a:off x="4355060" y="48567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5" name="任意多边形: 形状 10194">
              <a:extLst>
                <a:ext uri="{FF2B5EF4-FFF2-40B4-BE49-F238E27FC236}">
                  <a16:creationId xmlns:a16="http://schemas.microsoft.com/office/drawing/2014/main" id="{1DD38FAD-3EE1-4083-826A-337784539748}"/>
                </a:ext>
              </a:extLst>
            </p:cNvPr>
            <p:cNvSpPr/>
            <p:nvPr/>
          </p:nvSpPr>
          <p:spPr>
            <a:xfrm>
              <a:off x="4355060" y="48505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6" name="任意多边形: 形状 10195">
              <a:extLst>
                <a:ext uri="{FF2B5EF4-FFF2-40B4-BE49-F238E27FC236}">
                  <a16:creationId xmlns:a16="http://schemas.microsoft.com/office/drawing/2014/main" id="{3E726887-45A1-4C67-828D-CB444B6125B7}"/>
                </a:ext>
              </a:extLst>
            </p:cNvPr>
            <p:cNvSpPr/>
            <p:nvPr/>
          </p:nvSpPr>
          <p:spPr>
            <a:xfrm>
              <a:off x="4355060" y="480728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7" name="任意多边形: 形状 10196">
              <a:extLst>
                <a:ext uri="{FF2B5EF4-FFF2-40B4-BE49-F238E27FC236}">
                  <a16:creationId xmlns:a16="http://schemas.microsoft.com/office/drawing/2014/main" id="{E963519C-820B-4563-884B-4DB438A39E92}"/>
                </a:ext>
              </a:extLst>
            </p:cNvPr>
            <p:cNvSpPr/>
            <p:nvPr/>
          </p:nvSpPr>
          <p:spPr>
            <a:xfrm>
              <a:off x="4355060" y="480110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8" name="任意多边形: 形状 10197">
              <a:extLst>
                <a:ext uri="{FF2B5EF4-FFF2-40B4-BE49-F238E27FC236}">
                  <a16:creationId xmlns:a16="http://schemas.microsoft.com/office/drawing/2014/main" id="{80BB318E-9BEC-4585-900D-AB497F448AF1}"/>
                </a:ext>
              </a:extLst>
            </p:cNvPr>
            <p:cNvSpPr/>
            <p:nvPr/>
          </p:nvSpPr>
          <p:spPr>
            <a:xfrm>
              <a:off x="4355060" y="475779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99" name="任意多边形: 形状 10198">
              <a:extLst>
                <a:ext uri="{FF2B5EF4-FFF2-40B4-BE49-F238E27FC236}">
                  <a16:creationId xmlns:a16="http://schemas.microsoft.com/office/drawing/2014/main" id="{0C7DB340-B1D4-412B-AD79-43EA2A27E549}"/>
                </a:ext>
              </a:extLst>
            </p:cNvPr>
            <p:cNvSpPr/>
            <p:nvPr/>
          </p:nvSpPr>
          <p:spPr>
            <a:xfrm>
              <a:off x="4355060" y="475161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0" name="任意多边形: 形状 10199">
              <a:extLst>
                <a:ext uri="{FF2B5EF4-FFF2-40B4-BE49-F238E27FC236}">
                  <a16:creationId xmlns:a16="http://schemas.microsoft.com/office/drawing/2014/main" id="{F6A2465F-6798-4EF1-ADBB-1D31EDF96781}"/>
                </a:ext>
              </a:extLst>
            </p:cNvPr>
            <p:cNvSpPr/>
            <p:nvPr/>
          </p:nvSpPr>
          <p:spPr>
            <a:xfrm>
              <a:off x="4355060" y="470830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1" name="任意多边形: 形状 10200">
              <a:extLst>
                <a:ext uri="{FF2B5EF4-FFF2-40B4-BE49-F238E27FC236}">
                  <a16:creationId xmlns:a16="http://schemas.microsoft.com/office/drawing/2014/main" id="{CA79F7F8-D565-4D58-8657-CF2E8591F843}"/>
                </a:ext>
              </a:extLst>
            </p:cNvPr>
            <p:cNvSpPr/>
            <p:nvPr/>
          </p:nvSpPr>
          <p:spPr>
            <a:xfrm>
              <a:off x="4355060" y="470521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2" name="任意多边形: 形状 10201">
              <a:extLst>
                <a:ext uri="{FF2B5EF4-FFF2-40B4-BE49-F238E27FC236}">
                  <a16:creationId xmlns:a16="http://schemas.microsoft.com/office/drawing/2014/main" id="{D7CD5B0E-F781-492E-BA3F-DADF760CA962}"/>
                </a:ext>
              </a:extLst>
            </p:cNvPr>
            <p:cNvSpPr/>
            <p:nvPr/>
          </p:nvSpPr>
          <p:spPr>
            <a:xfrm>
              <a:off x="4355060" y="465881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3" name="任意多边形: 形状 10202">
              <a:extLst>
                <a:ext uri="{FF2B5EF4-FFF2-40B4-BE49-F238E27FC236}">
                  <a16:creationId xmlns:a16="http://schemas.microsoft.com/office/drawing/2014/main" id="{1113425D-CA42-41DC-B8E1-689B7D2C805D}"/>
                </a:ext>
              </a:extLst>
            </p:cNvPr>
            <p:cNvSpPr/>
            <p:nvPr/>
          </p:nvSpPr>
          <p:spPr>
            <a:xfrm>
              <a:off x="4355060" y="465572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4" name="任意多边形: 形状 10203">
              <a:extLst>
                <a:ext uri="{FF2B5EF4-FFF2-40B4-BE49-F238E27FC236}">
                  <a16:creationId xmlns:a16="http://schemas.microsoft.com/office/drawing/2014/main" id="{166CA14F-27B2-4989-AD47-134BAFE841A6}"/>
                </a:ext>
              </a:extLst>
            </p:cNvPr>
            <p:cNvSpPr/>
            <p:nvPr/>
          </p:nvSpPr>
          <p:spPr>
            <a:xfrm>
              <a:off x="4355060" y="461242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5" name="任意多边形: 形状 10204">
              <a:extLst>
                <a:ext uri="{FF2B5EF4-FFF2-40B4-BE49-F238E27FC236}">
                  <a16:creationId xmlns:a16="http://schemas.microsoft.com/office/drawing/2014/main" id="{58D57165-E482-4292-91B1-AF99F4624AC3}"/>
                </a:ext>
              </a:extLst>
            </p:cNvPr>
            <p:cNvSpPr/>
            <p:nvPr/>
          </p:nvSpPr>
          <p:spPr>
            <a:xfrm>
              <a:off x="4355060" y="460623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6" name="任意多边形: 形状 10205">
              <a:extLst>
                <a:ext uri="{FF2B5EF4-FFF2-40B4-BE49-F238E27FC236}">
                  <a16:creationId xmlns:a16="http://schemas.microsoft.com/office/drawing/2014/main" id="{4B88AD74-899E-4EEF-B38E-43D88B45BCC0}"/>
                </a:ext>
              </a:extLst>
            </p:cNvPr>
            <p:cNvSpPr/>
            <p:nvPr/>
          </p:nvSpPr>
          <p:spPr>
            <a:xfrm>
              <a:off x="4355060" y="45629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7" name="任意多边形: 形状 10206">
              <a:extLst>
                <a:ext uri="{FF2B5EF4-FFF2-40B4-BE49-F238E27FC236}">
                  <a16:creationId xmlns:a16="http://schemas.microsoft.com/office/drawing/2014/main" id="{60D4977B-5D4F-4505-BF9C-7FBA2A64D343}"/>
                </a:ext>
              </a:extLst>
            </p:cNvPr>
            <p:cNvSpPr/>
            <p:nvPr/>
          </p:nvSpPr>
          <p:spPr>
            <a:xfrm>
              <a:off x="4355060" y="45567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8" name="任意多边形: 形状 10207">
              <a:extLst>
                <a:ext uri="{FF2B5EF4-FFF2-40B4-BE49-F238E27FC236}">
                  <a16:creationId xmlns:a16="http://schemas.microsoft.com/office/drawing/2014/main" id="{0BE566E8-7AC6-4BA6-9579-BE1062DA933C}"/>
                </a:ext>
              </a:extLst>
            </p:cNvPr>
            <p:cNvSpPr/>
            <p:nvPr/>
          </p:nvSpPr>
          <p:spPr>
            <a:xfrm>
              <a:off x="4355060" y="45134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09" name="任意多边形: 形状 10208">
              <a:extLst>
                <a:ext uri="{FF2B5EF4-FFF2-40B4-BE49-F238E27FC236}">
                  <a16:creationId xmlns:a16="http://schemas.microsoft.com/office/drawing/2014/main" id="{B3B9685E-C737-4B18-9511-BF4E14122F3E}"/>
                </a:ext>
              </a:extLst>
            </p:cNvPr>
            <p:cNvSpPr/>
            <p:nvPr/>
          </p:nvSpPr>
          <p:spPr>
            <a:xfrm>
              <a:off x="4355060" y="45072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0" name="任意多边形: 形状 10209">
              <a:extLst>
                <a:ext uri="{FF2B5EF4-FFF2-40B4-BE49-F238E27FC236}">
                  <a16:creationId xmlns:a16="http://schemas.microsoft.com/office/drawing/2014/main" id="{8C6BF0AA-B2D9-4881-9FE5-1508D5A644C6}"/>
                </a:ext>
              </a:extLst>
            </p:cNvPr>
            <p:cNvSpPr/>
            <p:nvPr/>
          </p:nvSpPr>
          <p:spPr>
            <a:xfrm>
              <a:off x="4355060" y="446395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1" name="任意多边形: 形状 10210">
              <a:extLst>
                <a:ext uri="{FF2B5EF4-FFF2-40B4-BE49-F238E27FC236}">
                  <a16:creationId xmlns:a16="http://schemas.microsoft.com/office/drawing/2014/main" id="{1912C7DE-8B5F-4219-94F7-D3FC46869A99}"/>
                </a:ext>
              </a:extLst>
            </p:cNvPr>
            <p:cNvSpPr/>
            <p:nvPr/>
          </p:nvSpPr>
          <p:spPr>
            <a:xfrm>
              <a:off x="4355060" y="445776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2" name="任意多边形: 形状 10211">
              <a:extLst>
                <a:ext uri="{FF2B5EF4-FFF2-40B4-BE49-F238E27FC236}">
                  <a16:creationId xmlns:a16="http://schemas.microsoft.com/office/drawing/2014/main" id="{C55AC3FA-6E51-45E8-93BA-10F49228B90C}"/>
                </a:ext>
              </a:extLst>
            </p:cNvPr>
            <p:cNvSpPr/>
            <p:nvPr/>
          </p:nvSpPr>
          <p:spPr>
            <a:xfrm>
              <a:off x="4355060" y="441446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3" name="任意多边形: 形状 10212">
              <a:extLst>
                <a:ext uri="{FF2B5EF4-FFF2-40B4-BE49-F238E27FC236}">
                  <a16:creationId xmlns:a16="http://schemas.microsoft.com/office/drawing/2014/main" id="{2B1128B9-61E5-463F-BA03-F820ED19FF93}"/>
                </a:ext>
              </a:extLst>
            </p:cNvPr>
            <p:cNvSpPr/>
            <p:nvPr/>
          </p:nvSpPr>
          <p:spPr>
            <a:xfrm>
              <a:off x="4355060" y="44082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4" name="任意多边形: 形状 10213">
              <a:extLst>
                <a:ext uri="{FF2B5EF4-FFF2-40B4-BE49-F238E27FC236}">
                  <a16:creationId xmlns:a16="http://schemas.microsoft.com/office/drawing/2014/main" id="{AB4A20DE-55CC-48CA-8C19-86D712306B7F}"/>
                </a:ext>
              </a:extLst>
            </p:cNvPr>
            <p:cNvSpPr/>
            <p:nvPr/>
          </p:nvSpPr>
          <p:spPr>
            <a:xfrm>
              <a:off x="4355060" y="43649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5" name="任意多边形: 形状 10214">
              <a:extLst>
                <a:ext uri="{FF2B5EF4-FFF2-40B4-BE49-F238E27FC236}">
                  <a16:creationId xmlns:a16="http://schemas.microsoft.com/office/drawing/2014/main" id="{64877447-CD99-449C-93E4-B83C08C54E46}"/>
                </a:ext>
              </a:extLst>
            </p:cNvPr>
            <p:cNvSpPr/>
            <p:nvPr/>
          </p:nvSpPr>
          <p:spPr>
            <a:xfrm>
              <a:off x="4355060" y="43587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6" name="任意多边形: 形状 10215">
              <a:extLst>
                <a:ext uri="{FF2B5EF4-FFF2-40B4-BE49-F238E27FC236}">
                  <a16:creationId xmlns:a16="http://schemas.microsoft.com/office/drawing/2014/main" id="{0079BE75-8368-466E-8CB6-FE1315D21372}"/>
                </a:ext>
              </a:extLst>
            </p:cNvPr>
            <p:cNvSpPr/>
            <p:nvPr/>
          </p:nvSpPr>
          <p:spPr>
            <a:xfrm>
              <a:off x="4355060" y="431548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7" name="任意多边形: 形状 10216">
              <a:extLst>
                <a:ext uri="{FF2B5EF4-FFF2-40B4-BE49-F238E27FC236}">
                  <a16:creationId xmlns:a16="http://schemas.microsoft.com/office/drawing/2014/main" id="{2A67A619-BADF-4E47-BAA8-6F52A7466FEE}"/>
                </a:ext>
              </a:extLst>
            </p:cNvPr>
            <p:cNvSpPr/>
            <p:nvPr/>
          </p:nvSpPr>
          <p:spPr>
            <a:xfrm>
              <a:off x="4355060" y="43092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8" name="任意多边形: 形状 10217">
              <a:extLst>
                <a:ext uri="{FF2B5EF4-FFF2-40B4-BE49-F238E27FC236}">
                  <a16:creationId xmlns:a16="http://schemas.microsoft.com/office/drawing/2014/main" id="{5345E259-40CB-4622-AC6F-2D78FCEFAD13}"/>
                </a:ext>
              </a:extLst>
            </p:cNvPr>
            <p:cNvSpPr/>
            <p:nvPr/>
          </p:nvSpPr>
          <p:spPr>
            <a:xfrm>
              <a:off x="4355060" y="426599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19" name="任意多边形: 形状 10218">
              <a:extLst>
                <a:ext uri="{FF2B5EF4-FFF2-40B4-BE49-F238E27FC236}">
                  <a16:creationId xmlns:a16="http://schemas.microsoft.com/office/drawing/2014/main" id="{EF867CC7-A495-4B0E-8D36-605BBE961A18}"/>
                </a:ext>
              </a:extLst>
            </p:cNvPr>
            <p:cNvSpPr/>
            <p:nvPr/>
          </p:nvSpPr>
          <p:spPr>
            <a:xfrm>
              <a:off x="4355060" y="425981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0" name="任意多边形: 形状 10219">
              <a:extLst>
                <a:ext uri="{FF2B5EF4-FFF2-40B4-BE49-F238E27FC236}">
                  <a16:creationId xmlns:a16="http://schemas.microsoft.com/office/drawing/2014/main" id="{FF9A52AE-80BA-4DF9-B774-6F37F87D4E5C}"/>
                </a:ext>
              </a:extLst>
            </p:cNvPr>
            <p:cNvSpPr/>
            <p:nvPr/>
          </p:nvSpPr>
          <p:spPr>
            <a:xfrm>
              <a:off x="4355060" y="421650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1" name="任意多边形: 形状 10220">
              <a:extLst>
                <a:ext uri="{FF2B5EF4-FFF2-40B4-BE49-F238E27FC236}">
                  <a16:creationId xmlns:a16="http://schemas.microsoft.com/office/drawing/2014/main" id="{63D91B8E-0E04-45B3-9734-01AB3D2FD59C}"/>
                </a:ext>
              </a:extLst>
            </p:cNvPr>
            <p:cNvSpPr/>
            <p:nvPr/>
          </p:nvSpPr>
          <p:spPr>
            <a:xfrm>
              <a:off x="4355060" y="421032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2" name="任意多边形: 形状 10221">
              <a:extLst>
                <a:ext uri="{FF2B5EF4-FFF2-40B4-BE49-F238E27FC236}">
                  <a16:creationId xmlns:a16="http://schemas.microsoft.com/office/drawing/2014/main" id="{41FC73E3-AE1E-4C6C-B30F-1D1E4851AF3C}"/>
                </a:ext>
              </a:extLst>
            </p:cNvPr>
            <p:cNvSpPr/>
            <p:nvPr/>
          </p:nvSpPr>
          <p:spPr>
            <a:xfrm>
              <a:off x="4355060" y="416701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3" name="任意多边形: 形状 10222">
              <a:extLst>
                <a:ext uri="{FF2B5EF4-FFF2-40B4-BE49-F238E27FC236}">
                  <a16:creationId xmlns:a16="http://schemas.microsoft.com/office/drawing/2014/main" id="{B51D6690-9D67-4798-9FD5-BD4CE440FDA9}"/>
                </a:ext>
              </a:extLst>
            </p:cNvPr>
            <p:cNvSpPr/>
            <p:nvPr/>
          </p:nvSpPr>
          <p:spPr>
            <a:xfrm>
              <a:off x="4355060" y="416083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4" name="任意多边形: 形状 10223">
              <a:extLst>
                <a:ext uri="{FF2B5EF4-FFF2-40B4-BE49-F238E27FC236}">
                  <a16:creationId xmlns:a16="http://schemas.microsoft.com/office/drawing/2014/main" id="{3DF8D2CD-279C-40A7-BA69-797FF3324EBB}"/>
                </a:ext>
              </a:extLst>
            </p:cNvPr>
            <p:cNvSpPr/>
            <p:nvPr/>
          </p:nvSpPr>
          <p:spPr>
            <a:xfrm>
              <a:off x="4355060" y="41175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5" name="任意多边形: 形状 10224">
              <a:extLst>
                <a:ext uri="{FF2B5EF4-FFF2-40B4-BE49-F238E27FC236}">
                  <a16:creationId xmlns:a16="http://schemas.microsoft.com/office/drawing/2014/main" id="{CEFA44AA-B330-46A3-B67F-FDBFFFA9EBB5}"/>
                </a:ext>
              </a:extLst>
            </p:cNvPr>
            <p:cNvSpPr/>
            <p:nvPr/>
          </p:nvSpPr>
          <p:spPr>
            <a:xfrm>
              <a:off x="4355060" y="41113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6" name="任意多边形: 形状 10225">
              <a:extLst>
                <a:ext uri="{FF2B5EF4-FFF2-40B4-BE49-F238E27FC236}">
                  <a16:creationId xmlns:a16="http://schemas.microsoft.com/office/drawing/2014/main" id="{0423BE0C-CFA9-44B5-ACEA-6C0BC8C50055}"/>
                </a:ext>
              </a:extLst>
            </p:cNvPr>
            <p:cNvSpPr/>
            <p:nvPr/>
          </p:nvSpPr>
          <p:spPr>
            <a:xfrm>
              <a:off x="4355060" y="406803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7" name="任意多边形: 形状 10226">
              <a:extLst>
                <a:ext uri="{FF2B5EF4-FFF2-40B4-BE49-F238E27FC236}">
                  <a16:creationId xmlns:a16="http://schemas.microsoft.com/office/drawing/2014/main" id="{27E8E628-4328-4DD6-BDB9-E13DC20D2C6F}"/>
                </a:ext>
              </a:extLst>
            </p:cNvPr>
            <p:cNvSpPr/>
            <p:nvPr/>
          </p:nvSpPr>
          <p:spPr>
            <a:xfrm>
              <a:off x="4355060" y="40649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8" name="任意多边形: 形状 10227">
              <a:extLst>
                <a:ext uri="{FF2B5EF4-FFF2-40B4-BE49-F238E27FC236}">
                  <a16:creationId xmlns:a16="http://schemas.microsoft.com/office/drawing/2014/main" id="{B37B0926-39C6-4DDF-875F-2BBC349F9763}"/>
                </a:ext>
              </a:extLst>
            </p:cNvPr>
            <p:cNvSpPr/>
            <p:nvPr/>
          </p:nvSpPr>
          <p:spPr>
            <a:xfrm>
              <a:off x="4355060" y="40216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29" name="任意多边形: 形状 10228">
              <a:extLst>
                <a:ext uri="{FF2B5EF4-FFF2-40B4-BE49-F238E27FC236}">
                  <a16:creationId xmlns:a16="http://schemas.microsoft.com/office/drawing/2014/main" id="{C9848A37-7BCE-4CB7-B065-266B49F21047}"/>
                </a:ext>
              </a:extLst>
            </p:cNvPr>
            <p:cNvSpPr/>
            <p:nvPr/>
          </p:nvSpPr>
          <p:spPr>
            <a:xfrm>
              <a:off x="4355060" y="40154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0" name="任意多边形: 形状 10229">
              <a:extLst>
                <a:ext uri="{FF2B5EF4-FFF2-40B4-BE49-F238E27FC236}">
                  <a16:creationId xmlns:a16="http://schemas.microsoft.com/office/drawing/2014/main" id="{AF27E236-6EEA-4E7C-9C1E-8471B364BAC2}"/>
                </a:ext>
              </a:extLst>
            </p:cNvPr>
            <p:cNvSpPr/>
            <p:nvPr/>
          </p:nvSpPr>
          <p:spPr>
            <a:xfrm>
              <a:off x="4355060" y="397215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1" name="任意多边形: 形状 10230">
              <a:extLst>
                <a:ext uri="{FF2B5EF4-FFF2-40B4-BE49-F238E27FC236}">
                  <a16:creationId xmlns:a16="http://schemas.microsoft.com/office/drawing/2014/main" id="{5A71FF58-AE0D-44E8-96C3-13562C7E0418}"/>
                </a:ext>
              </a:extLst>
            </p:cNvPr>
            <p:cNvSpPr/>
            <p:nvPr/>
          </p:nvSpPr>
          <p:spPr>
            <a:xfrm>
              <a:off x="4355060" y="396596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2" name="任意多边形: 形状 10231">
              <a:extLst>
                <a:ext uri="{FF2B5EF4-FFF2-40B4-BE49-F238E27FC236}">
                  <a16:creationId xmlns:a16="http://schemas.microsoft.com/office/drawing/2014/main" id="{0A64BC59-B149-4924-BE89-E5B2DF34D5CC}"/>
                </a:ext>
              </a:extLst>
            </p:cNvPr>
            <p:cNvSpPr/>
            <p:nvPr/>
          </p:nvSpPr>
          <p:spPr>
            <a:xfrm>
              <a:off x="4355060" y="392266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3" name="任意多边形: 形状 10232">
              <a:extLst>
                <a:ext uri="{FF2B5EF4-FFF2-40B4-BE49-F238E27FC236}">
                  <a16:creationId xmlns:a16="http://schemas.microsoft.com/office/drawing/2014/main" id="{1B47653F-744D-43B7-B643-B08F889A400E}"/>
                </a:ext>
              </a:extLst>
            </p:cNvPr>
            <p:cNvSpPr/>
            <p:nvPr/>
          </p:nvSpPr>
          <p:spPr>
            <a:xfrm>
              <a:off x="4355060" y="39164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4" name="任意多边形: 形状 10233">
              <a:extLst>
                <a:ext uri="{FF2B5EF4-FFF2-40B4-BE49-F238E27FC236}">
                  <a16:creationId xmlns:a16="http://schemas.microsoft.com/office/drawing/2014/main" id="{433FEB18-F6FF-4622-B433-118528D90CEA}"/>
                </a:ext>
              </a:extLst>
            </p:cNvPr>
            <p:cNvSpPr/>
            <p:nvPr/>
          </p:nvSpPr>
          <p:spPr>
            <a:xfrm>
              <a:off x="4355060" y="38731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5" name="任意多边形: 形状 10234">
              <a:extLst>
                <a:ext uri="{FF2B5EF4-FFF2-40B4-BE49-F238E27FC236}">
                  <a16:creationId xmlns:a16="http://schemas.microsoft.com/office/drawing/2014/main" id="{C37D4562-2403-4751-A784-D264D98BF704}"/>
                </a:ext>
              </a:extLst>
            </p:cNvPr>
            <p:cNvSpPr/>
            <p:nvPr/>
          </p:nvSpPr>
          <p:spPr>
            <a:xfrm>
              <a:off x="4355060" y="38669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6" name="任意多边形: 形状 10235">
              <a:extLst>
                <a:ext uri="{FF2B5EF4-FFF2-40B4-BE49-F238E27FC236}">
                  <a16:creationId xmlns:a16="http://schemas.microsoft.com/office/drawing/2014/main" id="{263310EF-76E1-4F2B-9B42-74875B9AAF5F}"/>
                </a:ext>
              </a:extLst>
            </p:cNvPr>
            <p:cNvSpPr/>
            <p:nvPr/>
          </p:nvSpPr>
          <p:spPr>
            <a:xfrm>
              <a:off x="4355060" y="382368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7" name="任意多边形: 形状 10236">
              <a:extLst>
                <a:ext uri="{FF2B5EF4-FFF2-40B4-BE49-F238E27FC236}">
                  <a16:creationId xmlns:a16="http://schemas.microsoft.com/office/drawing/2014/main" id="{D8E8FC7E-2E33-4ECA-91F2-7C0F0064242C}"/>
                </a:ext>
              </a:extLst>
            </p:cNvPr>
            <p:cNvSpPr/>
            <p:nvPr/>
          </p:nvSpPr>
          <p:spPr>
            <a:xfrm>
              <a:off x="4355060" y="38174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8" name="任意多边形: 形状 10237">
              <a:extLst>
                <a:ext uri="{FF2B5EF4-FFF2-40B4-BE49-F238E27FC236}">
                  <a16:creationId xmlns:a16="http://schemas.microsoft.com/office/drawing/2014/main" id="{F1F76A32-4085-48B7-A573-6B7BB7B0FD93}"/>
                </a:ext>
              </a:extLst>
            </p:cNvPr>
            <p:cNvSpPr/>
            <p:nvPr/>
          </p:nvSpPr>
          <p:spPr>
            <a:xfrm>
              <a:off x="4355060" y="377419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39" name="任意多边形: 形状 10238">
              <a:extLst>
                <a:ext uri="{FF2B5EF4-FFF2-40B4-BE49-F238E27FC236}">
                  <a16:creationId xmlns:a16="http://schemas.microsoft.com/office/drawing/2014/main" id="{806D7015-3614-4DFB-9332-71DBC895DD58}"/>
                </a:ext>
              </a:extLst>
            </p:cNvPr>
            <p:cNvSpPr/>
            <p:nvPr/>
          </p:nvSpPr>
          <p:spPr>
            <a:xfrm>
              <a:off x="4355060" y="376801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0" name="任意多边形: 形状 10239">
              <a:extLst>
                <a:ext uri="{FF2B5EF4-FFF2-40B4-BE49-F238E27FC236}">
                  <a16:creationId xmlns:a16="http://schemas.microsoft.com/office/drawing/2014/main" id="{7C2B94C1-45B4-45E2-9385-DD871FA213CB}"/>
                </a:ext>
              </a:extLst>
            </p:cNvPr>
            <p:cNvSpPr/>
            <p:nvPr/>
          </p:nvSpPr>
          <p:spPr>
            <a:xfrm>
              <a:off x="4355060" y="372470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1" name="任意多边形: 形状 10240">
              <a:extLst>
                <a:ext uri="{FF2B5EF4-FFF2-40B4-BE49-F238E27FC236}">
                  <a16:creationId xmlns:a16="http://schemas.microsoft.com/office/drawing/2014/main" id="{96564114-1812-4533-849A-E9A8F1F0DE1F}"/>
                </a:ext>
              </a:extLst>
            </p:cNvPr>
            <p:cNvSpPr/>
            <p:nvPr/>
          </p:nvSpPr>
          <p:spPr>
            <a:xfrm>
              <a:off x="4355060" y="371852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2" name="任意多边形: 形状 10241">
              <a:extLst>
                <a:ext uri="{FF2B5EF4-FFF2-40B4-BE49-F238E27FC236}">
                  <a16:creationId xmlns:a16="http://schemas.microsoft.com/office/drawing/2014/main" id="{6A9293BE-0DCA-436B-8BEC-F51FCDED296E}"/>
                </a:ext>
              </a:extLst>
            </p:cNvPr>
            <p:cNvSpPr/>
            <p:nvPr/>
          </p:nvSpPr>
          <p:spPr>
            <a:xfrm>
              <a:off x="4596321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3" name="任意多边形: 形状 10242">
              <a:extLst>
                <a:ext uri="{FF2B5EF4-FFF2-40B4-BE49-F238E27FC236}">
                  <a16:creationId xmlns:a16="http://schemas.microsoft.com/office/drawing/2014/main" id="{831BFC99-4947-4036-B74E-17CB277A54BB}"/>
                </a:ext>
              </a:extLst>
            </p:cNvPr>
            <p:cNvSpPr/>
            <p:nvPr/>
          </p:nvSpPr>
          <p:spPr>
            <a:xfrm>
              <a:off x="4590135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4" name="任意多边形: 形状 10243">
              <a:extLst>
                <a:ext uri="{FF2B5EF4-FFF2-40B4-BE49-F238E27FC236}">
                  <a16:creationId xmlns:a16="http://schemas.microsoft.com/office/drawing/2014/main" id="{0F423AD3-F47B-4F0C-BFFA-607B76919DF2}"/>
                </a:ext>
              </a:extLst>
            </p:cNvPr>
            <p:cNvSpPr/>
            <p:nvPr/>
          </p:nvSpPr>
          <p:spPr>
            <a:xfrm>
              <a:off x="4571576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5" name="任意多边形: 形状 10244">
              <a:extLst>
                <a:ext uri="{FF2B5EF4-FFF2-40B4-BE49-F238E27FC236}">
                  <a16:creationId xmlns:a16="http://schemas.microsoft.com/office/drawing/2014/main" id="{034D6ADB-F38D-4065-921A-0247D8F8EE0B}"/>
                </a:ext>
              </a:extLst>
            </p:cNvPr>
            <p:cNvSpPr/>
            <p:nvPr/>
          </p:nvSpPr>
          <p:spPr>
            <a:xfrm>
              <a:off x="4565390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6" name="任意多边形: 形状 10245">
              <a:extLst>
                <a:ext uri="{FF2B5EF4-FFF2-40B4-BE49-F238E27FC236}">
                  <a16:creationId xmlns:a16="http://schemas.microsoft.com/office/drawing/2014/main" id="{F005661C-D1AC-479E-A67C-DCA614CDAA9D}"/>
                </a:ext>
              </a:extLst>
            </p:cNvPr>
            <p:cNvSpPr/>
            <p:nvPr/>
          </p:nvSpPr>
          <p:spPr>
            <a:xfrm>
              <a:off x="4546832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7" name="任意多边形: 形状 10246">
              <a:extLst>
                <a:ext uri="{FF2B5EF4-FFF2-40B4-BE49-F238E27FC236}">
                  <a16:creationId xmlns:a16="http://schemas.microsoft.com/office/drawing/2014/main" id="{3C00EDDD-3CEE-4B15-99E8-1C473C7FD473}"/>
                </a:ext>
              </a:extLst>
            </p:cNvPr>
            <p:cNvSpPr/>
            <p:nvPr/>
          </p:nvSpPr>
          <p:spPr>
            <a:xfrm>
              <a:off x="4543738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8" name="任意多边形: 形状 10247">
              <a:extLst>
                <a:ext uri="{FF2B5EF4-FFF2-40B4-BE49-F238E27FC236}">
                  <a16:creationId xmlns:a16="http://schemas.microsoft.com/office/drawing/2014/main" id="{BF40CB74-FEF2-4DE6-B6F8-830F6C32EB2D}"/>
                </a:ext>
              </a:extLst>
            </p:cNvPr>
            <p:cNvSpPr/>
            <p:nvPr/>
          </p:nvSpPr>
          <p:spPr>
            <a:xfrm>
              <a:off x="4525180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49" name="任意多边形: 形状 10248">
              <a:extLst>
                <a:ext uri="{FF2B5EF4-FFF2-40B4-BE49-F238E27FC236}">
                  <a16:creationId xmlns:a16="http://schemas.microsoft.com/office/drawing/2014/main" id="{46F27147-971C-4E74-BF96-A3394E1868B8}"/>
                </a:ext>
              </a:extLst>
            </p:cNvPr>
            <p:cNvSpPr/>
            <p:nvPr/>
          </p:nvSpPr>
          <p:spPr>
            <a:xfrm>
              <a:off x="4518994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0" name="任意多边形: 形状 10249">
              <a:extLst>
                <a:ext uri="{FF2B5EF4-FFF2-40B4-BE49-F238E27FC236}">
                  <a16:creationId xmlns:a16="http://schemas.microsoft.com/office/drawing/2014/main" id="{47134FB5-1480-4BF6-9CF2-C8EF69A652A3}"/>
                </a:ext>
              </a:extLst>
            </p:cNvPr>
            <p:cNvSpPr/>
            <p:nvPr/>
          </p:nvSpPr>
          <p:spPr>
            <a:xfrm>
              <a:off x="4500435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1" name="任意多边形: 形状 10250">
              <a:extLst>
                <a:ext uri="{FF2B5EF4-FFF2-40B4-BE49-F238E27FC236}">
                  <a16:creationId xmlns:a16="http://schemas.microsoft.com/office/drawing/2014/main" id="{EE5A33AD-87F8-4DC9-80C7-43174B946BF4}"/>
                </a:ext>
              </a:extLst>
            </p:cNvPr>
            <p:cNvSpPr/>
            <p:nvPr/>
          </p:nvSpPr>
          <p:spPr>
            <a:xfrm>
              <a:off x="4494249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2" name="任意多边形: 形状 10251">
              <a:extLst>
                <a:ext uri="{FF2B5EF4-FFF2-40B4-BE49-F238E27FC236}">
                  <a16:creationId xmlns:a16="http://schemas.microsoft.com/office/drawing/2014/main" id="{C18E0073-864C-4E11-81DB-75CB4EB23FFB}"/>
                </a:ext>
              </a:extLst>
            </p:cNvPr>
            <p:cNvSpPr/>
            <p:nvPr/>
          </p:nvSpPr>
          <p:spPr>
            <a:xfrm>
              <a:off x="4475690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3" name="任意多边形: 形状 10252">
              <a:extLst>
                <a:ext uri="{FF2B5EF4-FFF2-40B4-BE49-F238E27FC236}">
                  <a16:creationId xmlns:a16="http://schemas.microsoft.com/office/drawing/2014/main" id="{1CCFA1E3-6C8D-4E02-A14F-097310C0DC4D}"/>
                </a:ext>
              </a:extLst>
            </p:cNvPr>
            <p:cNvSpPr/>
            <p:nvPr/>
          </p:nvSpPr>
          <p:spPr>
            <a:xfrm>
              <a:off x="4469504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4" name="任意多边形: 形状 10253">
              <a:extLst>
                <a:ext uri="{FF2B5EF4-FFF2-40B4-BE49-F238E27FC236}">
                  <a16:creationId xmlns:a16="http://schemas.microsoft.com/office/drawing/2014/main" id="{5DCBE606-D3D8-4559-9ED6-83C81A44964A}"/>
                </a:ext>
              </a:extLst>
            </p:cNvPr>
            <p:cNvSpPr/>
            <p:nvPr/>
          </p:nvSpPr>
          <p:spPr>
            <a:xfrm>
              <a:off x="4450946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5" name="任意多边形: 形状 10254">
              <a:extLst>
                <a:ext uri="{FF2B5EF4-FFF2-40B4-BE49-F238E27FC236}">
                  <a16:creationId xmlns:a16="http://schemas.microsoft.com/office/drawing/2014/main" id="{0B1520E8-3D85-4762-95FC-E592A9C1F684}"/>
                </a:ext>
              </a:extLst>
            </p:cNvPr>
            <p:cNvSpPr/>
            <p:nvPr/>
          </p:nvSpPr>
          <p:spPr>
            <a:xfrm>
              <a:off x="4444760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6" name="任意多边形: 形状 10255">
              <a:extLst>
                <a:ext uri="{FF2B5EF4-FFF2-40B4-BE49-F238E27FC236}">
                  <a16:creationId xmlns:a16="http://schemas.microsoft.com/office/drawing/2014/main" id="{76932701-8F31-4C88-8708-2D6DF292B163}"/>
                </a:ext>
              </a:extLst>
            </p:cNvPr>
            <p:cNvSpPr/>
            <p:nvPr/>
          </p:nvSpPr>
          <p:spPr>
            <a:xfrm>
              <a:off x="4426201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7" name="任意多边形: 形状 10256">
              <a:extLst>
                <a:ext uri="{FF2B5EF4-FFF2-40B4-BE49-F238E27FC236}">
                  <a16:creationId xmlns:a16="http://schemas.microsoft.com/office/drawing/2014/main" id="{57FA685D-6A9D-44BE-8FAD-451A24E35D25}"/>
                </a:ext>
              </a:extLst>
            </p:cNvPr>
            <p:cNvSpPr/>
            <p:nvPr/>
          </p:nvSpPr>
          <p:spPr>
            <a:xfrm>
              <a:off x="4420015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8" name="任意多边形: 形状 10257">
              <a:extLst>
                <a:ext uri="{FF2B5EF4-FFF2-40B4-BE49-F238E27FC236}">
                  <a16:creationId xmlns:a16="http://schemas.microsoft.com/office/drawing/2014/main" id="{D8B04445-3F8A-4469-97D6-74C36503016A}"/>
                </a:ext>
              </a:extLst>
            </p:cNvPr>
            <p:cNvSpPr/>
            <p:nvPr/>
          </p:nvSpPr>
          <p:spPr>
            <a:xfrm>
              <a:off x="4401457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59" name="任意多边形: 形状 10258">
              <a:extLst>
                <a:ext uri="{FF2B5EF4-FFF2-40B4-BE49-F238E27FC236}">
                  <a16:creationId xmlns:a16="http://schemas.microsoft.com/office/drawing/2014/main" id="{60B424D7-779A-4FC5-A778-9BA8E804AF68}"/>
                </a:ext>
              </a:extLst>
            </p:cNvPr>
            <p:cNvSpPr/>
            <p:nvPr/>
          </p:nvSpPr>
          <p:spPr>
            <a:xfrm>
              <a:off x="4398363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0" name="任意多边形: 形状 10259">
              <a:extLst>
                <a:ext uri="{FF2B5EF4-FFF2-40B4-BE49-F238E27FC236}">
                  <a16:creationId xmlns:a16="http://schemas.microsoft.com/office/drawing/2014/main" id="{9400AF11-31A2-4056-8550-4D2304A8BE49}"/>
                </a:ext>
              </a:extLst>
            </p:cNvPr>
            <p:cNvSpPr/>
            <p:nvPr/>
          </p:nvSpPr>
          <p:spPr>
            <a:xfrm>
              <a:off x="4379805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1" name="任意多边形: 形状 10260">
              <a:extLst>
                <a:ext uri="{FF2B5EF4-FFF2-40B4-BE49-F238E27FC236}">
                  <a16:creationId xmlns:a16="http://schemas.microsoft.com/office/drawing/2014/main" id="{3003D6BA-BF3D-4C46-9FEB-3560B33BEB22}"/>
                </a:ext>
              </a:extLst>
            </p:cNvPr>
            <p:cNvSpPr/>
            <p:nvPr/>
          </p:nvSpPr>
          <p:spPr>
            <a:xfrm>
              <a:off x="4373619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2" name="任意多边形: 形状 10261">
              <a:extLst>
                <a:ext uri="{FF2B5EF4-FFF2-40B4-BE49-F238E27FC236}">
                  <a16:creationId xmlns:a16="http://schemas.microsoft.com/office/drawing/2014/main" id="{C8260850-166F-48D4-B878-6673D22016BD}"/>
                </a:ext>
              </a:extLst>
            </p:cNvPr>
            <p:cNvSpPr/>
            <p:nvPr/>
          </p:nvSpPr>
          <p:spPr>
            <a:xfrm>
              <a:off x="4627252" y="3675217"/>
              <a:ext cx="247447" cy="1577472"/>
            </a:xfrm>
            <a:custGeom>
              <a:avLst/>
              <a:gdLst>
                <a:gd name="connsiteX0" fmla="*/ 0 w 247446"/>
                <a:gd name="connsiteY0" fmla="*/ 0 h 1577472"/>
                <a:gd name="connsiteX1" fmla="*/ 266005 w 247446"/>
                <a:gd name="connsiteY1" fmla="*/ 55675 h 1577472"/>
                <a:gd name="connsiteX2" fmla="*/ 266005 w 247446"/>
                <a:gd name="connsiteY2" fmla="*/ 1580565 h 1577472"/>
                <a:gd name="connsiteX3" fmla="*/ 0 w 247446"/>
                <a:gd name="connsiteY3" fmla="*/ 1527983 h 157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1577472">
                  <a:moveTo>
                    <a:pt x="0" y="0"/>
                  </a:moveTo>
                  <a:lnTo>
                    <a:pt x="266005" y="55675"/>
                  </a:lnTo>
                  <a:lnTo>
                    <a:pt x="266005" y="1580565"/>
                  </a:lnTo>
                  <a:lnTo>
                    <a:pt x="0" y="1527983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3" name="任意多边形: 形状 10262">
              <a:extLst>
                <a:ext uri="{FF2B5EF4-FFF2-40B4-BE49-F238E27FC236}">
                  <a16:creationId xmlns:a16="http://schemas.microsoft.com/office/drawing/2014/main" id="{84F4A438-B3BB-4A27-B2C5-9EBC37E55CDF}"/>
                </a:ext>
              </a:extLst>
            </p:cNvPr>
            <p:cNvSpPr/>
            <p:nvPr/>
          </p:nvSpPr>
          <p:spPr>
            <a:xfrm>
              <a:off x="4621065" y="3669031"/>
              <a:ext cx="278378" cy="1577472"/>
            </a:xfrm>
            <a:custGeom>
              <a:avLst/>
              <a:gdLst>
                <a:gd name="connsiteX0" fmla="*/ 278378 w 278377"/>
                <a:gd name="connsiteY0" fmla="*/ 1592938 h 1577472"/>
                <a:gd name="connsiteX1" fmla="*/ 0 w 278377"/>
                <a:gd name="connsiteY1" fmla="*/ 1537262 h 1577472"/>
                <a:gd name="connsiteX2" fmla="*/ 0 w 278377"/>
                <a:gd name="connsiteY2" fmla="*/ 0 h 1577472"/>
                <a:gd name="connsiteX3" fmla="*/ 278378 w 278377"/>
                <a:gd name="connsiteY3" fmla="*/ 55676 h 1577472"/>
                <a:gd name="connsiteX4" fmla="*/ 278378 w 278377"/>
                <a:gd name="connsiteY4" fmla="*/ 1592938 h 1577472"/>
                <a:gd name="connsiteX5" fmla="*/ 12373 w 278377"/>
                <a:gd name="connsiteY5" fmla="*/ 1527983 h 1577472"/>
                <a:gd name="connsiteX6" fmla="*/ 266005 w 278377"/>
                <a:gd name="connsiteY6" fmla="*/ 1580566 h 1577472"/>
                <a:gd name="connsiteX7" fmla="*/ 266005 w 278377"/>
                <a:gd name="connsiteY7" fmla="*/ 64955 h 1577472"/>
                <a:gd name="connsiteX8" fmla="*/ 12373 w 278377"/>
                <a:gd name="connsiteY8" fmla="*/ 12372 h 1577472"/>
                <a:gd name="connsiteX9" fmla="*/ 12373 w 278377"/>
                <a:gd name="connsiteY9" fmla="*/ 1527983 h 157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77" h="1577472">
                  <a:moveTo>
                    <a:pt x="278378" y="1592938"/>
                  </a:moveTo>
                  <a:lnTo>
                    <a:pt x="0" y="1537262"/>
                  </a:lnTo>
                  <a:lnTo>
                    <a:pt x="0" y="0"/>
                  </a:lnTo>
                  <a:lnTo>
                    <a:pt x="278378" y="55676"/>
                  </a:lnTo>
                  <a:lnTo>
                    <a:pt x="278378" y="1592938"/>
                  </a:lnTo>
                  <a:close/>
                  <a:moveTo>
                    <a:pt x="12373" y="1527983"/>
                  </a:moveTo>
                  <a:lnTo>
                    <a:pt x="266005" y="1580566"/>
                  </a:lnTo>
                  <a:lnTo>
                    <a:pt x="266005" y="64955"/>
                  </a:lnTo>
                  <a:lnTo>
                    <a:pt x="12373" y="12372"/>
                  </a:lnTo>
                  <a:lnTo>
                    <a:pt x="12373" y="152798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4" name="任意多边形: 形状 10263">
              <a:extLst>
                <a:ext uri="{FF2B5EF4-FFF2-40B4-BE49-F238E27FC236}">
                  <a16:creationId xmlns:a16="http://schemas.microsoft.com/office/drawing/2014/main" id="{782F737C-F74F-4D0A-9C45-3ED57D8235F9}"/>
                </a:ext>
              </a:extLst>
            </p:cNvPr>
            <p:cNvSpPr/>
            <p:nvPr/>
          </p:nvSpPr>
          <p:spPr>
            <a:xfrm>
              <a:off x="4627252" y="5153711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5" name="任意多边形: 形状 10264">
              <a:extLst>
                <a:ext uri="{FF2B5EF4-FFF2-40B4-BE49-F238E27FC236}">
                  <a16:creationId xmlns:a16="http://schemas.microsoft.com/office/drawing/2014/main" id="{308A5DFC-4F10-4EC6-A6EB-A17EB3B41BF7}"/>
                </a:ext>
              </a:extLst>
            </p:cNvPr>
            <p:cNvSpPr/>
            <p:nvPr/>
          </p:nvSpPr>
          <p:spPr>
            <a:xfrm>
              <a:off x="4628927" y="5144695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6" name="任意多边形: 形状 10265">
              <a:extLst>
                <a:ext uri="{FF2B5EF4-FFF2-40B4-BE49-F238E27FC236}">
                  <a16:creationId xmlns:a16="http://schemas.microsoft.com/office/drawing/2014/main" id="{68B2ADE9-C501-4796-9CB1-05B26599DA7A}"/>
                </a:ext>
              </a:extLst>
            </p:cNvPr>
            <p:cNvSpPr/>
            <p:nvPr/>
          </p:nvSpPr>
          <p:spPr>
            <a:xfrm>
              <a:off x="4627252" y="5104222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7" name="任意多边形: 形状 10266">
              <a:extLst>
                <a:ext uri="{FF2B5EF4-FFF2-40B4-BE49-F238E27FC236}">
                  <a16:creationId xmlns:a16="http://schemas.microsoft.com/office/drawing/2014/main" id="{C87E81BA-7E71-46B1-BD70-0CDA91EEF2C2}"/>
                </a:ext>
              </a:extLst>
            </p:cNvPr>
            <p:cNvSpPr/>
            <p:nvPr/>
          </p:nvSpPr>
          <p:spPr>
            <a:xfrm>
              <a:off x="4628577" y="5095361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8" name="任意多边形: 形状 10267">
              <a:extLst>
                <a:ext uri="{FF2B5EF4-FFF2-40B4-BE49-F238E27FC236}">
                  <a16:creationId xmlns:a16="http://schemas.microsoft.com/office/drawing/2014/main" id="{955F90BF-4013-421D-971D-C3D3C2A28F79}"/>
                </a:ext>
              </a:extLst>
            </p:cNvPr>
            <p:cNvSpPr/>
            <p:nvPr/>
          </p:nvSpPr>
          <p:spPr>
            <a:xfrm>
              <a:off x="4627252" y="505473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69" name="任意多边形: 形状 10268">
              <a:extLst>
                <a:ext uri="{FF2B5EF4-FFF2-40B4-BE49-F238E27FC236}">
                  <a16:creationId xmlns:a16="http://schemas.microsoft.com/office/drawing/2014/main" id="{E7B7B202-878D-4D2E-AB16-0874A59B2CFD}"/>
                </a:ext>
              </a:extLst>
            </p:cNvPr>
            <p:cNvSpPr/>
            <p:nvPr/>
          </p:nvSpPr>
          <p:spPr>
            <a:xfrm>
              <a:off x="4628421" y="5046121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0" name="任意多边形: 形状 10269">
              <a:extLst>
                <a:ext uri="{FF2B5EF4-FFF2-40B4-BE49-F238E27FC236}">
                  <a16:creationId xmlns:a16="http://schemas.microsoft.com/office/drawing/2014/main" id="{012638E9-7D66-46E8-AB68-37425E75B548}"/>
                </a:ext>
              </a:extLst>
            </p:cNvPr>
            <p:cNvSpPr/>
            <p:nvPr/>
          </p:nvSpPr>
          <p:spPr>
            <a:xfrm>
              <a:off x="4627252" y="500524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1" name="任意多边形: 形状 10270">
              <a:extLst>
                <a:ext uri="{FF2B5EF4-FFF2-40B4-BE49-F238E27FC236}">
                  <a16:creationId xmlns:a16="http://schemas.microsoft.com/office/drawing/2014/main" id="{EF2E793C-2B76-4DBE-B202-F9BA9A91E9C1}"/>
                </a:ext>
              </a:extLst>
            </p:cNvPr>
            <p:cNvSpPr/>
            <p:nvPr/>
          </p:nvSpPr>
          <p:spPr>
            <a:xfrm>
              <a:off x="4628074" y="4996787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2" name="任意多边形: 形状 10271">
              <a:extLst>
                <a:ext uri="{FF2B5EF4-FFF2-40B4-BE49-F238E27FC236}">
                  <a16:creationId xmlns:a16="http://schemas.microsoft.com/office/drawing/2014/main" id="{F9880428-5524-42FA-B96D-6D63EE8D26C3}"/>
                </a:ext>
              </a:extLst>
            </p:cNvPr>
            <p:cNvSpPr/>
            <p:nvPr/>
          </p:nvSpPr>
          <p:spPr>
            <a:xfrm>
              <a:off x="4627252" y="495575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3" name="任意多边形: 形状 10272">
              <a:extLst>
                <a:ext uri="{FF2B5EF4-FFF2-40B4-BE49-F238E27FC236}">
                  <a16:creationId xmlns:a16="http://schemas.microsoft.com/office/drawing/2014/main" id="{92F2834D-A659-427C-8EE4-B964B635D147}"/>
                </a:ext>
              </a:extLst>
            </p:cNvPr>
            <p:cNvSpPr/>
            <p:nvPr/>
          </p:nvSpPr>
          <p:spPr>
            <a:xfrm>
              <a:off x="4627823" y="4947516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4" name="任意多边形: 形状 10273">
              <a:extLst>
                <a:ext uri="{FF2B5EF4-FFF2-40B4-BE49-F238E27FC236}">
                  <a16:creationId xmlns:a16="http://schemas.microsoft.com/office/drawing/2014/main" id="{2C0D7A05-8EDA-43A3-BFE9-55630572FB3F}"/>
                </a:ext>
              </a:extLst>
            </p:cNvPr>
            <p:cNvSpPr/>
            <p:nvPr/>
          </p:nvSpPr>
          <p:spPr>
            <a:xfrm>
              <a:off x="4627252" y="490626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5" name="任意多边形: 形状 10274">
              <a:extLst>
                <a:ext uri="{FF2B5EF4-FFF2-40B4-BE49-F238E27FC236}">
                  <a16:creationId xmlns:a16="http://schemas.microsoft.com/office/drawing/2014/main" id="{C00991E5-D74A-47F1-ADAE-432DDE4DBF01}"/>
                </a:ext>
              </a:extLst>
            </p:cNvPr>
            <p:cNvSpPr/>
            <p:nvPr/>
          </p:nvSpPr>
          <p:spPr>
            <a:xfrm>
              <a:off x="4627859" y="4898252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6" name="任意多边形: 形状 10275">
              <a:extLst>
                <a:ext uri="{FF2B5EF4-FFF2-40B4-BE49-F238E27FC236}">
                  <a16:creationId xmlns:a16="http://schemas.microsoft.com/office/drawing/2014/main" id="{B51DD208-1DD6-4215-9257-850664DD3AD3}"/>
                </a:ext>
              </a:extLst>
            </p:cNvPr>
            <p:cNvSpPr/>
            <p:nvPr/>
          </p:nvSpPr>
          <p:spPr>
            <a:xfrm>
              <a:off x="4627252" y="485677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7" name="任意多边形: 形状 10276">
              <a:extLst>
                <a:ext uri="{FF2B5EF4-FFF2-40B4-BE49-F238E27FC236}">
                  <a16:creationId xmlns:a16="http://schemas.microsoft.com/office/drawing/2014/main" id="{C144A5BB-1EE9-4858-8791-E22BD3F4D18C}"/>
                </a:ext>
              </a:extLst>
            </p:cNvPr>
            <p:cNvSpPr/>
            <p:nvPr/>
          </p:nvSpPr>
          <p:spPr>
            <a:xfrm>
              <a:off x="4627701" y="4849037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8" name="任意多边形: 形状 10277">
              <a:extLst>
                <a:ext uri="{FF2B5EF4-FFF2-40B4-BE49-F238E27FC236}">
                  <a16:creationId xmlns:a16="http://schemas.microsoft.com/office/drawing/2014/main" id="{84769E6E-4FF9-489D-B788-DA1A4770613A}"/>
                </a:ext>
              </a:extLst>
            </p:cNvPr>
            <p:cNvSpPr/>
            <p:nvPr/>
          </p:nvSpPr>
          <p:spPr>
            <a:xfrm>
              <a:off x="4627252" y="480728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79" name="任意多边形: 形状 10278">
              <a:extLst>
                <a:ext uri="{FF2B5EF4-FFF2-40B4-BE49-F238E27FC236}">
                  <a16:creationId xmlns:a16="http://schemas.microsoft.com/office/drawing/2014/main" id="{398C6A47-AF30-4358-BCED-94524A3EFC03}"/>
                </a:ext>
              </a:extLst>
            </p:cNvPr>
            <p:cNvSpPr/>
            <p:nvPr/>
          </p:nvSpPr>
          <p:spPr>
            <a:xfrm>
              <a:off x="4627076" y="479963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0" name="任意多边形: 形状 10279">
              <a:extLst>
                <a:ext uri="{FF2B5EF4-FFF2-40B4-BE49-F238E27FC236}">
                  <a16:creationId xmlns:a16="http://schemas.microsoft.com/office/drawing/2014/main" id="{EA772A92-1E63-466E-81B4-CA8279C30AB0}"/>
                </a:ext>
              </a:extLst>
            </p:cNvPr>
            <p:cNvSpPr/>
            <p:nvPr/>
          </p:nvSpPr>
          <p:spPr>
            <a:xfrm>
              <a:off x="4627252" y="475779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1" name="任意多边形: 形状 10280">
              <a:extLst>
                <a:ext uri="{FF2B5EF4-FFF2-40B4-BE49-F238E27FC236}">
                  <a16:creationId xmlns:a16="http://schemas.microsoft.com/office/drawing/2014/main" id="{EF4B4DBC-8F0C-4077-8929-5BF4D2453223}"/>
                </a:ext>
              </a:extLst>
            </p:cNvPr>
            <p:cNvSpPr/>
            <p:nvPr/>
          </p:nvSpPr>
          <p:spPr>
            <a:xfrm>
              <a:off x="4626921" y="475042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2" name="任意多边形: 形状 10281">
              <a:extLst>
                <a:ext uri="{FF2B5EF4-FFF2-40B4-BE49-F238E27FC236}">
                  <a16:creationId xmlns:a16="http://schemas.microsoft.com/office/drawing/2014/main" id="{B0F83F08-D0AD-41E8-A69B-5483212C9706}"/>
                </a:ext>
              </a:extLst>
            </p:cNvPr>
            <p:cNvSpPr/>
            <p:nvPr/>
          </p:nvSpPr>
          <p:spPr>
            <a:xfrm>
              <a:off x="4627252" y="4708307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3" name="任意多边形: 形状 10282">
              <a:extLst>
                <a:ext uri="{FF2B5EF4-FFF2-40B4-BE49-F238E27FC236}">
                  <a16:creationId xmlns:a16="http://schemas.microsoft.com/office/drawing/2014/main" id="{1B1A3918-AF59-4F0D-A009-A7EFB3E74ADE}"/>
                </a:ext>
              </a:extLst>
            </p:cNvPr>
            <p:cNvSpPr/>
            <p:nvPr/>
          </p:nvSpPr>
          <p:spPr>
            <a:xfrm>
              <a:off x="4626571" y="4701065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4" name="任意多边形: 形状 10283">
              <a:extLst>
                <a:ext uri="{FF2B5EF4-FFF2-40B4-BE49-F238E27FC236}">
                  <a16:creationId xmlns:a16="http://schemas.microsoft.com/office/drawing/2014/main" id="{1DA4A3A8-8A43-487E-AADD-DF49EA03CD7C}"/>
                </a:ext>
              </a:extLst>
            </p:cNvPr>
            <p:cNvSpPr/>
            <p:nvPr/>
          </p:nvSpPr>
          <p:spPr>
            <a:xfrm>
              <a:off x="4627252" y="4658818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5" name="任意多边形: 形状 10284">
              <a:extLst>
                <a:ext uri="{FF2B5EF4-FFF2-40B4-BE49-F238E27FC236}">
                  <a16:creationId xmlns:a16="http://schemas.microsoft.com/office/drawing/2014/main" id="{172B612E-F0F5-485B-97A8-A9882F9B2BF4}"/>
                </a:ext>
              </a:extLst>
            </p:cNvPr>
            <p:cNvSpPr/>
            <p:nvPr/>
          </p:nvSpPr>
          <p:spPr>
            <a:xfrm>
              <a:off x="4626465" y="4651886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6" name="任意多边形: 形状 10285">
              <a:extLst>
                <a:ext uri="{FF2B5EF4-FFF2-40B4-BE49-F238E27FC236}">
                  <a16:creationId xmlns:a16="http://schemas.microsoft.com/office/drawing/2014/main" id="{5E9F0ADB-ADD0-42C3-9774-975FD1BF9B95}"/>
                </a:ext>
              </a:extLst>
            </p:cNvPr>
            <p:cNvSpPr/>
            <p:nvPr/>
          </p:nvSpPr>
          <p:spPr>
            <a:xfrm>
              <a:off x="4627252" y="4612422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7" name="任意多边形: 形状 10286">
              <a:extLst>
                <a:ext uri="{FF2B5EF4-FFF2-40B4-BE49-F238E27FC236}">
                  <a16:creationId xmlns:a16="http://schemas.microsoft.com/office/drawing/2014/main" id="{7B7B5B01-F517-45A3-88B9-00E05C0C8190}"/>
                </a:ext>
              </a:extLst>
            </p:cNvPr>
            <p:cNvSpPr/>
            <p:nvPr/>
          </p:nvSpPr>
          <p:spPr>
            <a:xfrm>
              <a:off x="4626068" y="4602522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8" name="任意多边形: 形状 10287">
              <a:extLst>
                <a:ext uri="{FF2B5EF4-FFF2-40B4-BE49-F238E27FC236}">
                  <a16:creationId xmlns:a16="http://schemas.microsoft.com/office/drawing/2014/main" id="{56347BD0-4380-44B2-B3C3-7655419E7EA0}"/>
                </a:ext>
              </a:extLst>
            </p:cNvPr>
            <p:cNvSpPr/>
            <p:nvPr/>
          </p:nvSpPr>
          <p:spPr>
            <a:xfrm>
              <a:off x="4627252" y="4562932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89" name="任意多边形: 形状 10288">
              <a:extLst>
                <a:ext uri="{FF2B5EF4-FFF2-40B4-BE49-F238E27FC236}">
                  <a16:creationId xmlns:a16="http://schemas.microsoft.com/office/drawing/2014/main" id="{09A47CE0-635E-408D-9EC5-4FBC38B1D8F0}"/>
                </a:ext>
              </a:extLst>
            </p:cNvPr>
            <p:cNvSpPr/>
            <p:nvPr/>
          </p:nvSpPr>
          <p:spPr>
            <a:xfrm>
              <a:off x="4628844" y="455384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0" name="任意多边形: 形状 10289">
              <a:extLst>
                <a:ext uri="{FF2B5EF4-FFF2-40B4-BE49-F238E27FC236}">
                  <a16:creationId xmlns:a16="http://schemas.microsoft.com/office/drawing/2014/main" id="{8623C92D-FC29-48A4-A71D-E9CBF52F4ECD}"/>
                </a:ext>
              </a:extLst>
            </p:cNvPr>
            <p:cNvSpPr/>
            <p:nvPr/>
          </p:nvSpPr>
          <p:spPr>
            <a:xfrm>
              <a:off x="4627252" y="451344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1" name="任意多边形: 形状 10290">
              <a:extLst>
                <a:ext uri="{FF2B5EF4-FFF2-40B4-BE49-F238E27FC236}">
                  <a16:creationId xmlns:a16="http://schemas.microsoft.com/office/drawing/2014/main" id="{47CB14D4-FBCE-4EBE-BDF2-311BD9DCC418}"/>
                </a:ext>
              </a:extLst>
            </p:cNvPr>
            <p:cNvSpPr/>
            <p:nvPr/>
          </p:nvSpPr>
          <p:spPr>
            <a:xfrm>
              <a:off x="4628593" y="4504568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2" name="任意多边形: 形状 10291">
              <a:extLst>
                <a:ext uri="{FF2B5EF4-FFF2-40B4-BE49-F238E27FC236}">
                  <a16:creationId xmlns:a16="http://schemas.microsoft.com/office/drawing/2014/main" id="{54C9D8FD-F869-4502-84AC-168D14FEFDA2}"/>
                </a:ext>
              </a:extLst>
            </p:cNvPr>
            <p:cNvSpPr/>
            <p:nvPr/>
          </p:nvSpPr>
          <p:spPr>
            <a:xfrm>
              <a:off x="4627252" y="446395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3" name="任意多边形: 形状 10292">
              <a:extLst>
                <a:ext uri="{FF2B5EF4-FFF2-40B4-BE49-F238E27FC236}">
                  <a16:creationId xmlns:a16="http://schemas.microsoft.com/office/drawing/2014/main" id="{242DA913-B092-4B6B-A553-16175B2B11BE}"/>
                </a:ext>
              </a:extLst>
            </p:cNvPr>
            <p:cNvSpPr/>
            <p:nvPr/>
          </p:nvSpPr>
          <p:spPr>
            <a:xfrm>
              <a:off x="4628725" y="4455353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4" name="任意多边形: 形状 10293">
              <a:extLst>
                <a:ext uri="{FF2B5EF4-FFF2-40B4-BE49-F238E27FC236}">
                  <a16:creationId xmlns:a16="http://schemas.microsoft.com/office/drawing/2014/main" id="{4D5C53A8-0115-404A-8D0B-E10CC0C12932}"/>
                </a:ext>
              </a:extLst>
            </p:cNvPr>
            <p:cNvSpPr/>
            <p:nvPr/>
          </p:nvSpPr>
          <p:spPr>
            <a:xfrm>
              <a:off x="4627252" y="441446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5" name="任意多边形: 形状 10294">
              <a:extLst>
                <a:ext uri="{FF2B5EF4-FFF2-40B4-BE49-F238E27FC236}">
                  <a16:creationId xmlns:a16="http://schemas.microsoft.com/office/drawing/2014/main" id="{3D2FE8BF-3150-4C9A-B2F5-D5EAC276D6C5}"/>
                </a:ext>
              </a:extLst>
            </p:cNvPr>
            <p:cNvSpPr/>
            <p:nvPr/>
          </p:nvSpPr>
          <p:spPr>
            <a:xfrm>
              <a:off x="4628471" y="4406045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6" name="任意多边形: 形状 10295">
              <a:extLst>
                <a:ext uri="{FF2B5EF4-FFF2-40B4-BE49-F238E27FC236}">
                  <a16:creationId xmlns:a16="http://schemas.microsoft.com/office/drawing/2014/main" id="{A44E1D41-5C44-4FE4-8C23-0DDB631653F6}"/>
                </a:ext>
              </a:extLst>
            </p:cNvPr>
            <p:cNvSpPr/>
            <p:nvPr/>
          </p:nvSpPr>
          <p:spPr>
            <a:xfrm>
              <a:off x="4627252" y="436497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7" name="任意多边形: 形状 10296">
              <a:extLst>
                <a:ext uri="{FF2B5EF4-FFF2-40B4-BE49-F238E27FC236}">
                  <a16:creationId xmlns:a16="http://schemas.microsoft.com/office/drawing/2014/main" id="{C3AC6F1F-2E74-49C7-A872-2D6D09E2283A}"/>
                </a:ext>
              </a:extLst>
            </p:cNvPr>
            <p:cNvSpPr/>
            <p:nvPr/>
          </p:nvSpPr>
          <p:spPr>
            <a:xfrm>
              <a:off x="4628216" y="435676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8" name="任意多边形: 形状 10297">
              <a:extLst>
                <a:ext uri="{FF2B5EF4-FFF2-40B4-BE49-F238E27FC236}">
                  <a16:creationId xmlns:a16="http://schemas.microsoft.com/office/drawing/2014/main" id="{1F9868AC-49A5-439D-85BC-C7FA5936A90C}"/>
                </a:ext>
              </a:extLst>
            </p:cNvPr>
            <p:cNvSpPr/>
            <p:nvPr/>
          </p:nvSpPr>
          <p:spPr>
            <a:xfrm>
              <a:off x="4627252" y="431548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99" name="任意多边形: 形状 10298">
              <a:extLst>
                <a:ext uri="{FF2B5EF4-FFF2-40B4-BE49-F238E27FC236}">
                  <a16:creationId xmlns:a16="http://schemas.microsoft.com/office/drawing/2014/main" id="{93261AE8-3C2F-4291-938A-D72F3ED0A628}"/>
                </a:ext>
              </a:extLst>
            </p:cNvPr>
            <p:cNvSpPr/>
            <p:nvPr/>
          </p:nvSpPr>
          <p:spPr>
            <a:xfrm>
              <a:off x="4627595" y="430742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0" name="任意多边形: 形状 10299">
              <a:extLst>
                <a:ext uri="{FF2B5EF4-FFF2-40B4-BE49-F238E27FC236}">
                  <a16:creationId xmlns:a16="http://schemas.microsoft.com/office/drawing/2014/main" id="{C9BCB963-63D1-41F1-803A-45951AE52ABC}"/>
                </a:ext>
              </a:extLst>
            </p:cNvPr>
            <p:cNvSpPr/>
            <p:nvPr/>
          </p:nvSpPr>
          <p:spPr>
            <a:xfrm>
              <a:off x="4627252" y="426599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1" name="任意多边形: 形状 10300">
              <a:extLst>
                <a:ext uri="{FF2B5EF4-FFF2-40B4-BE49-F238E27FC236}">
                  <a16:creationId xmlns:a16="http://schemas.microsoft.com/office/drawing/2014/main" id="{551DF564-2245-4029-A48A-AAB5FAC2FC61}"/>
                </a:ext>
              </a:extLst>
            </p:cNvPr>
            <p:cNvSpPr/>
            <p:nvPr/>
          </p:nvSpPr>
          <p:spPr>
            <a:xfrm>
              <a:off x="4627443" y="425817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2" name="任意多边形: 形状 10301">
              <a:extLst>
                <a:ext uri="{FF2B5EF4-FFF2-40B4-BE49-F238E27FC236}">
                  <a16:creationId xmlns:a16="http://schemas.microsoft.com/office/drawing/2014/main" id="{5938BD9A-7A20-428B-B680-919968A0C0CB}"/>
                </a:ext>
              </a:extLst>
            </p:cNvPr>
            <p:cNvSpPr/>
            <p:nvPr/>
          </p:nvSpPr>
          <p:spPr>
            <a:xfrm>
              <a:off x="4627252" y="4216507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3" name="任意多边形: 形状 10302">
              <a:extLst>
                <a:ext uri="{FF2B5EF4-FFF2-40B4-BE49-F238E27FC236}">
                  <a16:creationId xmlns:a16="http://schemas.microsoft.com/office/drawing/2014/main" id="{684E37B1-4C63-4777-8B5A-6D149DFD541F}"/>
                </a:ext>
              </a:extLst>
            </p:cNvPr>
            <p:cNvSpPr/>
            <p:nvPr/>
          </p:nvSpPr>
          <p:spPr>
            <a:xfrm>
              <a:off x="4627089" y="4208877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4" name="任意多边形: 形状 10303">
              <a:extLst>
                <a:ext uri="{FF2B5EF4-FFF2-40B4-BE49-F238E27FC236}">
                  <a16:creationId xmlns:a16="http://schemas.microsoft.com/office/drawing/2014/main" id="{D1E6F25C-B31D-48EC-A582-927198E71391}"/>
                </a:ext>
              </a:extLst>
            </p:cNvPr>
            <p:cNvSpPr/>
            <p:nvPr/>
          </p:nvSpPr>
          <p:spPr>
            <a:xfrm>
              <a:off x="4627252" y="4167018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5" name="任意多边形: 形状 10304">
              <a:extLst>
                <a:ext uri="{FF2B5EF4-FFF2-40B4-BE49-F238E27FC236}">
                  <a16:creationId xmlns:a16="http://schemas.microsoft.com/office/drawing/2014/main" id="{B1371C2A-2D0D-44A8-AC8C-E363885BCBF9}"/>
                </a:ext>
              </a:extLst>
            </p:cNvPr>
            <p:cNvSpPr/>
            <p:nvPr/>
          </p:nvSpPr>
          <p:spPr>
            <a:xfrm>
              <a:off x="4626838" y="4159574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6" name="任意多边形: 形状 10305">
              <a:extLst>
                <a:ext uri="{FF2B5EF4-FFF2-40B4-BE49-F238E27FC236}">
                  <a16:creationId xmlns:a16="http://schemas.microsoft.com/office/drawing/2014/main" id="{29C8AB05-FCDC-4EF0-A7EA-A8FC0EF98A8A}"/>
                </a:ext>
              </a:extLst>
            </p:cNvPr>
            <p:cNvSpPr/>
            <p:nvPr/>
          </p:nvSpPr>
          <p:spPr>
            <a:xfrm>
              <a:off x="4627252" y="4117528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7" name="任意多边形: 形状 10306">
              <a:extLst>
                <a:ext uri="{FF2B5EF4-FFF2-40B4-BE49-F238E27FC236}">
                  <a16:creationId xmlns:a16="http://schemas.microsoft.com/office/drawing/2014/main" id="{62561450-B0FE-425C-95DA-EEF3B6C5E1C7}"/>
                </a:ext>
              </a:extLst>
            </p:cNvPr>
            <p:cNvSpPr/>
            <p:nvPr/>
          </p:nvSpPr>
          <p:spPr>
            <a:xfrm>
              <a:off x="4626587" y="4110303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8" name="任意多边形: 形状 10307">
              <a:extLst>
                <a:ext uri="{FF2B5EF4-FFF2-40B4-BE49-F238E27FC236}">
                  <a16:creationId xmlns:a16="http://schemas.microsoft.com/office/drawing/2014/main" id="{55D30442-2377-41B0-B563-DFC134A3594E}"/>
                </a:ext>
              </a:extLst>
            </p:cNvPr>
            <p:cNvSpPr/>
            <p:nvPr/>
          </p:nvSpPr>
          <p:spPr>
            <a:xfrm>
              <a:off x="4627252" y="4068039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09" name="任意多边形: 形状 10308">
              <a:extLst>
                <a:ext uri="{FF2B5EF4-FFF2-40B4-BE49-F238E27FC236}">
                  <a16:creationId xmlns:a16="http://schemas.microsoft.com/office/drawing/2014/main" id="{952D46BA-19F9-4036-B0EE-65CEACBC1D9F}"/>
                </a:ext>
              </a:extLst>
            </p:cNvPr>
            <p:cNvSpPr/>
            <p:nvPr/>
          </p:nvSpPr>
          <p:spPr>
            <a:xfrm>
              <a:off x="4626333" y="406100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0" name="任意多边形: 形状 10309">
              <a:extLst>
                <a:ext uri="{FF2B5EF4-FFF2-40B4-BE49-F238E27FC236}">
                  <a16:creationId xmlns:a16="http://schemas.microsoft.com/office/drawing/2014/main" id="{0A9608D3-F786-438A-9091-46F33069D6DD}"/>
                </a:ext>
              </a:extLst>
            </p:cNvPr>
            <p:cNvSpPr/>
            <p:nvPr/>
          </p:nvSpPr>
          <p:spPr>
            <a:xfrm>
              <a:off x="4627252" y="402164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1" name="任意多边形: 形状 10310">
              <a:extLst>
                <a:ext uri="{FF2B5EF4-FFF2-40B4-BE49-F238E27FC236}">
                  <a16:creationId xmlns:a16="http://schemas.microsoft.com/office/drawing/2014/main" id="{4FDFEE54-0552-40D5-A5A9-C850E9AC5982}"/>
                </a:ext>
              </a:extLst>
            </p:cNvPr>
            <p:cNvSpPr/>
            <p:nvPr/>
          </p:nvSpPr>
          <p:spPr>
            <a:xfrm>
              <a:off x="4626181" y="401176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2" name="任意多边形: 形状 10311">
              <a:extLst>
                <a:ext uri="{FF2B5EF4-FFF2-40B4-BE49-F238E27FC236}">
                  <a16:creationId xmlns:a16="http://schemas.microsoft.com/office/drawing/2014/main" id="{D8F437B7-2336-41DC-8F59-3CF5FC931227}"/>
                </a:ext>
              </a:extLst>
            </p:cNvPr>
            <p:cNvSpPr/>
            <p:nvPr/>
          </p:nvSpPr>
          <p:spPr>
            <a:xfrm>
              <a:off x="4627252" y="397215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3" name="任意多边形: 形状 10312">
              <a:extLst>
                <a:ext uri="{FF2B5EF4-FFF2-40B4-BE49-F238E27FC236}">
                  <a16:creationId xmlns:a16="http://schemas.microsoft.com/office/drawing/2014/main" id="{42783F00-CABD-4D81-A8E2-195DAC31CB0E}"/>
                </a:ext>
              </a:extLst>
            </p:cNvPr>
            <p:cNvSpPr/>
            <p:nvPr/>
          </p:nvSpPr>
          <p:spPr>
            <a:xfrm>
              <a:off x="4626161" y="3962464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4" name="任意多边形: 形状 10313">
              <a:extLst>
                <a:ext uri="{FF2B5EF4-FFF2-40B4-BE49-F238E27FC236}">
                  <a16:creationId xmlns:a16="http://schemas.microsoft.com/office/drawing/2014/main" id="{B1A8F23D-3816-4938-928F-D669849724BF}"/>
                </a:ext>
              </a:extLst>
            </p:cNvPr>
            <p:cNvSpPr/>
            <p:nvPr/>
          </p:nvSpPr>
          <p:spPr>
            <a:xfrm>
              <a:off x="4627252" y="392266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5" name="任意多边形: 形状 10314">
              <a:extLst>
                <a:ext uri="{FF2B5EF4-FFF2-40B4-BE49-F238E27FC236}">
                  <a16:creationId xmlns:a16="http://schemas.microsoft.com/office/drawing/2014/main" id="{0286B99E-1B3A-47EB-81A5-9FE379591EDD}"/>
                </a:ext>
              </a:extLst>
            </p:cNvPr>
            <p:cNvSpPr/>
            <p:nvPr/>
          </p:nvSpPr>
          <p:spPr>
            <a:xfrm>
              <a:off x="4628989" y="3913808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6" name="任意多边形: 形状 10315">
              <a:extLst>
                <a:ext uri="{FF2B5EF4-FFF2-40B4-BE49-F238E27FC236}">
                  <a16:creationId xmlns:a16="http://schemas.microsoft.com/office/drawing/2014/main" id="{82C8960E-FE0B-4FBB-873C-F650F34B8A8F}"/>
                </a:ext>
              </a:extLst>
            </p:cNvPr>
            <p:cNvSpPr/>
            <p:nvPr/>
          </p:nvSpPr>
          <p:spPr>
            <a:xfrm>
              <a:off x="4627252" y="387317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7" name="任意多边形: 形状 10316">
              <a:extLst>
                <a:ext uri="{FF2B5EF4-FFF2-40B4-BE49-F238E27FC236}">
                  <a16:creationId xmlns:a16="http://schemas.microsoft.com/office/drawing/2014/main" id="{95194545-E8C5-4007-9BC4-800FBEB06328}"/>
                </a:ext>
              </a:extLst>
            </p:cNvPr>
            <p:cNvSpPr/>
            <p:nvPr/>
          </p:nvSpPr>
          <p:spPr>
            <a:xfrm>
              <a:off x="4628352" y="3864504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8" name="任意多边形: 形状 10317">
              <a:extLst>
                <a:ext uri="{FF2B5EF4-FFF2-40B4-BE49-F238E27FC236}">
                  <a16:creationId xmlns:a16="http://schemas.microsoft.com/office/drawing/2014/main" id="{4AED5CD6-1223-40BB-9B99-25E3C1741378}"/>
                </a:ext>
              </a:extLst>
            </p:cNvPr>
            <p:cNvSpPr/>
            <p:nvPr/>
          </p:nvSpPr>
          <p:spPr>
            <a:xfrm>
              <a:off x="4627252" y="382368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19" name="任意多边形: 形状 10318">
              <a:extLst>
                <a:ext uri="{FF2B5EF4-FFF2-40B4-BE49-F238E27FC236}">
                  <a16:creationId xmlns:a16="http://schemas.microsoft.com/office/drawing/2014/main" id="{B3A14302-5034-473F-BD57-C7DEB074B4AE}"/>
                </a:ext>
              </a:extLst>
            </p:cNvPr>
            <p:cNvSpPr/>
            <p:nvPr/>
          </p:nvSpPr>
          <p:spPr>
            <a:xfrm>
              <a:off x="4628120" y="3815201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0" name="任意多边形: 形状 10319">
              <a:extLst>
                <a:ext uri="{FF2B5EF4-FFF2-40B4-BE49-F238E27FC236}">
                  <a16:creationId xmlns:a16="http://schemas.microsoft.com/office/drawing/2014/main" id="{E7B901BF-28A3-4ED7-A83B-C82FD563FB2B}"/>
                </a:ext>
              </a:extLst>
            </p:cNvPr>
            <p:cNvSpPr/>
            <p:nvPr/>
          </p:nvSpPr>
          <p:spPr>
            <a:xfrm>
              <a:off x="4627252" y="377419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1" name="任意多边形: 形状 10320">
              <a:extLst>
                <a:ext uri="{FF2B5EF4-FFF2-40B4-BE49-F238E27FC236}">
                  <a16:creationId xmlns:a16="http://schemas.microsoft.com/office/drawing/2014/main" id="{7E34D360-56CF-4949-8875-53745C8B9180}"/>
                </a:ext>
              </a:extLst>
            </p:cNvPr>
            <p:cNvSpPr/>
            <p:nvPr/>
          </p:nvSpPr>
          <p:spPr>
            <a:xfrm>
              <a:off x="4627856" y="376592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2" name="任意多边形: 形状 10321">
              <a:extLst>
                <a:ext uri="{FF2B5EF4-FFF2-40B4-BE49-F238E27FC236}">
                  <a16:creationId xmlns:a16="http://schemas.microsoft.com/office/drawing/2014/main" id="{D719FA5C-78B6-4939-9DCD-802ADC0C3BBA}"/>
                </a:ext>
              </a:extLst>
            </p:cNvPr>
            <p:cNvSpPr/>
            <p:nvPr/>
          </p:nvSpPr>
          <p:spPr>
            <a:xfrm>
              <a:off x="4627252" y="3724707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3" name="任意多边形: 形状 10322">
              <a:extLst>
                <a:ext uri="{FF2B5EF4-FFF2-40B4-BE49-F238E27FC236}">
                  <a16:creationId xmlns:a16="http://schemas.microsoft.com/office/drawing/2014/main" id="{5E2747C7-09E9-4F9A-A203-8D5A9E941A26}"/>
                </a:ext>
              </a:extLst>
            </p:cNvPr>
            <p:cNvSpPr/>
            <p:nvPr/>
          </p:nvSpPr>
          <p:spPr>
            <a:xfrm>
              <a:off x="4627593" y="3716658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4" name="任意多边形: 形状 10323">
              <a:extLst>
                <a:ext uri="{FF2B5EF4-FFF2-40B4-BE49-F238E27FC236}">
                  <a16:creationId xmlns:a16="http://schemas.microsoft.com/office/drawing/2014/main" id="{7138C1CD-E297-4E23-BFC8-E561946D031C}"/>
                </a:ext>
              </a:extLst>
            </p:cNvPr>
            <p:cNvSpPr/>
            <p:nvPr/>
          </p:nvSpPr>
          <p:spPr>
            <a:xfrm>
              <a:off x="4871605" y="372470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5" name="任意多边形: 形状 10324">
              <a:extLst>
                <a:ext uri="{FF2B5EF4-FFF2-40B4-BE49-F238E27FC236}">
                  <a16:creationId xmlns:a16="http://schemas.microsoft.com/office/drawing/2014/main" id="{0D3978C6-1598-4050-9923-3A4643300EF5}"/>
                </a:ext>
              </a:extLst>
            </p:cNvPr>
            <p:cNvSpPr/>
            <p:nvPr/>
          </p:nvSpPr>
          <p:spPr>
            <a:xfrm>
              <a:off x="4865419" y="372470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6" name="任意多边形: 形状 10325">
              <a:extLst>
                <a:ext uri="{FF2B5EF4-FFF2-40B4-BE49-F238E27FC236}">
                  <a16:creationId xmlns:a16="http://schemas.microsoft.com/office/drawing/2014/main" id="{090953CC-C061-4AEC-B2E4-4FDC73482E99}"/>
                </a:ext>
              </a:extLst>
            </p:cNvPr>
            <p:cNvSpPr/>
            <p:nvPr/>
          </p:nvSpPr>
          <p:spPr>
            <a:xfrm>
              <a:off x="4846860" y="372161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7" name="任意多边形: 形状 10326">
              <a:extLst>
                <a:ext uri="{FF2B5EF4-FFF2-40B4-BE49-F238E27FC236}">
                  <a16:creationId xmlns:a16="http://schemas.microsoft.com/office/drawing/2014/main" id="{51974493-4870-4BF1-ACAA-E3D35B4EC1DE}"/>
                </a:ext>
              </a:extLst>
            </p:cNvPr>
            <p:cNvSpPr/>
            <p:nvPr/>
          </p:nvSpPr>
          <p:spPr>
            <a:xfrm>
              <a:off x="4840674" y="372161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8" name="任意多边形: 形状 10327">
              <a:extLst>
                <a:ext uri="{FF2B5EF4-FFF2-40B4-BE49-F238E27FC236}">
                  <a16:creationId xmlns:a16="http://schemas.microsoft.com/office/drawing/2014/main" id="{11EEA4A9-E8C9-4F25-82D3-EACEFEDCF434}"/>
                </a:ext>
              </a:extLst>
            </p:cNvPr>
            <p:cNvSpPr/>
            <p:nvPr/>
          </p:nvSpPr>
          <p:spPr>
            <a:xfrm>
              <a:off x="4822116" y="371542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29" name="任意多边形: 形状 10328">
              <a:extLst>
                <a:ext uri="{FF2B5EF4-FFF2-40B4-BE49-F238E27FC236}">
                  <a16:creationId xmlns:a16="http://schemas.microsoft.com/office/drawing/2014/main" id="{5A800BBD-2B61-48B2-BF3B-CE963A23771C}"/>
                </a:ext>
              </a:extLst>
            </p:cNvPr>
            <p:cNvSpPr/>
            <p:nvPr/>
          </p:nvSpPr>
          <p:spPr>
            <a:xfrm>
              <a:off x="4815930" y="371542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0" name="任意多边形: 形状 10329">
              <a:extLst>
                <a:ext uri="{FF2B5EF4-FFF2-40B4-BE49-F238E27FC236}">
                  <a16:creationId xmlns:a16="http://schemas.microsoft.com/office/drawing/2014/main" id="{F727B27A-05D6-4329-9AE8-84569B340181}"/>
                </a:ext>
              </a:extLst>
            </p:cNvPr>
            <p:cNvSpPr/>
            <p:nvPr/>
          </p:nvSpPr>
          <p:spPr>
            <a:xfrm>
              <a:off x="4797371" y="3709241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1" name="任意多边形: 形状 10330">
              <a:extLst>
                <a:ext uri="{FF2B5EF4-FFF2-40B4-BE49-F238E27FC236}">
                  <a16:creationId xmlns:a16="http://schemas.microsoft.com/office/drawing/2014/main" id="{A97D4452-BDC4-4CDD-B3E7-D92DA3B5E0A5}"/>
                </a:ext>
              </a:extLst>
            </p:cNvPr>
            <p:cNvSpPr/>
            <p:nvPr/>
          </p:nvSpPr>
          <p:spPr>
            <a:xfrm>
              <a:off x="4791185" y="3709241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2" name="任意多边形: 形状 10331">
              <a:extLst>
                <a:ext uri="{FF2B5EF4-FFF2-40B4-BE49-F238E27FC236}">
                  <a16:creationId xmlns:a16="http://schemas.microsoft.com/office/drawing/2014/main" id="{EC14EE21-85AB-4FBD-ADD1-F2695A215CAD}"/>
                </a:ext>
              </a:extLst>
            </p:cNvPr>
            <p:cNvSpPr/>
            <p:nvPr/>
          </p:nvSpPr>
          <p:spPr>
            <a:xfrm>
              <a:off x="4772627" y="3706148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3" name="任意多边形: 形状 10332">
              <a:extLst>
                <a:ext uri="{FF2B5EF4-FFF2-40B4-BE49-F238E27FC236}">
                  <a16:creationId xmlns:a16="http://schemas.microsoft.com/office/drawing/2014/main" id="{605F40D7-A9FF-48E7-95CD-BEB3D3FC8C37}"/>
                </a:ext>
              </a:extLst>
            </p:cNvPr>
            <p:cNvSpPr/>
            <p:nvPr/>
          </p:nvSpPr>
          <p:spPr>
            <a:xfrm>
              <a:off x="4766440" y="3706148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4" name="任意多边形: 形状 10333">
              <a:extLst>
                <a:ext uri="{FF2B5EF4-FFF2-40B4-BE49-F238E27FC236}">
                  <a16:creationId xmlns:a16="http://schemas.microsoft.com/office/drawing/2014/main" id="{6B5B40F3-A76A-4DA0-978F-D0F68EFAFC30}"/>
                </a:ext>
              </a:extLst>
            </p:cNvPr>
            <p:cNvSpPr/>
            <p:nvPr/>
          </p:nvSpPr>
          <p:spPr>
            <a:xfrm>
              <a:off x="4747882" y="3699962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5" name="任意多边形: 形状 10334">
              <a:extLst>
                <a:ext uri="{FF2B5EF4-FFF2-40B4-BE49-F238E27FC236}">
                  <a16:creationId xmlns:a16="http://schemas.microsoft.com/office/drawing/2014/main" id="{1614CF3E-F6A1-4EA5-8FD6-142E60F760FA}"/>
                </a:ext>
              </a:extLst>
            </p:cNvPr>
            <p:cNvSpPr/>
            <p:nvPr/>
          </p:nvSpPr>
          <p:spPr>
            <a:xfrm>
              <a:off x="4744789" y="3699962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6" name="任意多边形: 形状 10335">
              <a:extLst>
                <a:ext uri="{FF2B5EF4-FFF2-40B4-BE49-F238E27FC236}">
                  <a16:creationId xmlns:a16="http://schemas.microsoft.com/office/drawing/2014/main" id="{25B97151-4E5D-4A0D-A2F8-6C1EF224D298}"/>
                </a:ext>
              </a:extLst>
            </p:cNvPr>
            <p:cNvSpPr/>
            <p:nvPr/>
          </p:nvSpPr>
          <p:spPr>
            <a:xfrm>
              <a:off x="4726230" y="3693776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7" name="任意多边形: 形状 10336">
              <a:extLst>
                <a:ext uri="{FF2B5EF4-FFF2-40B4-BE49-F238E27FC236}">
                  <a16:creationId xmlns:a16="http://schemas.microsoft.com/office/drawing/2014/main" id="{EAF0AFCA-B3F7-48D9-98BC-7F613000725B}"/>
                </a:ext>
              </a:extLst>
            </p:cNvPr>
            <p:cNvSpPr/>
            <p:nvPr/>
          </p:nvSpPr>
          <p:spPr>
            <a:xfrm>
              <a:off x="4720044" y="3693776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8" name="任意多边形: 形状 10337">
              <a:extLst>
                <a:ext uri="{FF2B5EF4-FFF2-40B4-BE49-F238E27FC236}">
                  <a16:creationId xmlns:a16="http://schemas.microsoft.com/office/drawing/2014/main" id="{6E39C231-7945-40A4-8DD2-41ADD27B1F28}"/>
                </a:ext>
              </a:extLst>
            </p:cNvPr>
            <p:cNvSpPr/>
            <p:nvPr/>
          </p:nvSpPr>
          <p:spPr>
            <a:xfrm>
              <a:off x="4701486" y="3690683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39" name="任意多边形: 形状 10338">
              <a:extLst>
                <a:ext uri="{FF2B5EF4-FFF2-40B4-BE49-F238E27FC236}">
                  <a16:creationId xmlns:a16="http://schemas.microsoft.com/office/drawing/2014/main" id="{021FAB5F-6BB2-47C0-9F39-C27644D14A2E}"/>
                </a:ext>
              </a:extLst>
            </p:cNvPr>
            <p:cNvSpPr/>
            <p:nvPr/>
          </p:nvSpPr>
          <p:spPr>
            <a:xfrm>
              <a:off x="4695300" y="3690683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0" name="任意多边形: 形状 10339">
              <a:extLst>
                <a:ext uri="{FF2B5EF4-FFF2-40B4-BE49-F238E27FC236}">
                  <a16:creationId xmlns:a16="http://schemas.microsoft.com/office/drawing/2014/main" id="{64914E02-8B8E-47AA-B03E-3F1FE573ACB9}"/>
                </a:ext>
              </a:extLst>
            </p:cNvPr>
            <p:cNvSpPr/>
            <p:nvPr/>
          </p:nvSpPr>
          <p:spPr>
            <a:xfrm>
              <a:off x="4676741" y="368449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1" name="任意多边形: 形状 10340">
              <a:extLst>
                <a:ext uri="{FF2B5EF4-FFF2-40B4-BE49-F238E27FC236}">
                  <a16:creationId xmlns:a16="http://schemas.microsoft.com/office/drawing/2014/main" id="{A6EC55F5-5486-4246-9353-326ADEE355B9}"/>
                </a:ext>
              </a:extLst>
            </p:cNvPr>
            <p:cNvSpPr/>
            <p:nvPr/>
          </p:nvSpPr>
          <p:spPr>
            <a:xfrm>
              <a:off x="4670555" y="368449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2" name="任意多边形: 形状 10341">
              <a:extLst>
                <a:ext uri="{FF2B5EF4-FFF2-40B4-BE49-F238E27FC236}">
                  <a16:creationId xmlns:a16="http://schemas.microsoft.com/office/drawing/2014/main" id="{1E05C889-F88D-449D-B294-8844179D5751}"/>
                </a:ext>
              </a:extLst>
            </p:cNvPr>
            <p:cNvSpPr/>
            <p:nvPr/>
          </p:nvSpPr>
          <p:spPr>
            <a:xfrm>
              <a:off x="4651996" y="368140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3" name="任意多边形: 形状 10342">
              <a:extLst>
                <a:ext uri="{FF2B5EF4-FFF2-40B4-BE49-F238E27FC236}">
                  <a16:creationId xmlns:a16="http://schemas.microsoft.com/office/drawing/2014/main" id="{83BA18CD-00C3-4501-B6A7-77A9D0DCDEF0}"/>
                </a:ext>
              </a:extLst>
            </p:cNvPr>
            <p:cNvSpPr/>
            <p:nvPr/>
          </p:nvSpPr>
          <p:spPr>
            <a:xfrm>
              <a:off x="4645810" y="368140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4" name="任意多边形: 形状 10343">
              <a:extLst>
                <a:ext uri="{FF2B5EF4-FFF2-40B4-BE49-F238E27FC236}">
                  <a16:creationId xmlns:a16="http://schemas.microsoft.com/office/drawing/2014/main" id="{D71260CA-F028-421A-BBA6-B1631F247806}"/>
                </a:ext>
              </a:extLst>
            </p:cNvPr>
            <p:cNvSpPr/>
            <p:nvPr/>
          </p:nvSpPr>
          <p:spPr>
            <a:xfrm>
              <a:off x="4274640" y="4337137"/>
              <a:ext cx="371170" cy="2134227"/>
            </a:xfrm>
            <a:custGeom>
              <a:avLst/>
              <a:gdLst>
                <a:gd name="connsiteX0" fmla="*/ 0 w 371170"/>
                <a:gd name="connsiteY0" fmla="*/ 0 h 2134227"/>
                <a:gd name="connsiteX1" fmla="*/ 395915 w 371170"/>
                <a:gd name="connsiteY1" fmla="*/ 0 h 2134227"/>
                <a:gd name="connsiteX2" fmla="*/ 395915 w 371170"/>
                <a:gd name="connsiteY2" fmla="*/ 2140414 h 2134227"/>
                <a:gd name="connsiteX3" fmla="*/ 0 w 37117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2134227">
                  <a:moveTo>
                    <a:pt x="0" y="0"/>
                  </a:moveTo>
                  <a:lnTo>
                    <a:pt x="395915" y="0"/>
                  </a:lnTo>
                  <a:lnTo>
                    <a:pt x="395915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5" name="任意多边形: 形状 10344">
              <a:extLst>
                <a:ext uri="{FF2B5EF4-FFF2-40B4-BE49-F238E27FC236}">
                  <a16:creationId xmlns:a16="http://schemas.microsoft.com/office/drawing/2014/main" id="{05AB6649-B415-46DD-9E1C-DBC6B124A1E2}"/>
                </a:ext>
              </a:extLst>
            </p:cNvPr>
            <p:cNvSpPr/>
            <p:nvPr/>
          </p:nvSpPr>
          <p:spPr>
            <a:xfrm>
              <a:off x="4262268" y="4324765"/>
              <a:ext cx="402101" cy="2165158"/>
            </a:xfrm>
            <a:custGeom>
              <a:avLst/>
              <a:gdLst>
                <a:gd name="connsiteX0" fmla="*/ 417566 w 402100"/>
                <a:gd name="connsiteY0" fmla="*/ 2165158 h 2165158"/>
                <a:gd name="connsiteX1" fmla="*/ 0 w 402100"/>
                <a:gd name="connsiteY1" fmla="*/ 2165158 h 2165158"/>
                <a:gd name="connsiteX2" fmla="*/ 0 w 402100"/>
                <a:gd name="connsiteY2" fmla="*/ 0 h 2165158"/>
                <a:gd name="connsiteX3" fmla="*/ 417566 w 402100"/>
                <a:gd name="connsiteY3" fmla="*/ 0 h 2165158"/>
                <a:gd name="connsiteX4" fmla="*/ 417566 w 402100"/>
                <a:gd name="connsiteY4" fmla="*/ 2165158 h 2165158"/>
                <a:gd name="connsiteX5" fmla="*/ 24745 w 402100"/>
                <a:gd name="connsiteY5" fmla="*/ 2143507 h 2165158"/>
                <a:gd name="connsiteX6" fmla="*/ 395915 w 402100"/>
                <a:gd name="connsiteY6" fmla="*/ 2143507 h 2165158"/>
                <a:gd name="connsiteX7" fmla="*/ 395915 w 402100"/>
                <a:gd name="connsiteY7" fmla="*/ 24745 h 2165158"/>
                <a:gd name="connsiteX8" fmla="*/ 24745 w 402100"/>
                <a:gd name="connsiteY8" fmla="*/ 24745 h 2165158"/>
                <a:gd name="connsiteX9" fmla="*/ 24745 w 402100"/>
                <a:gd name="connsiteY9" fmla="*/ 2143507 h 2165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100" h="2165158">
                  <a:moveTo>
                    <a:pt x="417566" y="2165158"/>
                  </a:moveTo>
                  <a:lnTo>
                    <a:pt x="0" y="2165158"/>
                  </a:lnTo>
                  <a:lnTo>
                    <a:pt x="0" y="0"/>
                  </a:lnTo>
                  <a:lnTo>
                    <a:pt x="417566" y="0"/>
                  </a:lnTo>
                  <a:lnTo>
                    <a:pt x="417566" y="2165158"/>
                  </a:lnTo>
                  <a:close/>
                  <a:moveTo>
                    <a:pt x="24745" y="2143507"/>
                  </a:moveTo>
                  <a:lnTo>
                    <a:pt x="395915" y="2143507"/>
                  </a:lnTo>
                  <a:lnTo>
                    <a:pt x="395915" y="24745"/>
                  </a:lnTo>
                  <a:lnTo>
                    <a:pt x="24745" y="24745"/>
                  </a:lnTo>
                  <a:lnTo>
                    <a:pt x="24745" y="2143507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6" name="任意多边形: 形状 10345">
              <a:extLst>
                <a:ext uri="{FF2B5EF4-FFF2-40B4-BE49-F238E27FC236}">
                  <a16:creationId xmlns:a16="http://schemas.microsoft.com/office/drawing/2014/main" id="{B822F8E2-45F3-4672-B8BD-BC57BDEBD549}"/>
                </a:ext>
              </a:extLst>
            </p:cNvPr>
            <p:cNvSpPr/>
            <p:nvPr/>
          </p:nvSpPr>
          <p:spPr>
            <a:xfrm>
              <a:off x="4274640" y="640950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7" name="任意多边形: 形状 10346">
              <a:extLst>
                <a:ext uri="{FF2B5EF4-FFF2-40B4-BE49-F238E27FC236}">
                  <a16:creationId xmlns:a16="http://schemas.microsoft.com/office/drawing/2014/main" id="{17504341-73B8-4883-9538-A1B1A70C16ED}"/>
                </a:ext>
              </a:extLst>
            </p:cNvPr>
            <p:cNvSpPr/>
            <p:nvPr/>
          </p:nvSpPr>
          <p:spPr>
            <a:xfrm>
              <a:off x="4274640" y="639713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8" name="任意多边形: 形状 10347">
              <a:extLst>
                <a:ext uri="{FF2B5EF4-FFF2-40B4-BE49-F238E27FC236}">
                  <a16:creationId xmlns:a16="http://schemas.microsoft.com/office/drawing/2014/main" id="{2BC16B0A-84E8-4CC0-AB01-B5B5DE57A665}"/>
                </a:ext>
              </a:extLst>
            </p:cNvPr>
            <p:cNvSpPr/>
            <p:nvPr/>
          </p:nvSpPr>
          <p:spPr>
            <a:xfrm>
              <a:off x="4274640" y="634145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49" name="任意多边形: 形状 10348">
              <a:extLst>
                <a:ext uri="{FF2B5EF4-FFF2-40B4-BE49-F238E27FC236}">
                  <a16:creationId xmlns:a16="http://schemas.microsoft.com/office/drawing/2014/main" id="{276D35C7-4174-4249-8CB5-58DED5C4D348}"/>
                </a:ext>
              </a:extLst>
            </p:cNvPr>
            <p:cNvSpPr/>
            <p:nvPr/>
          </p:nvSpPr>
          <p:spPr>
            <a:xfrm>
              <a:off x="4274640" y="632908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0" name="任意多边形: 形状 10349">
              <a:extLst>
                <a:ext uri="{FF2B5EF4-FFF2-40B4-BE49-F238E27FC236}">
                  <a16:creationId xmlns:a16="http://schemas.microsoft.com/office/drawing/2014/main" id="{44DA60ED-6623-4B0A-8B5C-90B112E26AD1}"/>
                </a:ext>
              </a:extLst>
            </p:cNvPr>
            <p:cNvSpPr/>
            <p:nvPr/>
          </p:nvSpPr>
          <p:spPr>
            <a:xfrm>
              <a:off x="4274640" y="627031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1" name="任意多边形: 形状 10350">
              <a:extLst>
                <a:ext uri="{FF2B5EF4-FFF2-40B4-BE49-F238E27FC236}">
                  <a16:creationId xmlns:a16="http://schemas.microsoft.com/office/drawing/2014/main" id="{12840943-8282-412F-BC5E-54C376AD94A3}"/>
                </a:ext>
              </a:extLst>
            </p:cNvPr>
            <p:cNvSpPr/>
            <p:nvPr/>
          </p:nvSpPr>
          <p:spPr>
            <a:xfrm>
              <a:off x="4274640" y="626103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2" name="任意多边形: 形状 10351">
              <a:extLst>
                <a:ext uri="{FF2B5EF4-FFF2-40B4-BE49-F238E27FC236}">
                  <a16:creationId xmlns:a16="http://schemas.microsoft.com/office/drawing/2014/main" id="{343BCFBF-A016-470B-A608-3932F3998924}"/>
                </a:ext>
              </a:extLst>
            </p:cNvPr>
            <p:cNvSpPr/>
            <p:nvPr/>
          </p:nvSpPr>
          <p:spPr>
            <a:xfrm>
              <a:off x="4274640" y="620226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3" name="任意多边形: 形状 10352">
              <a:extLst>
                <a:ext uri="{FF2B5EF4-FFF2-40B4-BE49-F238E27FC236}">
                  <a16:creationId xmlns:a16="http://schemas.microsoft.com/office/drawing/2014/main" id="{D643214C-05DE-4529-9F0A-61A644125ED0}"/>
                </a:ext>
              </a:extLst>
            </p:cNvPr>
            <p:cNvSpPr/>
            <p:nvPr/>
          </p:nvSpPr>
          <p:spPr>
            <a:xfrm>
              <a:off x="4274640" y="618989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4" name="任意多边形: 形状 10353">
              <a:extLst>
                <a:ext uri="{FF2B5EF4-FFF2-40B4-BE49-F238E27FC236}">
                  <a16:creationId xmlns:a16="http://schemas.microsoft.com/office/drawing/2014/main" id="{96CC3420-7D4A-48C0-AA9D-657BED428FA3}"/>
                </a:ext>
              </a:extLst>
            </p:cNvPr>
            <p:cNvSpPr/>
            <p:nvPr/>
          </p:nvSpPr>
          <p:spPr>
            <a:xfrm>
              <a:off x="4274640" y="613421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5" name="任意多边形: 形状 10354">
              <a:extLst>
                <a:ext uri="{FF2B5EF4-FFF2-40B4-BE49-F238E27FC236}">
                  <a16:creationId xmlns:a16="http://schemas.microsoft.com/office/drawing/2014/main" id="{F96BA783-B92D-4E3A-BA4F-584D7B6C5620}"/>
                </a:ext>
              </a:extLst>
            </p:cNvPr>
            <p:cNvSpPr/>
            <p:nvPr/>
          </p:nvSpPr>
          <p:spPr>
            <a:xfrm>
              <a:off x="4274640" y="612184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6" name="任意多边形: 形状 10355">
              <a:extLst>
                <a:ext uri="{FF2B5EF4-FFF2-40B4-BE49-F238E27FC236}">
                  <a16:creationId xmlns:a16="http://schemas.microsoft.com/office/drawing/2014/main" id="{B9F39F8B-4FFD-4E9E-8FFD-D2243E0662A7}"/>
                </a:ext>
              </a:extLst>
            </p:cNvPr>
            <p:cNvSpPr/>
            <p:nvPr/>
          </p:nvSpPr>
          <p:spPr>
            <a:xfrm>
              <a:off x="4274640" y="606307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7" name="任意多边形: 形状 10356">
              <a:extLst>
                <a:ext uri="{FF2B5EF4-FFF2-40B4-BE49-F238E27FC236}">
                  <a16:creationId xmlns:a16="http://schemas.microsoft.com/office/drawing/2014/main" id="{68CA745C-D305-4597-A14B-08124DDD50FA}"/>
                </a:ext>
              </a:extLst>
            </p:cNvPr>
            <p:cNvSpPr/>
            <p:nvPr/>
          </p:nvSpPr>
          <p:spPr>
            <a:xfrm>
              <a:off x="4274640" y="605379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8" name="任意多边形: 形状 10357">
              <a:extLst>
                <a:ext uri="{FF2B5EF4-FFF2-40B4-BE49-F238E27FC236}">
                  <a16:creationId xmlns:a16="http://schemas.microsoft.com/office/drawing/2014/main" id="{C735091E-44A9-4183-91EB-E47D094B8B89}"/>
                </a:ext>
              </a:extLst>
            </p:cNvPr>
            <p:cNvSpPr/>
            <p:nvPr/>
          </p:nvSpPr>
          <p:spPr>
            <a:xfrm>
              <a:off x="4274640" y="599503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59" name="任意多边形: 形状 10358">
              <a:extLst>
                <a:ext uri="{FF2B5EF4-FFF2-40B4-BE49-F238E27FC236}">
                  <a16:creationId xmlns:a16="http://schemas.microsoft.com/office/drawing/2014/main" id="{0AE09DBD-8BE0-48CA-B768-4D55F90FC440}"/>
                </a:ext>
              </a:extLst>
            </p:cNvPr>
            <p:cNvSpPr/>
            <p:nvPr/>
          </p:nvSpPr>
          <p:spPr>
            <a:xfrm>
              <a:off x="4274640" y="598265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0" name="任意多边形: 形状 10359">
              <a:extLst>
                <a:ext uri="{FF2B5EF4-FFF2-40B4-BE49-F238E27FC236}">
                  <a16:creationId xmlns:a16="http://schemas.microsoft.com/office/drawing/2014/main" id="{DC16D6B9-AC90-46F1-A238-8F53D8B2365D}"/>
                </a:ext>
              </a:extLst>
            </p:cNvPr>
            <p:cNvSpPr/>
            <p:nvPr/>
          </p:nvSpPr>
          <p:spPr>
            <a:xfrm>
              <a:off x="4274640" y="592698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1" name="任意多边形: 形状 10360">
              <a:extLst>
                <a:ext uri="{FF2B5EF4-FFF2-40B4-BE49-F238E27FC236}">
                  <a16:creationId xmlns:a16="http://schemas.microsoft.com/office/drawing/2014/main" id="{E0F43A6E-7AEC-4620-B247-D05D5058E74B}"/>
                </a:ext>
              </a:extLst>
            </p:cNvPr>
            <p:cNvSpPr/>
            <p:nvPr/>
          </p:nvSpPr>
          <p:spPr>
            <a:xfrm>
              <a:off x="4274640" y="591461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2" name="任意多边形: 形状 10361">
              <a:extLst>
                <a:ext uri="{FF2B5EF4-FFF2-40B4-BE49-F238E27FC236}">
                  <a16:creationId xmlns:a16="http://schemas.microsoft.com/office/drawing/2014/main" id="{C1B764B1-A6F5-44F2-8BF2-99F57776F7D1}"/>
                </a:ext>
              </a:extLst>
            </p:cNvPr>
            <p:cNvSpPr/>
            <p:nvPr/>
          </p:nvSpPr>
          <p:spPr>
            <a:xfrm>
              <a:off x="4274640" y="585584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3" name="任意多边形: 形状 10362">
              <a:extLst>
                <a:ext uri="{FF2B5EF4-FFF2-40B4-BE49-F238E27FC236}">
                  <a16:creationId xmlns:a16="http://schemas.microsoft.com/office/drawing/2014/main" id="{B88EAD77-9975-4367-9418-3577067B378D}"/>
                </a:ext>
              </a:extLst>
            </p:cNvPr>
            <p:cNvSpPr/>
            <p:nvPr/>
          </p:nvSpPr>
          <p:spPr>
            <a:xfrm>
              <a:off x="4274640" y="584656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4" name="任意多边形: 形状 10363">
              <a:extLst>
                <a:ext uri="{FF2B5EF4-FFF2-40B4-BE49-F238E27FC236}">
                  <a16:creationId xmlns:a16="http://schemas.microsoft.com/office/drawing/2014/main" id="{777EB266-76C5-4741-A170-B4CFC649BAA3}"/>
                </a:ext>
              </a:extLst>
            </p:cNvPr>
            <p:cNvSpPr/>
            <p:nvPr/>
          </p:nvSpPr>
          <p:spPr>
            <a:xfrm>
              <a:off x="4274640" y="578779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5" name="任意多边形: 形状 10364">
              <a:extLst>
                <a:ext uri="{FF2B5EF4-FFF2-40B4-BE49-F238E27FC236}">
                  <a16:creationId xmlns:a16="http://schemas.microsoft.com/office/drawing/2014/main" id="{AC538D35-D1F8-459D-A938-BD34B3926F3B}"/>
                </a:ext>
              </a:extLst>
            </p:cNvPr>
            <p:cNvSpPr/>
            <p:nvPr/>
          </p:nvSpPr>
          <p:spPr>
            <a:xfrm>
              <a:off x="4274640" y="577542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6" name="任意多边形: 形状 10365">
              <a:extLst>
                <a:ext uri="{FF2B5EF4-FFF2-40B4-BE49-F238E27FC236}">
                  <a16:creationId xmlns:a16="http://schemas.microsoft.com/office/drawing/2014/main" id="{5DE66BAD-F4E9-4586-9E88-319317FB5F5B}"/>
                </a:ext>
              </a:extLst>
            </p:cNvPr>
            <p:cNvSpPr/>
            <p:nvPr/>
          </p:nvSpPr>
          <p:spPr>
            <a:xfrm>
              <a:off x="4274640" y="571974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7" name="任意多边形: 形状 10366">
              <a:extLst>
                <a:ext uri="{FF2B5EF4-FFF2-40B4-BE49-F238E27FC236}">
                  <a16:creationId xmlns:a16="http://schemas.microsoft.com/office/drawing/2014/main" id="{91F6D73C-598C-437F-9BEA-900605D5039A}"/>
                </a:ext>
              </a:extLst>
            </p:cNvPr>
            <p:cNvSpPr/>
            <p:nvPr/>
          </p:nvSpPr>
          <p:spPr>
            <a:xfrm>
              <a:off x="4274640" y="570737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8" name="任意多边形: 形状 10367">
              <a:extLst>
                <a:ext uri="{FF2B5EF4-FFF2-40B4-BE49-F238E27FC236}">
                  <a16:creationId xmlns:a16="http://schemas.microsoft.com/office/drawing/2014/main" id="{E1528CA6-CD11-4117-803E-3C85B7DF1061}"/>
                </a:ext>
              </a:extLst>
            </p:cNvPr>
            <p:cNvSpPr/>
            <p:nvPr/>
          </p:nvSpPr>
          <p:spPr>
            <a:xfrm>
              <a:off x="4274640" y="564860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69" name="任意多边形: 形状 10368">
              <a:extLst>
                <a:ext uri="{FF2B5EF4-FFF2-40B4-BE49-F238E27FC236}">
                  <a16:creationId xmlns:a16="http://schemas.microsoft.com/office/drawing/2014/main" id="{77E80B72-1835-4F09-971E-A6E11F8FAE3E}"/>
                </a:ext>
              </a:extLst>
            </p:cNvPr>
            <p:cNvSpPr/>
            <p:nvPr/>
          </p:nvSpPr>
          <p:spPr>
            <a:xfrm>
              <a:off x="4274640" y="563932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0" name="任意多边形: 形状 10369">
              <a:extLst>
                <a:ext uri="{FF2B5EF4-FFF2-40B4-BE49-F238E27FC236}">
                  <a16:creationId xmlns:a16="http://schemas.microsoft.com/office/drawing/2014/main" id="{0BDF7D66-498B-4C4C-BEC7-442E886BF49F}"/>
                </a:ext>
              </a:extLst>
            </p:cNvPr>
            <p:cNvSpPr/>
            <p:nvPr/>
          </p:nvSpPr>
          <p:spPr>
            <a:xfrm>
              <a:off x="4274640" y="558055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1" name="任意多边形: 形状 10370">
              <a:extLst>
                <a:ext uri="{FF2B5EF4-FFF2-40B4-BE49-F238E27FC236}">
                  <a16:creationId xmlns:a16="http://schemas.microsoft.com/office/drawing/2014/main" id="{CF03FAE8-A146-45C8-AF3F-AD64557247A1}"/>
                </a:ext>
              </a:extLst>
            </p:cNvPr>
            <p:cNvSpPr/>
            <p:nvPr/>
          </p:nvSpPr>
          <p:spPr>
            <a:xfrm>
              <a:off x="4274640" y="556818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2" name="任意多边形: 形状 10371">
              <a:extLst>
                <a:ext uri="{FF2B5EF4-FFF2-40B4-BE49-F238E27FC236}">
                  <a16:creationId xmlns:a16="http://schemas.microsoft.com/office/drawing/2014/main" id="{08BC6D3A-2256-4E7D-BB53-41CA4F701C5D}"/>
                </a:ext>
              </a:extLst>
            </p:cNvPr>
            <p:cNvSpPr/>
            <p:nvPr/>
          </p:nvSpPr>
          <p:spPr>
            <a:xfrm>
              <a:off x="4274640" y="551250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3" name="任意多边形: 形状 10372">
              <a:extLst>
                <a:ext uri="{FF2B5EF4-FFF2-40B4-BE49-F238E27FC236}">
                  <a16:creationId xmlns:a16="http://schemas.microsoft.com/office/drawing/2014/main" id="{CCFFC82A-253C-40D4-836E-91E20C771D4A}"/>
                </a:ext>
              </a:extLst>
            </p:cNvPr>
            <p:cNvSpPr/>
            <p:nvPr/>
          </p:nvSpPr>
          <p:spPr>
            <a:xfrm>
              <a:off x="4274640" y="550013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4" name="任意多边形: 形状 10373">
              <a:extLst>
                <a:ext uri="{FF2B5EF4-FFF2-40B4-BE49-F238E27FC236}">
                  <a16:creationId xmlns:a16="http://schemas.microsoft.com/office/drawing/2014/main" id="{48EEBEAE-637F-4F36-A8A0-46F9CEC3E06A}"/>
                </a:ext>
              </a:extLst>
            </p:cNvPr>
            <p:cNvSpPr/>
            <p:nvPr/>
          </p:nvSpPr>
          <p:spPr>
            <a:xfrm>
              <a:off x="4274640" y="544136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5" name="任意多边形: 形状 10374">
              <a:extLst>
                <a:ext uri="{FF2B5EF4-FFF2-40B4-BE49-F238E27FC236}">
                  <a16:creationId xmlns:a16="http://schemas.microsoft.com/office/drawing/2014/main" id="{4684709E-001C-424C-B393-B9F5982AE361}"/>
                </a:ext>
              </a:extLst>
            </p:cNvPr>
            <p:cNvSpPr/>
            <p:nvPr/>
          </p:nvSpPr>
          <p:spPr>
            <a:xfrm>
              <a:off x="4274640" y="543208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6" name="任意多边形: 形状 10375">
              <a:extLst>
                <a:ext uri="{FF2B5EF4-FFF2-40B4-BE49-F238E27FC236}">
                  <a16:creationId xmlns:a16="http://schemas.microsoft.com/office/drawing/2014/main" id="{70F013E5-C561-4ABD-9517-3148AD8CE905}"/>
                </a:ext>
              </a:extLst>
            </p:cNvPr>
            <p:cNvSpPr/>
            <p:nvPr/>
          </p:nvSpPr>
          <p:spPr>
            <a:xfrm>
              <a:off x="4274640" y="537332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7" name="任意多边形: 形状 10376">
              <a:extLst>
                <a:ext uri="{FF2B5EF4-FFF2-40B4-BE49-F238E27FC236}">
                  <a16:creationId xmlns:a16="http://schemas.microsoft.com/office/drawing/2014/main" id="{D6B7A0A0-08D4-445C-A344-E84FA1524D83}"/>
                </a:ext>
              </a:extLst>
            </p:cNvPr>
            <p:cNvSpPr/>
            <p:nvPr/>
          </p:nvSpPr>
          <p:spPr>
            <a:xfrm>
              <a:off x="4274640" y="536094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8" name="任意多边形: 形状 10377">
              <a:extLst>
                <a:ext uri="{FF2B5EF4-FFF2-40B4-BE49-F238E27FC236}">
                  <a16:creationId xmlns:a16="http://schemas.microsoft.com/office/drawing/2014/main" id="{79CE82DD-782E-4F89-969A-12666C41584E}"/>
                </a:ext>
              </a:extLst>
            </p:cNvPr>
            <p:cNvSpPr/>
            <p:nvPr/>
          </p:nvSpPr>
          <p:spPr>
            <a:xfrm>
              <a:off x="4274640" y="530527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79" name="任意多边形: 形状 10378">
              <a:extLst>
                <a:ext uri="{FF2B5EF4-FFF2-40B4-BE49-F238E27FC236}">
                  <a16:creationId xmlns:a16="http://schemas.microsoft.com/office/drawing/2014/main" id="{08835F70-EF7A-4CD7-9A98-10F2B05703F2}"/>
                </a:ext>
              </a:extLst>
            </p:cNvPr>
            <p:cNvSpPr/>
            <p:nvPr/>
          </p:nvSpPr>
          <p:spPr>
            <a:xfrm>
              <a:off x="4274640" y="529290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0" name="任意多边形: 形状 10379">
              <a:extLst>
                <a:ext uri="{FF2B5EF4-FFF2-40B4-BE49-F238E27FC236}">
                  <a16:creationId xmlns:a16="http://schemas.microsoft.com/office/drawing/2014/main" id="{CC929D32-AA03-486E-812E-66E4E065D5DE}"/>
                </a:ext>
              </a:extLst>
            </p:cNvPr>
            <p:cNvSpPr/>
            <p:nvPr/>
          </p:nvSpPr>
          <p:spPr>
            <a:xfrm>
              <a:off x="4274640" y="523413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1" name="任意多边形: 形状 10380">
              <a:extLst>
                <a:ext uri="{FF2B5EF4-FFF2-40B4-BE49-F238E27FC236}">
                  <a16:creationId xmlns:a16="http://schemas.microsoft.com/office/drawing/2014/main" id="{48611BE5-9F5F-4A3F-B3FE-B4A00B92CAB4}"/>
                </a:ext>
              </a:extLst>
            </p:cNvPr>
            <p:cNvSpPr/>
            <p:nvPr/>
          </p:nvSpPr>
          <p:spPr>
            <a:xfrm>
              <a:off x="4274640" y="522485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2" name="任意多边形: 形状 10381">
              <a:extLst>
                <a:ext uri="{FF2B5EF4-FFF2-40B4-BE49-F238E27FC236}">
                  <a16:creationId xmlns:a16="http://schemas.microsoft.com/office/drawing/2014/main" id="{0965F427-AAB9-4BB2-A35E-EBD84C0565DF}"/>
                </a:ext>
              </a:extLst>
            </p:cNvPr>
            <p:cNvSpPr/>
            <p:nvPr/>
          </p:nvSpPr>
          <p:spPr>
            <a:xfrm>
              <a:off x="4274640" y="516608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3" name="任意多边形: 形状 10382">
              <a:extLst>
                <a:ext uri="{FF2B5EF4-FFF2-40B4-BE49-F238E27FC236}">
                  <a16:creationId xmlns:a16="http://schemas.microsoft.com/office/drawing/2014/main" id="{E9FAA805-8FA2-420C-A062-0967753BEF43}"/>
                </a:ext>
              </a:extLst>
            </p:cNvPr>
            <p:cNvSpPr/>
            <p:nvPr/>
          </p:nvSpPr>
          <p:spPr>
            <a:xfrm>
              <a:off x="4274640" y="515371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4" name="任意多边形: 形状 10383">
              <a:extLst>
                <a:ext uri="{FF2B5EF4-FFF2-40B4-BE49-F238E27FC236}">
                  <a16:creationId xmlns:a16="http://schemas.microsoft.com/office/drawing/2014/main" id="{D3EE0AC1-670A-43B3-B927-2C439097BE7C}"/>
                </a:ext>
              </a:extLst>
            </p:cNvPr>
            <p:cNvSpPr/>
            <p:nvPr/>
          </p:nvSpPr>
          <p:spPr>
            <a:xfrm>
              <a:off x="4274640" y="509803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5" name="任意多边形: 形状 10384">
              <a:extLst>
                <a:ext uri="{FF2B5EF4-FFF2-40B4-BE49-F238E27FC236}">
                  <a16:creationId xmlns:a16="http://schemas.microsoft.com/office/drawing/2014/main" id="{1B54B9A7-D656-4CD8-8538-FE34AAF6994F}"/>
                </a:ext>
              </a:extLst>
            </p:cNvPr>
            <p:cNvSpPr/>
            <p:nvPr/>
          </p:nvSpPr>
          <p:spPr>
            <a:xfrm>
              <a:off x="4274640" y="508566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6" name="任意多边形: 形状 10385">
              <a:extLst>
                <a:ext uri="{FF2B5EF4-FFF2-40B4-BE49-F238E27FC236}">
                  <a16:creationId xmlns:a16="http://schemas.microsoft.com/office/drawing/2014/main" id="{C6306C36-A124-4B28-97BF-278FA1D1E8A9}"/>
                </a:ext>
              </a:extLst>
            </p:cNvPr>
            <p:cNvSpPr/>
            <p:nvPr/>
          </p:nvSpPr>
          <p:spPr>
            <a:xfrm>
              <a:off x="4274640" y="502689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7" name="任意多边形: 形状 10386">
              <a:extLst>
                <a:ext uri="{FF2B5EF4-FFF2-40B4-BE49-F238E27FC236}">
                  <a16:creationId xmlns:a16="http://schemas.microsoft.com/office/drawing/2014/main" id="{5ABF6B9C-CACA-4D25-9804-78B9760C67A6}"/>
                </a:ext>
              </a:extLst>
            </p:cNvPr>
            <p:cNvSpPr/>
            <p:nvPr/>
          </p:nvSpPr>
          <p:spPr>
            <a:xfrm>
              <a:off x="4274640" y="501761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8" name="任意多边形: 形状 10387">
              <a:extLst>
                <a:ext uri="{FF2B5EF4-FFF2-40B4-BE49-F238E27FC236}">
                  <a16:creationId xmlns:a16="http://schemas.microsoft.com/office/drawing/2014/main" id="{DA730AF5-B795-4C40-B9F1-E00DFF2EB6F0}"/>
                </a:ext>
              </a:extLst>
            </p:cNvPr>
            <p:cNvSpPr/>
            <p:nvPr/>
          </p:nvSpPr>
          <p:spPr>
            <a:xfrm>
              <a:off x="4274640" y="495884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89" name="任意多边形: 形状 10388">
              <a:extLst>
                <a:ext uri="{FF2B5EF4-FFF2-40B4-BE49-F238E27FC236}">
                  <a16:creationId xmlns:a16="http://schemas.microsoft.com/office/drawing/2014/main" id="{60C2EE07-EF11-4962-8FF6-EA9D25A6F93B}"/>
                </a:ext>
              </a:extLst>
            </p:cNvPr>
            <p:cNvSpPr/>
            <p:nvPr/>
          </p:nvSpPr>
          <p:spPr>
            <a:xfrm>
              <a:off x="4274640" y="494647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0" name="任意多边形: 形状 10389">
              <a:extLst>
                <a:ext uri="{FF2B5EF4-FFF2-40B4-BE49-F238E27FC236}">
                  <a16:creationId xmlns:a16="http://schemas.microsoft.com/office/drawing/2014/main" id="{876482C4-46F2-4505-8813-8209AEF0E7F2}"/>
                </a:ext>
              </a:extLst>
            </p:cNvPr>
            <p:cNvSpPr/>
            <p:nvPr/>
          </p:nvSpPr>
          <p:spPr>
            <a:xfrm>
              <a:off x="4274640" y="489079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1" name="任意多边形: 形状 10390">
              <a:extLst>
                <a:ext uri="{FF2B5EF4-FFF2-40B4-BE49-F238E27FC236}">
                  <a16:creationId xmlns:a16="http://schemas.microsoft.com/office/drawing/2014/main" id="{123DD1F0-434A-4F38-B91F-0A6958B1FA45}"/>
                </a:ext>
              </a:extLst>
            </p:cNvPr>
            <p:cNvSpPr/>
            <p:nvPr/>
          </p:nvSpPr>
          <p:spPr>
            <a:xfrm>
              <a:off x="4274640" y="487842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2" name="任意多边形: 形状 10391">
              <a:extLst>
                <a:ext uri="{FF2B5EF4-FFF2-40B4-BE49-F238E27FC236}">
                  <a16:creationId xmlns:a16="http://schemas.microsoft.com/office/drawing/2014/main" id="{16B358A1-E93B-4264-AE4E-C0D0F42DE57E}"/>
                </a:ext>
              </a:extLst>
            </p:cNvPr>
            <p:cNvSpPr/>
            <p:nvPr/>
          </p:nvSpPr>
          <p:spPr>
            <a:xfrm>
              <a:off x="4274640" y="481965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3" name="任意多边形: 形状 10392">
              <a:extLst>
                <a:ext uri="{FF2B5EF4-FFF2-40B4-BE49-F238E27FC236}">
                  <a16:creationId xmlns:a16="http://schemas.microsoft.com/office/drawing/2014/main" id="{AE06D77D-2190-4FAC-B4F1-AF4B9370FDCF}"/>
                </a:ext>
              </a:extLst>
            </p:cNvPr>
            <p:cNvSpPr/>
            <p:nvPr/>
          </p:nvSpPr>
          <p:spPr>
            <a:xfrm>
              <a:off x="4274640" y="481037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4" name="任意多边形: 形状 10393">
              <a:extLst>
                <a:ext uri="{FF2B5EF4-FFF2-40B4-BE49-F238E27FC236}">
                  <a16:creationId xmlns:a16="http://schemas.microsoft.com/office/drawing/2014/main" id="{5358ADBF-2947-4E41-ADAB-3B2EE1D5E552}"/>
                </a:ext>
              </a:extLst>
            </p:cNvPr>
            <p:cNvSpPr/>
            <p:nvPr/>
          </p:nvSpPr>
          <p:spPr>
            <a:xfrm>
              <a:off x="4274640" y="475161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5" name="任意多边形: 形状 10394">
              <a:extLst>
                <a:ext uri="{FF2B5EF4-FFF2-40B4-BE49-F238E27FC236}">
                  <a16:creationId xmlns:a16="http://schemas.microsoft.com/office/drawing/2014/main" id="{1AC266BD-2CBA-49BE-BA20-F11A38927E65}"/>
                </a:ext>
              </a:extLst>
            </p:cNvPr>
            <p:cNvSpPr/>
            <p:nvPr/>
          </p:nvSpPr>
          <p:spPr>
            <a:xfrm>
              <a:off x="4274640" y="473923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6" name="任意多边形: 形状 10395">
              <a:extLst>
                <a:ext uri="{FF2B5EF4-FFF2-40B4-BE49-F238E27FC236}">
                  <a16:creationId xmlns:a16="http://schemas.microsoft.com/office/drawing/2014/main" id="{2D5096C0-B24D-430C-B66C-E3E6C277CDDA}"/>
                </a:ext>
              </a:extLst>
            </p:cNvPr>
            <p:cNvSpPr/>
            <p:nvPr/>
          </p:nvSpPr>
          <p:spPr>
            <a:xfrm>
              <a:off x="4274640" y="468356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7" name="任意多边形: 形状 10396">
              <a:extLst>
                <a:ext uri="{FF2B5EF4-FFF2-40B4-BE49-F238E27FC236}">
                  <a16:creationId xmlns:a16="http://schemas.microsoft.com/office/drawing/2014/main" id="{C39BE064-FBF5-4CAF-B2BE-2AAC491EC63B}"/>
                </a:ext>
              </a:extLst>
            </p:cNvPr>
            <p:cNvSpPr/>
            <p:nvPr/>
          </p:nvSpPr>
          <p:spPr>
            <a:xfrm>
              <a:off x="4274640" y="467119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8" name="任意多边形: 形状 10397">
              <a:extLst>
                <a:ext uri="{FF2B5EF4-FFF2-40B4-BE49-F238E27FC236}">
                  <a16:creationId xmlns:a16="http://schemas.microsoft.com/office/drawing/2014/main" id="{394A4617-ABEF-4217-A739-26A264FE734E}"/>
                </a:ext>
              </a:extLst>
            </p:cNvPr>
            <p:cNvSpPr/>
            <p:nvPr/>
          </p:nvSpPr>
          <p:spPr>
            <a:xfrm>
              <a:off x="4274640" y="461242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99" name="任意多边形: 形状 10398">
              <a:extLst>
                <a:ext uri="{FF2B5EF4-FFF2-40B4-BE49-F238E27FC236}">
                  <a16:creationId xmlns:a16="http://schemas.microsoft.com/office/drawing/2014/main" id="{C68E911D-5751-4CE1-9D33-F9D3D1EC82A4}"/>
                </a:ext>
              </a:extLst>
            </p:cNvPr>
            <p:cNvSpPr/>
            <p:nvPr/>
          </p:nvSpPr>
          <p:spPr>
            <a:xfrm>
              <a:off x="4274640" y="460314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0" name="任意多边形: 形状 10399">
              <a:extLst>
                <a:ext uri="{FF2B5EF4-FFF2-40B4-BE49-F238E27FC236}">
                  <a16:creationId xmlns:a16="http://schemas.microsoft.com/office/drawing/2014/main" id="{686FA509-500F-4CA2-BFD1-1D126BFBD612}"/>
                </a:ext>
              </a:extLst>
            </p:cNvPr>
            <p:cNvSpPr/>
            <p:nvPr/>
          </p:nvSpPr>
          <p:spPr>
            <a:xfrm>
              <a:off x="4274640" y="454437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1" name="任意多边形: 形状 10400">
              <a:extLst>
                <a:ext uri="{FF2B5EF4-FFF2-40B4-BE49-F238E27FC236}">
                  <a16:creationId xmlns:a16="http://schemas.microsoft.com/office/drawing/2014/main" id="{00263246-9B41-4FA2-B437-9CF755411040}"/>
                </a:ext>
              </a:extLst>
            </p:cNvPr>
            <p:cNvSpPr/>
            <p:nvPr/>
          </p:nvSpPr>
          <p:spPr>
            <a:xfrm>
              <a:off x="4274640" y="453200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2" name="任意多边形: 形状 10401">
              <a:extLst>
                <a:ext uri="{FF2B5EF4-FFF2-40B4-BE49-F238E27FC236}">
                  <a16:creationId xmlns:a16="http://schemas.microsoft.com/office/drawing/2014/main" id="{E246018D-7B99-4546-A3CE-B73EDE5CB3FA}"/>
                </a:ext>
              </a:extLst>
            </p:cNvPr>
            <p:cNvSpPr/>
            <p:nvPr/>
          </p:nvSpPr>
          <p:spPr>
            <a:xfrm>
              <a:off x="4274640" y="447632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3" name="任意多边形: 形状 10402">
              <a:extLst>
                <a:ext uri="{FF2B5EF4-FFF2-40B4-BE49-F238E27FC236}">
                  <a16:creationId xmlns:a16="http://schemas.microsoft.com/office/drawing/2014/main" id="{D5DFD345-E67D-4A28-91AC-0E38D18E52F8}"/>
                </a:ext>
              </a:extLst>
            </p:cNvPr>
            <p:cNvSpPr/>
            <p:nvPr/>
          </p:nvSpPr>
          <p:spPr>
            <a:xfrm>
              <a:off x="4274640" y="446395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4" name="任意多边形: 形状 10403">
              <a:extLst>
                <a:ext uri="{FF2B5EF4-FFF2-40B4-BE49-F238E27FC236}">
                  <a16:creationId xmlns:a16="http://schemas.microsoft.com/office/drawing/2014/main" id="{7BD36DEF-0A1E-46E3-8E74-9E0085A27F11}"/>
                </a:ext>
              </a:extLst>
            </p:cNvPr>
            <p:cNvSpPr/>
            <p:nvPr/>
          </p:nvSpPr>
          <p:spPr>
            <a:xfrm>
              <a:off x="4274640" y="440518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5" name="任意多边形: 形状 10404">
              <a:extLst>
                <a:ext uri="{FF2B5EF4-FFF2-40B4-BE49-F238E27FC236}">
                  <a16:creationId xmlns:a16="http://schemas.microsoft.com/office/drawing/2014/main" id="{C0BAF2B3-EFE7-4EB9-A660-8E793C51A0AA}"/>
                </a:ext>
              </a:extLst>
            </p:cNvPr>
            <p:cNvSpPr/>
            <p:nvPr/>
          </p:nvSpPr>
          <p:spPr>
            <a:xfrm>
              <a:off x="4274640" y="439590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6" name="任意多边形: 形状 10405">
              <a:extLst>
                <a:ext uri="{FF2B5EF4-FFF2-40B4-BE49-F238E27FC236}">
                  <a16:creationId xmlns:a16="http://schemas.microsoft.com/office/drawing/2014/main" id="{20563AD5-8D98-4DFE-850D-37D5E48ED423}"/>
                </a:ext>
              </a:extLst>
            </p:cNvPr>
            <p:cNvSpPr/>
            <p:nvPr/>
          </p:nvSpPr>
          <p:spPr>
            <a:xfrm>
              <a:off x="4633438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7" name="任意多边形: 形状 10406">
              <a:extLst>
                <a:ext uri="{FF2B5EF4-FFF2-40B4-BE49-F238E27FC236}">
                  <a16:creationId xmlns:a16="http://schemas.microsoft.com/office/drawing/2014/main" id="{B04B9BD1-9C75-4919-8CA3-EE954CA64ECB}"/>
                </a:ext>
              </a:extLst>
            </p:cNvPr>
            <p:cNvSpPr/>
            <p:nvPr/>
          </p:nvSpPr>
          <p:spPr>
            <a:xfrm>
              <a:off x="4621066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8" name="任意多边形: 形状 10407">
              <a:extLst>
                <a:ext uri="{FF2B5EF4-FFF2-40B4-BE49-F238E27FC236}">
                  <a16:creationId xmlns:a16="http://schemas.microsoft.com/office/drawing/2014/main" id="{0C507D78-4FAE-4A4B-834F-38077E4BA257}"/>
                </a:ext>
              </a:extLst>
            </p:cNvPr>
            <p:cNvSpPr/>
            <p:nvPr/>
          </p:nvSpPr>
          <p:spPr>
            <a:xfrm>
              <a:off x="4596321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09" name="任意多边形: 形状 10408">
              <a:extLst>
                <a:ext uri="{FF2B5EF4-FFF2-40B4-BE49-F238E27FC236}">
                  <a16:creationId xmlns:a16="http://schemas.microsoft.com/office/drawing/2014/main" id="{1AA43498-8E0E-46EB-BDEE-E80A66032398}"/>
                </a:ext>
              </a:extLst>
            </p:cNvPr>
            <p:cNvSpPr/>
            <p:nvPr/>
          </p:nvSpPr>
          <p:spPr>
            <a:xfrm>
              <a:off x="4583948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0" name="任意多边形: 形状 10409">
              <a:extLst>
                <a:ext uri="{FF2B5EF4-FFF2-40B4-BE49-F238E27FC236}">
                  <a16:creationId xmlns:a16="http://schemas.microsoft.com/office/drawing/2014/main" id="{86FF194A-8AF3-49FD-AF12-6AF51579C01D}"/>
                </a:ext>
              </a:extLst>
            </p:cNvPr>
            <p:cNvSpPr/>
            <p:nvPr/>
          </p:nvSpPr>
          <p:spPr>
            <a:xfrm>
              <a:off x="4562297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1" name="任意多边形: 形状 10410">
              <a:extLst>
                <a:ext uri="{FF2B5EF4-FFF2-40B4-BE49-F238E27FC236}">
                  <a16:creationId xmlns:a16="http://schemas.microsoft.com/office/drawing/2014/main" id="{3A6281E3-A922-4455-B319-0E6FB1AFD54B}"/>
                </a:ext>
              </a:extLst>
            </p:cNvPr>
            <p:cNvSpPr/>
            <p:nvPr/>
          </p:nvSpPr>
          <p:spPr>
            <a:xfrm>
              <a:off x="4549925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2" name="任意多边形: 形状 10411">
              <a:extLst>
                <a:ext uri="{FF2B5EF4-FFF2-40B4-BE49-F238E27FC236}">
                  <a16:creationId xmlns:a16="http://schemas.microsoft.com/office/drawing/2014/main" id="{B0314E0D-F01F-4023-B689-F0C12F1FA440}"/>
                </a:ext>
              </a:extLst>
            </p:cNvPr>
            <p:cNvSpPr/>
            <p:nvPr/>
          </p:nvSpPr>
          <p:spPr>
            <a:xfrm>
              <a:off x="4525180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3" name="任意多边形: 形状 10412">
              <a:extLst>
                <a:ext uri="{FF2B5EF4-FFF2-40B4-BE49-F238E27FC236}">
                  <a16:creationId xmlns:a16="http://schemas.microsoft.com/office/drawing/2014/main" id="{8FD6EEDA-B8A2-43A7-BDA9-6B4E40092AAD}"/>
                </a:ext>
              </a:extLst>
            </p:cNvPr>
            <p:cNvSpPr/>
            <p:nvPr/>
          </p:nvSpPr>
          <p:spPr>
            <a:xfrm>
              <a:off x="4512808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4" name="任意多边形: 形状 10413">
              <a:extLst>
                <a:ext uri="{FF2B5EF4-FFF2-40B4-BE49-F238E27FC236}">
                  <a16:creationId xmlns:a16="http://schemas.microsoft.com/office/drawing/2014/main" id="{B8F07060-0B80-4AAC-9DEF-E1BAA945667F}"/>
                </a:ext>
              </a:extLst>
            </p:cNvPr>
            <p:cNvSpPr/>
            <p:nvPr/>
          </p:nvSpPr>
          <p:spPr>
            <a:xfrm>
              <a:off x="4488063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5" name="任意多边形: 形状 10414">
              <a:extLst>
                <a:ext uri="{FF2B5EF4-FFF2-40B4-BE49-F238E27FC236}">
                  <a16:creationId xmlns:a16="http://schemas.microsoft.com/office/drawing/2014/main" id="{1DD8563E-AF7E-49E3-A121-293BAF166773}"/>
                </a:ext>
              </a:extLst>
            </p:cNvPr>
            <p:cNvSpPr/>
            <p:nvPr/>
          </p:nvSpPr>
          <p:spPr>
            <a:xfrm>
              <a:off x="4478784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6" name="任意多边形: 形状 10415">
              <a:extLst>
                <a:ext uri="{FF2B5EF4-FFF2-40B4-BE49-F238E27FC236}">
                  <a16:creationId xmlns:a16="http://schemas.microsoft.com/office/drawing/2014/main" id="{DECD5EBD-726A-465B-936A-34BCE5C596F8}"/>
                </a:ext>
              </a:extLst>
            </p:cNvPr>
            <p:cNvSpPr/>
            <p:nvPr/>
          </p:nvSpPr>
          <p:spPr>
            <a:xfrm>
              <a:off x="4454039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7" name="任意多边形: 形状 10416">
              <a:extLst>
                <a:ext uri="{FF2B5EF4-FFF2-40B4-BE49-F238E27FC236}">
                  <a16:creationId xmlns:a16="http://schemas.microsoft.com/office/drawing/2014/main" id="{DB333E87-171E-4DF0-B5D8-6F94D121C669}"/>
                </a:ext>
              </a:extLst>
            </p:cNvPr>
            <p:cNvSpPr/>
            <p:nvPr/>
          </p:nvSpPr>
          <p:spPr>
            <a:xfrm>
              <a:off x="4441667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8" name="任意多边形: 形状 10417">
              <a:extLst>
                <a:ext uri="{FF2B5EF4-FFF2-40B4-BE49-F238E27FC236}">
                  <a16:creationId xmlns:a16="http://schemas.microsoft.com/office/drawing/2014/main" id="{367203BE-5B70-4A22-A277-211FB271B0BA}"/>
                </a:ext>
              </a:extLst>
            </p:cNvPr>
            <p:cNvSpPr/>
            <p:nvPr/>
          </p:nvSpPr>
          <p:spPr>
            <a:xfrm>
              <a:off x="4416922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19" name="任意多边形: 形状 10418">
              <a:extLst>
                <a:ext uri="{FF2B5EF4-FFF2-40B4-BE49-F238E27FC236}">
                  <a16:creationId xmlns:a16="http://schemas.microsoft.com/office/drawing/2014/main" id="{9F1BC196-5864-4034-8D4D-B38179905652}"/>
                </a:ext>
              </a:extLst>
            </p:cNvPr>
            <p:cNvSpPr/>
            <p:nvPr/>
          </p:nvSpPr>
          <p:spPr>
            <a:xfrm>
              <a:off x="4404550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0" name="任意多边形: 形状 10419">
              <a:extLst>
                <a:ext uri="{FF2B5EF4-FFF2-40B4-BE49-F238E27FC236}">
                  <a16:creationId xmlns:a16="http://schemas.microsoft.com/office/drawing/2014/main" id="{800F496B-BA50-4C69-97B8-402459786F0C}"/>
                </a:ext>
              </a:extLst>
            </p:cNvPr>
            <p:cNvSpPr/>
            <p:nvPr/>
          </p:nvSpPr>
          <p:spPr>
            <a:xfrm>
              <a:off x="4382898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1" name="任意多边形: 形状 10420">
              <a:extLst>
                <a:ext uri="{FF2B5EF4-FFF2-40B4-BE49-F238E27FC236}">
                  <a16:creationId xmlns:a16="http://schemas.microsoft.com/office/drawing/2014/main" id="{828FDC5F-B3F2-4A2A-AC3D-5BDA080FF743}"/>
                </a:ext>
              </a:extLst>
            </p:cNvPr>
            <p:cNvSpPr/>
            <p:nvPr/>
          </p:nvSpPr>
          <p:spPr>
            <a:xfrm>
              <a:off x="4370526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2" name="任意多边形: 形状 10421">
              <a:extLst>
                <a:ext uri="{FF2B5EF4-FFF2-40B4-BE49-F238E27FC236}">
                  <a16:creationId xmlns:a16="http://schemas.microsoft.com/office/drawing/2014/main" id="{6F99BDFB-39CF-4A89-93D9-FBE565862327}"/>
                </a:ext>
              </a:extLst>
            </p:cNvPr>
            <p:cNvSpPr/>
            <p:nvPr/>
          </p:nvSpPr>
          <p:spPr>
            <a:xfrm>
              <a:off x="4345781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3" name="任意多边形: 形状 10422">
              <a:extLst>
                <a:ext uri="{FF2B5EF4-FFF2-40B4-BE49-F238E27FC236}">
                  <a16:creationId xmlns:a16="http://schemas.microsoft.com/office/drawing/2014/main" id="{E484C741-7AB9-4B14-99BF-FA1F37D8E433}"/>
                </a:ext>
              </a:extLst>
            </p:cNvPr>
            <p:cNvSpPr/>
            <p:nvPr/>
          </p:nvSpPr>
          <p:spPr>
            <a:xfrm>
              <a:off x="4333409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4" name="任意多边形: 形状 10423">
              <a:extLst>
                <a:ext uri="{FF2B5EF4-FFF2-40B4-BE49-F238E27FC236}">
                  <a16:creationId xmlns:a16="http://schemas.microsoft.com/office/drawing/2014/main" id="{73289C35-29A6-4828-90B2-8C9046C234B1}"/>
                </a:ext>
              </a:extLst>
            </p:cNvPr>
            <p:cNvSpPr/>
            <p:nvPr/>
          </p:nvSpPr>
          <p:spPr>
            <a:xfrm>
              <a:off x="4308664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5" name="任意多边形: 形状 10424">
              <a:extLst>
                <a:ext uri="{FF2B5EF4-FFF2-40B4-BE49-F238E27FC236}">
                  <a16:creationId xmlns:a16="http://schemas.microsoft.com/office/drawing/2014/main" id="{63AC856E-A7A7-4A83-9862-D85C63CB6B04}"/>
                </a:ext>
              </a:extLst>
            </p:cNvPr>
            <p:cNvSpPr/>
            <p:nvPr/>
          </p:nvSpPr>
          <p:spPr>
            <a:xfrm>
              <a:off x="4299385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6" name="任意多边形: 形状 10425">
              <a:extLst>
                <a:ext uri="{FF2B5EF4-FFF2-40B4-BE49-F238E27FC236}">
                  <a16:creationId xmlns:a16="http://schemas.microsoft.com/office/drawing/2014/main" id="{636BC7B7-44B2-41F6-AEB6-D47BBD112E23}"/>
                </a:ext>
              </a:extLst>
            </p:cNvPr>
            <p:cNvSpPr/>
            <p:nvPr/>
          </p:nvSpPr>
          <p:spPr>
            <a:xfrm>
              <a:off x="4679834" y="4337137"/>
              <a:ext cx="371170" cy="2196089"/>
            </a:xfrm>
            <a:custGeom>
              <a:avLst/>
              <a:gdLst>
                <a:gd name="connsiteX0" fmla="*/ 0 w 371170"/>
                <a:gd name="connsiteY0" fmla="*/ 0 h 2196089"/>
                <a:gd name="connsiteX1" fmla="*/ 395915 w 371170"/>
                <a:gd name="connsiteY1" fmla="*/ 77327 h 2196089"/>
                <a:gd name="connsiteX2" fmla="*/ 395915 w 371170"/>
                <a:gd name="connsiteY2" fmla="*/ 2217741 h 2196089"/>
                <a:gd name="connsiteX3" fmla="*/ 0 w 371170"/>
                <a:gd name="connsiteY3" fmla="*/ 2140414 h 2196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2196089">
                  <a:moveTo>
                    <a:pt x="0" y="0"/>
                  </a:moveTo>
                  <a:lnTo>
                    <a:pt x="395915" y="77327"/>
                  </a:lnTo>
                  <a:lnTo>
                    <a:pt x="395915" y="2217741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7" name="任意多边形: 形状 10426">
              <a:extLst>
                <a:ext uri="{FF2B5EF4-FFF2-40B4-BE49-F238E27FC236}">
                  <a16:creationId xmlns:a16="http://schemas.microsoft.com/office/drawing/2014/main" id="{80080C24-5ED4-4983-B885-C1179FDD48B6}"/>
                </a:ext>
              </a:extLst>
            </p:cNvPr>
            <p:cNvSpPr/>
            <p:nvPr/>
          </p:nvSpPr>
          <p:spPr>
            <a:xfrm>
              <a:off x="4667462" y="4324765"/>
              <a:ext cx="402101" cy="2227020"/>
            </a:xfrm>
            <a:custGeom>
              <a:avLst/>
              <a:gdLst>
                <a:gd name="connsiteX0" fmla="*/ 417566 w 402100"/>
                <a:gd name="connsiteY0" fmla="*/ 2245578 h 2227019"/>
                <a:gd name="connsiteX1" fmla="*/ 0 w 402100"/>
                <a:gd name="connsiteY1" fmla="*/ 2165158 h 2227019"/>
                <a:gd name="connsiteX2" fmla="*/ 0 w 402100"/>
                <a:gd name="connsiteY2" fmla="*/ 0 h 2227019"/>
                <a:gd name="connsiteX3" fmla="*/ 417566 w 402100"/>
                <a:gd name="connsiteY3" fmla="*/ 80420 h 2227019"/>
                <a:gd name="connsiteX4" fmla="*/ 417566 w 402100"/>
                <a:gd name="connsiteY4" fmla="*/ 2245578 h 2227019"/>
                <a:gd name="connsiteX5" fmla="*/ 24745 w 402100"/>
                <a:gd name="connsiteY5" fmla="*/ 2143507 h 2227019"/>
                <a:gd name="connsiteX6" fmla="*/ 395915 w 402100"/>
                <a:gd name="connsiteY6" fmla="*/ 2214648 h 2227019"/>
                <a:gd name="connsiteX7" fmla="*/ 395915 w 402100"/>
                <a:gd name="connsiteY7" fmla="*/ 98979 h 2227019"/>
                <a:gd name="connsiteX8" fmla="*/ 24745 w 402100"/>
                <a:gd name="connsiteY8" fmla="*/ 27838 h 2227019"/>
                <a:gd name="connsiteX9" fmla="*/ 24745 w 402100"/>
                <a:gd name="connsiteY9" fmla="*/ 2143507 h 2227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100" h="2227019">
                  <a:moveTo>
                    <a:pt x="417566" y="2245578"/>
                  </a:moveTo>
                  <a:lnTo>
                    <a:pt x="0" y="2165158"/>
                  </a:lnTo>
                  <a:lnTo>
                    <a:pt x="0" y="0"/>
                  </a:lnTo>
                  <a:lnTo>
                    <a:pt x="417566" y="80420"/>
                  </a:lnTo>
                  <a:lnTo>
                    <a:pt x="417566" y="2245578"/>
                  </a:lnTo>
                  <a:close/>
                  <a:moveTo>
                    <a:pt x="24745" y="2143507"/>
                  </a:moveTo>
                  <a:lnTo>
                    <a:pt x="395915" y="2214648"/>
                  </a:lnTo>
                  <a:lnTo>
                    <a:pt x="395915" y="98979"/>
                  </a:lnTo>
                  <a:lnTo>
                    <a:pt x="24745" y="27838"/>
                  </a:lnTo>
                  <a:lnTo>
                    <a:pt x="24745" y="2143507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8" name="任意多边形: 形状 10427">
              <a:extLst>
                <a:ext uri="{FF2B5EF4-FFF2-40B4-BE49-F238E27FC236}">
                  <a16:creationId xmlns:a16="http://schemas.microsoft.com/office/drawing/2014/main" id="{91C0DF8B-FFBB-4DC6-80CE-23DDCE2AEE5B}"/>
                </a:ext>
              </a:extLst>
            </p:cNvPr>
            <p:cNvSpPr/>
            <p:nvPr/>
          </p:nvSpPr>
          <p:spPr>
            <a:xfrm>
              <a:off x="4679834" y="6409503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29" name="任意多边形: 形状 10428">
              <a:extLst>
                <a:ext uri="{FF2B5EF4-FFF2-40B4-BE49-F238E27FC236}">
                  <a16:creationId xmlns:a16="http://schemas.microsoft.com/office/drawing/2014/main" id="{0BA07B21-B164-4B1E-8D16-DA4748581F94}"/>
                </a:ext>
              </a:extLst>
            </p:cNvPr>
            <p:cNvSpPr/>
            <p:nvPr/>
          </p:nvSpPr>
          <p:spPr>
            <a:xfrm>
              <a:off x="4676563" y="639973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0" name="任意多边形: 形状 10429">
              <a:extLst>
                <a:ext uri="{FF2B5EF4-FFF2-40B4-BE49-F238E27FC236}">
                  <a16:creationId xmlns:a16="http://schemas.microsoft.com/office/drawing/2014/main" id="{FE152BF4-9D5E-41D0-A440-6F226258C5DC}"/>
                </a:ext>
              </a:extLst>
            </p:cNvPr>
            <p:cNvSpPr/>
            <p:nvPr/>
          </p:nvSpPr>
          <p:spPr>
            <a:xfrm>
              <a:off x="4679834" y="634145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1" name="任意多边形: 形状 10430">
              <a:extLst>
                <a:ext uri="{FF2B5EF4-FFF2-40B4-BE49-F238E27FC236}">
                  <a16:creationId xmlns:a16="http://schemas.microsoft.com/office/drawing/2014/main" id="{C47006DD-2A41-4802-9AD9-3F674EB80ADE}"/>
                </a:ext>
              </a:extLst>
            </p:cNvPr>
            <p:cNvSpPr/>
            <p:nvPr/>
          </p:nvSpPr>
          <p:spPr>
            <a:xfrm>
              <a:off x="4677653" y="633095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2" name="任意多边形: 形状 10431">
              <a:extLst>
                <a:ext uri="{FF2B5EF4-FFF2-40B4-BE49-F238E27FC236}">
                  <a16:creationId xmlns:a16="http://schemas.microsoft.com/office/drawing/2014/main" id="{E80A2F25-1A25-4010-8991-A89E33D5AC4C}"/>
                </a:ext>
              </a:extLst>
            </p:cNvPr>
            <p:cNvSpPr/>
            <p:nvPr/>
          </p:nvSpPr>
          <p:spPr>
            <a:xfrm>
              <a:off x="4679834" y="6270314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3" name="任意多边形: 形状 10432">
              <a:extLst>
                <a:ext uri="{FF2B5EF4-FFF2-40B4-BE49-F238E27FC236}">
                  <a16:creationId xmlns:a16="http://schemas.microsoft.com/office/drawing/2014/main" id="{4A4E9FD4-8E35-4514-9519-3EA9A9FA768A}"/>
                </a:ext>
              </a:extLst>
            </p:cNvPr>
            <p:cNvSpPr/>
            <p:nvPr/>
          </p:nvSpPr>
          <p:spPr>
            <a:xfrm>
              <a:off x="4678586" y="626205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4" name="任意多边形: 形状 10433">
              <a:extLst>
                <a:ext uri="{FF2B5EF4-FFF2-40B4-BE49-F238E27FC236}">
                  <a16:creationId xmlns:a16="http://schemas.microsoft.com/office/drawing/2014/main" id="{7293025D-84E8-4CF2-929F-1D5F2062E195}"/>
                </a:ext>
              </a:extLst>
            </p:cNvPr>
            <p:cNvSpPr/>
            <p:nvPr/>
          </p:nvSpPr>
          <p:spPr>
            <a:xfrm>
              <a:off x="4679834" y="6202266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5" name="任意多边形: 形状 10434">
              <a:extLst>
                <a:ext uri="{FF2B5EF4-FFF2-40B4-BE49-F238E27FC236}">
                  <a16:creationId xmlns:a16="http://schemas.microsoft.com/office/drawing/2014/main" id="{49F5D6D7-7E2F-46DD-BFB9-531B02490D33}"/>
                </a:ext>
              </a:extLst>
            </p:cNvPr>
            <p:cNvSpPr/>
            <p:nvPr/>
          </p:nvSpPr>
          <p:spPr>
            <a:xfrm>
              <a:off x="4676510" y="6192559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6" name="任意多边形: 形状 10435">
              <a:extLst>
                <a:ext uri="{FF2B5EF4-FFF2-40B4-BE49-F238E27FC236}">
                  <a16:creationId xmlns:a16="http://schemas.microsoft.com/office/drawing/2014/main" id="{EC19A499-4AE2-49AD-9928-52031B92AB88}"/>
                </a:ext>
              </a:extLst>
            </p:cNvPr>
            <p:cNvSpPr/>
            <p:nvPr/>
          </p:nvSpPr>
          <p:spPr>
            <a:xfrm>
              <a:off x="4679834" y="613421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7" name="任意多边形: 形状 10436">
              <a:extLst>
                <a:ext uri="{FF2B5EF4-FFF2-40B4-BE49-F238E27FC236}">
                  <a16:creationId xmlns:a16="http://schemas.microsoft.com/office/drawing/2014/main" id="{7BB82A83-1AE6-4974-9128-D01DB06C839C}"/>
                </a:ext>
              </a:extLst>
            </p:cNvPr>
            <p:cNvSpPr/>
            <p:nvPr/>
          </p:nvSpPr>
          <p:spPr>
            <a:xfrm>
              <a:off x="4677542" y="6123717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8" name="任意多边形: 形状 10437">
              <a:extLst>
                <a:ext uri="{FF2B5EF4-FFF2-40B4-BE49-F238E27FC236}">
                  <a16:creationId xmlns:a16="http://schemas.microsoft.com/office/drawing/2014/main" id="{192D0209-3596-43B8-951A-B9259C7D2AF7}"/>
                </a:ext>
              </a:extLst>
            </p:cNvPr>
            <p:cNvSpPr/>
            <p:nvPr/>
          </p:nvSpPr>
          <p:spPr>
            <a:xfrm>
              <a:off x="4679834" y="606307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39" name="任意多边形: 形状 10438">
              <a:extLst>
                <a:ext uri="{FF2B5EF4-FFF2-40B4-BE49-F238E27FC236}">
                  <a16:creationId xmlns:a16="http://schemas.microsoft.com/office/drawing/2014/main" id="{5A0EAE27-20AB-4C75-B7F0-C2FC599C4456}"/>
                </a:ext>
              </a:extLst>
            </p:cNvPr>
            <p:cNvSpPr/>
            <p:nvPr/>
          </p:nvSpPr>
          <p:spPr>
            <a:xfrm>
              <a:off x="4678534" y="6054845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0" name="任意多边形: 形状 10439">
              <a:extLst>
                <a:ext uri="{FF2B5EF4-FFF2-40B4-BE49-F238E27FC236}">
                  <a16:creationId xmlns:a16="http://schemas.microsoft.com/office/drawing/2014/main" id="{F4C0CA8C-2152-4A46-8E69-3BFB0256CFB2}"/>
                </a:ext>
              </a:extLst>
            </p:cNvPr>
            <p:cNvSpPr/>
            <p:nvPr/>
          </p:nvSpPr>
          <p:spPr>
            <a:xfrm>
              <a:off x="4679834" y="5995030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1" name="任意多边形: 形状 10440">
              <a:extLst>
                <a:ext uri="{FF2B5EF4-FFF2-40B4-BE49-F238E27FC236}">
                  <a16:creationId xmlns:a16="http://schemas.microsoft.com/office/drawing/2014/main" id="{2F23221C-025C-4319-8A44-F652A48B1BB9}"/>
                </a:ext>
              </a:extLst>
            </p:cNvPr>
            <p:cNvSpPr/>
            <p:nvPr/>
          </p:nvSpPr>
          <p:spPr>
            <a:xfrm>
              <a:off x="4676458" y="598535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2" name="任意多边形: 形状 10441">
              <a:extLst>
                <a:ext uri="{FF2B5EF4-FFF2-40B4-BE49-F238E27FC236}">
                  <a16:creationId xmlns:a16="http://schemas.microsoft.com/office/drawing/2014/main" id="{3EC54938-0951-4620-B6DA-5FBA478F87BF}"/>
                </a:ext>
              </a:extLst>
            </p:cNvPr>
            <p:cNvSpPr/>
            <p:nvPr/>
          </p:nvSpPr>
          <p:spPr>
            <a:xfrm>
              <a:off x="4679834" y="5926982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3" name="任意多边形: 形状 10442">
              <a:extLst>
                <a:ext uri="{FF2B5EF4-FFF2-40B4-BE49-F238E27FC236}">
                  <a16:creationId xmlns:a16="http://schemas.microsoft.com/office/drawing/2014/main" id="{89CDB803-D168-45BE-8032-F4D8120F4F9F}"/>
                </a:ext>
              </a:extLst>
            </p:cNvPr>
            <p:cNvSpPr/>
            <p:nvPr/>
          </p:nvSpPr>
          <p:spPr>
            <a:xfrm>
              <a:off x="4677490" y="591651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4" name="任意多边形: 形状 10443">
              <a:extLst>
                <a:ext uri="{FF2B5EF4-FFF2-40B4-BE49-F238E27FC236}">
                  <a16:creationId xmlns:a16="http://schemas.microsoft.com/office/drawing/2014/main" id="{35B1BB9F-DFB4-41B0-B001-81E79A9582AF}"/>
                </a:ext>
              </a:extLst>
            </p:cNvPr>
            <p:cNvSpPr/>
            <p:nvPr/>
          </p:nvSpPr>
          <p:spPr>
            <a:xfrm>
              <a:off x="4679834" y="5855841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5" name="任意多边形: 形状 10444">
              <a:extLst>
                <a:ext uri="{FF2B5EF4-FFF2-40B4-BE49-F238E27FC236}">
                  <a16:creationId xmlns:a16="http://schemas.microsoft.com/office/drawing/2014/main" id="{B1AD90C7-CFE8-4EB2-B6A9-BC41DCBAAC98}"/>
                </a:ext>
              </a:extLst>
            </p:cNvPr>
            <p:cNvSpPr/>
            <p:nvPr/>
          </p:nvSpPr>
          <p:spPr>
            <a:xfrm>
              <a:off x="4678481" y="5847639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6" name="任意多边形: 形状 10445">
              <a:extLst>
                <a:ext uri="{FF2B5EF4-FFF2-40B4-BE49-F238E27FC236}">
                  <a16:creationId xmlns:a16="http://schemas.microsoft.com/office/drawing/2014/main" id="{D675BF92-5BCD-467A-9F26-27ADC1CD46EC}"/>
                </a:ext>
              </a:extLst>
            </p:cNvPr>
            <p:cNvSpPr/>
            <p:nvPr/>
          </p:nvSpPr>
          <p:spPr>
            <a:xfrm>
              <a:off x="4679834" y="5787793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7" name="任意多边形: 形状 10446">
              <a:extLst>
                <a:ext uri="{FF2B5EF4-FFF2-40B4-BE49-F238E27FC236}">
                  <a16:creationId xmlns:a16="http://schemas.microsoft.com/office/drawing/2014/main" id="{9BEE7D86-9D1A-45E1-8B21-B07AEC154D24}"/>
                </a:ext>
              </a:extLst>
            </p:cNvPr>
            <p:cNvSpPr/>
            <p:nvPr/>
          </p:nvSpPr>
          <p:spPr>
            <a:xfrm>
              <a:off x="4676409" y="577817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8" name="任意多边形: 形状 10447">
              <a:extLst>
                <a:ext uri="{FF2B5EF4-FFF2-40B4-BE49-F238E27FC236}">
                  <a16:creationId xmlns:a16="http://schemas.microsoft.com/office/drawing/2014/main" id="{216A8171-D561-404B-9776-1B976E4DC027}"/>
                </a:ext>
              </a:extLst>
            </p:cNvPr>
            <p:cNvSpPr/>
            <p:nvPr/>
          </p:nvSpPr>
          <p:spPr>
            <a:xfrm>
              <a:off x="4679834" y="571974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49" name="任意多边形: 形状 10448">
              <a:extLst>
                <a:ext uri="{FF2B5EF4-FFF2-40B4-BE49-F238E27FC236}">
                  <a16:creationId xmlns:a16="http://schemas.microsoft.com/office/drawing/2014/main" id="{43039B93-41E6-45C3-8326-8B4777546CEC}"/>
                </a:ext>
              </a:extLst>
            </p:cNvPr>
            <p:cNvSpPr/>
            <p:nvPr/>
          </p:nvSpPr>
          <p:spPr>
            <a:xfrm>
              <a:off x="4677438" y="5709336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0" name="任意多边形: 形状 10449">
              <a:extLst>
                <a:ext uri="{FF2B5EF4-FFF2-40B4-BE49-F238E27FC236}">
                  <a16:creationId xmlns:a16="http://schemas.microsoft.com/office/drawing/2014/main" id="{805A4C27-6768-448F-BB2B-0F09A93A6D6E}"/>
                </a:ext>
              </a:extLst>
            </p:cNvPr>
            <p:cNvSpPr/>
            <p:nvPr/>
          </p:nvSpPr>
          <p:spPr>
            <a:xfrm>
              <a:off x="4679834" y="564860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1" name="任意多边形: 形状 10450">
              <a:extLst>
                <a:ext uri="{FF2B5EF4-FFF2-40B4-BE49-F238E27FC236}">
                  <a16:creationId xmlns:a16="http://schemas.microsoft.com/office/drawing/2014/main" id="{FB8CFB77-4838-4744-B2E7-D37BAFEBC961}"/>
                </a:ext>
              </a:extLst>
            </p:cNvPr>
            <p:cNvSpPr/>
            <p:nvPr/>
          </p:nvSpPr>
          <p:spPr>
            <a:xfrm>
              <a:off x="4678429" y="564046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2" name="任意多边形: 形状 10451">
              <a:extLst>
                <a:ext uri="{FF2B5EF4-FFF2-40B4-BE49-F238E27FC236}">
                  <a16:creationId xmlns:a16="http://schemas.microsoft.com/office/drawing/2014/main" id="{FC3A0835-C172-49FA-84E4-F793D33734B3}"/>
                </a:ext>
              </a:extLst>
            </p:cNvPr>
            <p:cNvSpPr/>
            <p:nvPr/>
          </p:nvSpPr>
          <p:spPr>
            <a:xfrm>
              <a:off x="4679834" y="5580557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3" name="任意多边形: 形状 10452">
              <a:extLst>
                <a:ext uri="{FF2B5EF4-FFF2-40B4-BE49-F238E27FC236}">
                  <a16:creationId xmlns:a16="http://schemas.microsoft.com/office/drawing/2014/main" id="{266EE5FF-1FC3-4D45-BAA6-E7EBE2748D16}"/>
                </a:ext>
              </a:extLst>
            </p:cNvPr>
            <p:cNvSpPr/>
            <p:nvPr/>
          </p:nvSpPr>
          <p:spPr>
            <a:xfrm>
              <a:off x="4676425" y="557103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4" name="任意多边形: 形状 10453">
              <a:extLst>
                <a:ext uri="{FF2B5EF4-FFF2-40B4-BE49-F238E27FC236}">
                  <a16:creationId xmlns:a16="http://schemas.microsoft.com/office/drawing/2014/main" id="{05BAFEF2-FB20-4745-B856-38189184E91A}"/>
                </a:ext>
              </a:extLst>
            </p:cNvPr>
            <p:cNvSpPr/>
            <p:nvPr/>
          </p:nvSpPr>
          <p:spPr>
            <a:xfrm>
              <a:off x="4679834" y="5512509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5" name="任意多边形: 形状 10454">
              <a:extLst>
                <a:ext uri="{FF2B5EF4-FFF2-40B4-BE49-F238E27FC236}">
                  <a16:creationId xmlns:a16="http://schemas.microsoft.com/office/drawing/2014/main" id="{7283826C-7347-4ADB-A0CB-D766432ADC5D}"/>
                </a:ext>
              </a:extLst>
            </p:cNvPr>
            <p:cNvSpPr/>
            <p:nvPr/>
          </p:nvSpPr>
          <p:spPr>
            <a:xfrm>
              <a:off x="4677385" y="5502130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6" name="任意多边形: 形状 10455">
              <a:extLst>
                <a:ext uri="{FF2B5EF4-FFF2-40B4-BE49-F238E27FC236}">
                  <a16:creationId xmlns:a16="http://schemas.microsoft.com/office/drawing/2014/main" id="{16CD30A9-70C6-4241-8CE0-83098253A91A}"/>
                </a:ext>
              </a:extLst>
            </p:cNvPr>
            <p:cNvSpPr/>
            <p:nvPr/>
          </p:nvSpPr>
          <p:spPr>
            <a:xfrm>
              <a:off x="4679834" y="544136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7" name="任意多边形: 形状 10456">
              <a:extLst>
                <a:ext uri="{FF2B5EF4-FFF2-40B4-BE49-F238E27FC236}">
                  <a16:creationId xmlns:a16="http://schemas.microsoft.com/office/drawing/2014/main" id="{F6756514-9BF4-4780-BBA2-05BEA21AFEC0}"/>
                </a:ext>
              </a:extLst>
            </p:cNvPr>
            <p:cNvSpPr/>
            <p:nvPr/>
          </p:nvSpPr>
          <p:spPr>
            <a:xfrm>
              <a:off x="4678380" y="543325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8" name="任意多边形: 形状 10457">
              <a:extLst>
                <a:ext uri="{FF2B5EF4-FFF2-40B4-BE49-F238E27FC236}">
                  <a16:creationId xmlns:a16="http://schemas.microsoft.com/office/drawing/2014/main" id="{F8594864-337A-4701-81D4-B00B56A23A38}"/>
                </a:ext>
              </a:extLst>
            </p:cNvPr>
            <p:cNvSpPr/>
            <p:nvPr/>
          </p:nvSpPr>
          <p:spPr>
            <a:xfrm>
              <a:off x="4679834" y="5373320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59" name="任意多边形: 形状 10458">
              <a:extLst>
                <a:ext uri="{FF2B5EF4-FFF2-40B4-BE49-F238E27FC236}">
                  <a16:creationId xmlns:a16="http://schemas.microsoft.com/office/drawing/2014/main" id="{FEEA66C9-0993-42FD-B4B5-8150E71D6620}"/>
                </a:ext>
              </a:extLst>
            </p:cNvPr>
            <p:cNvSpPr/>
            <p:nvPr/>
          </p:nvSpPr>
          <p:spPr>
            <a:xfrm>
              <a:off x="4676310" y="5363797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0" name="任意多边形: 形状 10459">
              <a:extLst>
                <a:ext uri="{FF2B5EF4-FFF2-40B4-BE49-F238E27FC236}">
                  <a16:creationId xmlns:a16="http://schemas.microsoft.com/office/drawing/2014/main" id="{B9BE3BDF-9B16-474E-A6E2-6386F13B1A40}"/>
                </a:ext>
              </a:extLst>
            </p:cNvPr>
            <p:cNvSpPr/>
            <p:nvPr/>
          </p:nvSpPr>
          <p:spPr>
            <a:xfrm>
              <a:off x="4679834" y="5305272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1" name="任意多边形: 形状 10460">
              <a:extLst>
                <a:ext uri="{FF2B5EF4-FFF2-40B4-BE49-F238E27FC236}">
                  <a16:creationId xmlns:a16="http://schemas.microsoft.com/office/drawing/2014/main" id="{F5BE15FD-D69B-4E09-AFF5-61967735FBC9}"/>
                </a:ext>
              </a:extLst>
            </p:cNvPr>
            <p:cNvSpPr/>
            <p:nvPr/>
          </p:nvSpPr>
          <p:spPr>
            <a:xfrm>
              <a:off x="4677336" y="529492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2" name="任意多边形: 形状 10461">
              <a:extLst>
                <a:ext uri="{FF2B5EF4-FFF2-40B4-BE49-F238E27FC236}">
                  <a16:creationId xmlns:a16="http://schemas.microsoft.com/office/drawing/2014/main" id="{BE848671-059F-40AC-A672-77A65C223593}"/>
                </a:ext>
              </a:extLst>
            </p:cNvPr>
            <p:cNvSpPr/>
            <p:nvPr/>
          </p:nvSpPr>
          <p:spPr>
            <a:xfrm>
              <a:off x="4679834" y="5234131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3" name="任意多边形: 形状 10462">
              <a:extLst>
                <a:ext uri="{FF2B5EF4-FFF2-40B4-BE49-F238E27FC236}">
                  <a16:creationId xmlns:a16="http://schemas.microsoft.com/office/drawing/2014/main" id="{FA3A9D6E-8A8A-440D-BF2D-330E0BBAE3E3}"/>
                </a:ext>
              </a:extLst>
            </p:cNvPr>
            <p:cNvSpPr/>
            <p:nvPr/>
          </p:nvSpPr>
          <p:spPr>
            <a:xfrm>
              <a:off x="4678328" y="522608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4" name="任意多边形: 形状 10463">
              <a:extLst>
                <a:ext uri="{FF2B5EF4-FFF2-40B4-BE49-F238E27FC236}">
                  <a16:creationId xmlns:a16="http://schemas.microsoft.com/office/drawing/2014/main" id="{395776C3-D98F-49E0-8951-03ADC18F6547}"/>
                </a:ext>
              </a:extLst>
            </p:cNvPr>
            <p:cNvSpPr/>
            <p:nvPr/>
          </p:nvSpPr>
          <p:spPr>
            <a:xfrm>
              <a:off x="4679834" y="5166084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5" name="任意多边形: 形状 10464">
              <a:extLst>
                <a:ext uri="{FF2B5EF4-FFF2-40B4-BE49-F238E27FC236}">
                  <a16:creationId xmlns:a16="http://schemas.microsoft.com/office/drawing/2014/main" id="{75D08878-A94F-4385-A82D-32880E4C89B0}"/>
                </a:ext>
              </a:extLst>
            </p:cNvPr>
            <p:cNvSpPr/>
            <p:nvPr/>
          </p:nvSpPr>
          <p:spPr>
            <a:xfrm>
              <a:off x="4676258" y="515659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6" name="任意多边形: 形状 10465">
              <a:extLst>
                <a:ext uri="{FF2B5EF4-FFF2-40B4-BE49-F238E27FC236}">
                  <a16:creationId xmlns:a16="http://schemas.microsoft.com/office/drawing/2014/main" id="{8BEE1463-F853-44E8-8C56-ABAC60FEAA0C}"/>
                </a:ext>
              </a:extLst>
            </p:cNvPr>
            <p:cNvSpPr/>
            <p:nvPr/>
          </p:nvSpPr>
          <p:spPr>
            <a:xfrm>
              <a:off x="4679834" y="5098036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7" name="任意多边形: 形状 10466">
              <a:extLst>
                <a:ext uri="{FF2B5EF4-FFF2-40B4-BE49-F238E27FC236}">
                  <a16:creationId xmlns:a16="http://schemas.microsoft.com/office/drawing/2014/main" id="{9AC5CA1E-1212-4EEB-A85E-D2B5C2DC3129}"/>
                </a:ext>
              </a:extLst>
            </p:cNvPr>
            <p:cNvSpPr/>
            <p:nvPr/>
          </p:nvSpPr>
          <p:spPr>
            <a:xfrm>
              <a:off x="4677284" y="5087749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8" name="任意多边形: 形状 10467">
              <a:extLst>
                <a:ext uri="{FF2B5EF4-FFF2-40B4-BE49-F238E27FC236}">
                  <a16:creationId xmlns:a16="http://schemas.microsoft.com/office/drawing/2014/main" id="{F771003D-1CC8-4F3F-92E8-D3977B0F0736}"/>
                </a:ext>
              </a:extLst>
            </p:cNvPr>
            <p:cNvSpPr/>
            <p:nvPr/>
          </p:nvSpPr>
          <p:spPr>
            <a:xfrm>
              <a:off x="4679834" y="502689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69" name="任意多边形: 形状 10468">
              <a:extLst>
                <a:ext uri="{FF2B5EF4-FFF2-40B4-BE49-F238E27FC236}">
                  <a16:creationId xmlns:a16="http://schemas.microsoft.com/office/drawing/2014/main" id="{14D1F81C-26C7-4F38-B0A0-95043C8258A2}"/>
                </a:ext>
              </a:extLst>
            </p:cNvPr>
            <p:cNvSpPr/>
            <p:nvPr/>
          </p:nvSpPr>
          <p:spPr>
            <a:xfrm>
              <a:off x="4678279" y="5018877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0" name="任意多边形: 形状 10469">
              <a:extLst>
                <a:ext uri="{FF2B5EF4-FFF2-40B4-BE49-F238E27FC236}">
                  <a16:creationId xmlns:a16="http://schemas.microsoft.com/office/drawing/2014/main" id="{5ED996A3-AE2D-4612-88DF-1CE8706B8385}"/>
                </a:ext>
              </a:extLst>
            </p:cNvPr>
            <p:cNvSpPr/>
            <p:nvPr/>
          </p:nvSpPr>
          <p:spPr>
            <a:xfrm>
              <a:off x="4679834" y="4958847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1" name="任意多边形: 形状 10470">
              <a:extLst>
                <a:ext uri="{FF2B5EF4-FFF2-40B4-BE49-F238E27FC236}">
                  <a16:creationId xmlns:a16="http://schemas.microsoft.com/office/drawing/2014/main" id="{29860774-E319-4D22-8B53-E5A649924F9A}"/>
                </a:ext>
              </a:extLst>
            </p:cNvPr>
            <p:cNvSpPr/>
            <p:nvPr/>
          </p:nvSpPr>
          <p:spPr>
            <a:xfrm>
              <a:off x="4679276" y="495000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2" name="任意多边形: 形状 10471">
              <a:extLst>
                <a:ext uri="{FF2B5EF4-FFF2-40B4-BE49-F238E27FC236}">
                  <a16:creationId xmlns:a16="http://schemas.microsoft.com/office/drawing/2014/main" id="{3F1309AD-EEC0-4758-9EA3-66DC147DF508}"/>
                </a:ext>
              </a:extLst>
            </p:cNvPr>
            <p:cNvSpPr/>
            <p:nvPr/>
          </p:nvSpPr>
          <p:spPr>
            <a:xfrm>
              <a:off x="4679834" y="4890799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3" name="任意多边形: 形状 10472">
              <a:extLst>
                <a:ext uri="{FF2B5EF4-FFF2-40B4-BE49-F238E27FC236}">
                  <a16:creationId xmlns:a16="http://schemas.microsoft.com/office/drawing/2014/main" id="{ACC2C9E2-1840-4289-8A20-E654BD1CB88F}"/>
                </a:ext>
              </a:extLst>
            </p:cNvPr>
            <p:cNvSpPr/>
            <p:nvPr/>
          </p:nvSpPr>
          <p:spPr>
            <a:xfrm>
              <a:off x="4677232" y="488054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4" name="任意多边形: 形状 10473">
              <a:extLst>
                <a:ext uri="{FF2B5EF4-FFF2-40B4-BE49-F238E27FC236}">
                  <a16:creationId xmlns:a16="http://schemas.microsoft.com/office/drawing/2014/main" id="{740B9426-AE29-4E25-B44F-415F39ADAC2E}"/>
                </a:ext>
              </a:extLst>
            </p:cNvPr>
            <p:cNvSpPr/>
            <p:nvPr/>
          </p:nvSpPr>
          <p:spPr>
            <a:xfrm>
              <a:off x="4679834" y="481965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5" name="任意多边形: 形状 10474">
              <a:extLst>
                <a:ext uri="{FF2B5EF4-FFF2-40B4-BE49-F238E27FC236}">
                  <a16:creationId xmlns:a16="http://schemas.microsoft.com/office/drawing/2014/main" id="{749E4D70-C0DD-40B6-B070-3DB0BB080252}"/>
                </a:ext>
              </a:extLst>
            </p:cNvPr>
            <p:cNvSpPr/>
            <p:nvPr/>
          </p:nvSpPr>
          <p:spPr>
            <a:xfrm>
              <a:off x="4678198" y="481167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6" name="任意多边形: 形状 10475">
              <a:extLst>
                <a:ext uri="{FF2B5EF4-FFF2-40B4-BE49-F238E27FC236}">
                  <a16:creationId xmlns:a16="http://schemas.microsoft.com/office/drawing/2014/main" id="{2DD0AD99-4A6E-4564-B194-00AC739CDCAE}"/>
                </a:ext>
              </a:extLst>
            </p:cNvPr>
            <p:cNvSpPr/>
            <p:nvPr/>
          </p:nvSpPr>
          <p:spPr>
            <a:xfrm>
              <a:off x="4679834" y="4751610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7" name="任意多边形: 形状 10476">
              <a:extLst>
                <a:ext uri="{FF2B5EF4-FFF2-40B4-BE49-F238E27FC236}">
                  <a16:creationId xmlns:a16="http://schemas.microsoft.com/office/drawing/2014/main" id="{9EE29C8D-093A-4B37-8599-25B73045149A}"/>
                </a:ext>
              </a:extLst>
            </p:cNvPr>
            <p:cNvSpPr/>
            <p:nvPr/>
          </p:nvSpPr>
          <p:spPr>
            <a:xfrm>
              <a:off x="4679224" y="474279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8" name="任意多边形: 形状 10477">
              <a:extLst>
                <a:ext uri="{FF2B5EF4-FFF2-40B4-BE49-F238E27FC236}">
                  <a16:creationId xmlns:a16="http://schemas.microsoft.com/office/drawing/2014/main" id="{38092944-4451-4376-A5F0-40BEDA73259C}"/>
                </a:ext>
              </a:extLst>
            </p:cNvPr>
            <p:cNvSpPr/>
            <p:nvPr/>
          </p:nvSpPr>
          <p:spPr>
            <a:xfrm>
              <a:off x="4679834" y="4683563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79" name="任意多边形: 形状 10478">
              <a:extLst>
                <a:ext uri="{FF2B5EF4-FFF2-40B4-BE49-F238E27FC236}">
                  <a16:creationId xmlns:a16="http://schemas.microsoft.com/office/drawing/2014/main" id="{A009573B-7CEF-4C95-85D1-ADD14516950A}"/>
                </a:ext>
              </a:extLst>
            </p:cNvPr>
            <p:cNvSpPr/>
            <p:nvPr/>
          </p:nvSpPr>
          <p:spPr>
            <a:xfrm>
              <a:off x="4677179" y="467336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0" name="任意多边形: 形状 10479">
              <a:extLst>
                <a:ext uri="{FF2B5EF4-FFF2-40B4-BE49-F238E27FC236}">
                  <a16:creationId xmlns:a16="http://schemas.microsoft.com/office/drawing/2014/main" id="{F0AC6CEC-867E-4291-9D79-BF0DF36A9F76}"/>
                </a:ext>
              </a:extLst>
            </p:cNvPr>
            <p:cNvSpPr/>
            <p:nvPr/>
          </p:nvSpPr>
          <p:spPr>
            <a:xfrm>
              <a:off x="4679834" y="4612422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1" name="任意多边形: 形状 10480">
              <a:extLst>
                <a:ext uri="{FF2B5EF4-FFF2-40B4-BE49-F238E27FC236}">
                  <a16:creationId xmlns:a16="http://schemas.microsoft.com/office/drawing/2014/main" id="{2E7364B5-B712-406C-B1E1-2EEDC75757BF}"/>
                </a:ext>
              </a:extLst>
            </p:cNvPr>
            <p:cNvSpPr/>
            <p:nvPr/>
          </p:nvSpPr>
          <p:spPr>
            <a:xfrm>
              <a:off x="4678146" y="4604465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2" name="任意多边形: 形状 10481">
              <a:extLst>
                <a:ext uri="{FF2B5EF4-FFF2-40B4-BE49-F238E27FC236}">
                  <a16:creationId xmlns:a16="http://schemas.microsoft.com/office/drawing/2014/main" id="{C31D2262-982D-4D85-B0E0-53C46B29C432}"/>
                </a:ext>
              </a:extLst>
            </p:cNvPr>
            <p:cNvSpPr/>
            <p:nvPr/>
          </p:nvSpPr>
          <p:spPr>
            <a:xfrm>
              <a:off x="4679834" y="4544374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3" name="任意多边形: 形状 10482">
              <a:extLst>
                <a:ext uri="{FF2B5EF4-FFF2-40B4-BE49-F238E27FC236}">
                  <a16:creationId xmlns:a16="http://schemas.microsoft.com/office/drawing/2014/main" id="{5D3AC1FD-47B9-4D45-9C4C-9AE7D7087BD5}"/>
                </a:ext>
              </a:extLst>
            </p:cNvPr>
            <p:cNvSpPr/>
            <p:nvPr/>
          </p:nvSpPr>
          <p:spPr>
            <a:xfrm>
              <a:off x="4679175" y="453562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4" name="任意多边形: 形状 10483">
              <a:extLst>
                <a:ext uri="{FF2B5EF4-FFF2-40B4-BE49-F238E27FC236}">
                  <a16:creationId xmlns:a16="http://schemas.microsoft.com/office/drawing/2014/main" id="{AECAF0F5-85A2-444C-AC41-BB4EB976E369}"/>
                </a:ext>
              </a:extLst>
            </p:cNvPr>
            <p:cNvSpPr/>
            <p:nvPr/>
          </p:nvSpPr>
          <p:spPr>
            <a:xfrm>
              <a:off x="4679834" y="4476326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5" name="任意多边形: 形状 10484">
              <a:extLst>
                <a:ext uri="{FF2B5EF4-FFF2-40B4-BE49-F238E27FC236}">
                  <a16:creationId xmlns:a16="http://schemas.microsoft.com/office/drawing/2014/main" id="{90342197-B94A-487B-8139-6AEA9A168EA4}"/>
                </a:ext>
              </a:extLst>
            </p:cNvPr>
            <p:cNvSpPr/>
            <p:nvPr/>
          </p:nvSpPr>
          <p:spPr>
            <a:xfrm>
              <a:off x="4676786" y="446611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18 w 371170"/>
                <a:gd name="connsiteY1" fmla="*/ 0 h 92792"/>
                <a:gd name="connsiteX2" fmla="*/ 398861 w 371170"/>
                <a:gd name="connsiteY2" fmla="*/ 76480 h 92792"/>
                <a:gd name="connsiteX3" fmla="*/ 394742 w 371170"/>
                <a:gd name="connsiteY3" fmla="*/ 977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18" y="0"/>
                  </a:lnTo>
                  <a:lnTo>
                    <a:pt x="398861" y="76480"/>
                  </a:lnTo>
                  <a:lnTo>
                    <a:pt x="394742" y="9773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6" name="任意多边形: 形状 10485">
              <a:extLst>
                <a:ext uri="{FF2B5EF4-FFF2-40B4-BE49-F238E27FC236}">
                  <a16:creationId xmlns:a16="http://schemas.microsoft.com/office/drawing/2014/main" id="{EAB74576-07AA-45CF-AEFA-BA3B2EC58B75}"/>
                </a:ext>
              </a:extLst>
            </p:cNvPr>
            <p:cNvSpPr/>
            <p:nvPr/>
          </p:nvSpPr>
          <p:spPr>
            <a:xfrm>
              <a:off x="4679834" y="440518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7" name="任意多边形: 形状 10486">
              <a:extLst>
                <a:ext uri="{FF2B5EF4-FFF2-40B4-BE49-F238E27FC236}">
                  <a16:creationId xmlns:a16="http://schemas.microsoft.com/office/drawing/2014/main" id="{6B103DC8-2C19-4A5D-9F77-DDAD772EC125}"/>
                </a:ext>
              </a:extLst>
            </p:cNvPr>
            <p:cNvSpPr/>
            <p:nvPr/>
          </p:nvSpPr>
          <p:spPr>
            <a:xfrm>
              <a:off x="4678168" y="4397290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8" name="任意多边形: 形状 10487">
              <a:extLst>
                <a:ext uri="{FF2B5EF4-FFF2-40B4-BE49-F238E27FC236}">
                  <a16:creationId xmlns:a16="http://schemas.microsoft.com/office/drawing/2014/main" id="{5DBFB39F-898D-42B5-9CFC-6C166BD325A3}"/>
                </a:ext>
              </a:extLst>
            </p:cNvPr>
            <p:cNvSpPr/>
            <p:nvPr/>
          </p:nvSpPr>
          <p:spPr>
            <a:xfrm>
              <a:off x="5038632" y="4408278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89" name="任意多边形: 形状 10488">
              <a:extLst>
                <a:ext uri="{FF2B5EF4-FFF2-40B4-BE49-F238E27FC236}">
                  <a16:creationId xmlns:a16="http://schemas.microsoft.com/office/drawing/2014/main" id="{4386A5A9-3564-4E0B-B5DB-B0596D9352D7}"/>
                </a:ext>
              </a:extLst>
            </p:cNvPr>
            <p:cNvSpPr/>
            <p:nvPr/>
          </p:nvSpPr>
          <p:spPr>
            <a:xfrm>
              <a:off x="5026259" y="4408278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0" name="任意多边形: 形状 10489">
              <a:extLst>
                <a:ext uri="{FF2B5EF4-FFF2-40B4-BE49-F238E27FC236}">
                  <a16:creationId xmlns:a16="http://schemas.microsoft.com/office/drawing/2014/main" id="{F10B9400-83F7-4A03-86D5-E2EEDC46CB62}"/>
                </a:ext>
              </a:extLst>
            </p:cNvPr>
            <p:cNvSpPr/>
            <p:nvPr/>
          </p:nvSpPr>
          <p:spPr>
            <a:xfrm>
              <a:off x="5001515" y="439899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1" name="任意多边形: 形状 10490">
              <a:extLst>
                <a:ext uri="{FF2B5EF4-FFF2-40B4-BE49-F238E27FC236}">
                  <a16:creationId xmlns:a16="http://schemas.microsoft.com/office/drawing/2014/main" id="{34A75BA7-FE6A-49BA-BEBD-4A0132EEE22B}"/>
                </a:ext>
              </a:extLst>
            </p:cNvPr>
            <p:cNvSpPr/>
            <p:nvPr/>
          </p:nvSpPr>
          <p:spPr>
            <a:xfrm>
              <a:off x="4992236" y="439899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2" name="任意多边形: 形状 10491">
              <a:extLst>
                <a:ext uri="{FF2B5EF4-FFF2-40B4-BE49-F238E27FC236}">
                  <a16:creationId xmlns:a16="http://schemas.microsoft.com/office/drawing/2014/main" id="{B47CDE60-6F3B-4778-87F7-F7DA560B5BD8}"/>
                </a:ext>
              </a:extLst>
            </p:cNvPr>
            <p:cNvSpPr/>
            <p:nvPr/>
          </p:nvSpPr>
          <p:spPr>
            <a:xfrm>
              <a:off x="4967491" y="439281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3" name="任意多边形: 形状 10492">
              <a:extLst>
                <a:ext uri="{FF2B5EF4-FFF2-40B4-BE49-F238E27FC236}">
                  <a16:creationId xmlns:a16="http://schemas.microsoft.com/office/drawing/2014/main" id="{BB5A4C18-D18F-400B-9D84-15D233A4F7B2}"/>
                </a:ext>
              </a:extLst>
            </p:cNvPr>
            <p:cNvSpPr/>
            <p:nvPr/>
          </p:nvSpPr>
          <p:spPr>
            <a:xfrm>
              <a:off x="4955118" y="439281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4" name="任意多边形: 形状 10493">
              <a:extLst>
                <a:ext uri="{FF2B5EF4-FFF2-40B4-BE49-F238E27FC236}">
                  <a16:creationId xmlns:a16="http://schemas.microsoft.com/office/drawing/2014/main" id="{7404F13D-2AA2-4B06-B417-945F70B09703}"/>
                </a:ext>
              </a:extLst>
            </p:cNvPr>
            <p:cNvSpPr/>
            <p:nvPr/>
          </p:nvSpPr>
          <p:spPr>
            <a:xfrm>
              <a:off x="4930374" y="4386626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5" name="任意多边形: 形状 10494">
              <a:extLst>
                <a:ext uri="{FF2B5EF4-FFF2-40B4-BE49-F238E27FC236}">
                  <a16:creationId xmlns:a16="http://schemas.microsoft.com/office/drawing/2014/main" id="{B3267F16-8466-4374-B4C7-25AC429DC7D0}"/>
                </a:ext>
              </a:extLst>
            </p:cNvPr>
            <p:cNvSpPr/>
            <p:nvPr/>
          </p:nvSpPr>
          <p:spPr>
            <a:xfrm>
              <a:off x="4921095" y="438662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6" name="任意多边形: 形状 10495">
              <a:extLst>
                <a:ext uri="{FF2B5EF4-FFF2-40B4-BE49-F238E27FC236}">
                  <a16:creationId xmlns:a16="http://schemas.microsoft.com/office/drawing/2014/main" id="{886BBEA9-4153-4761-8B96-5224E6225D95}"/>
                </a:ext>
              </a:extLst>
            </p:cNvPr>
            <p:cNvSpPr/>
            <p:nvPr/>
          </p:nvSpPr>
          <p:spPr>
            <a:xfrm>
              <a:off x="4896350" y="4380440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7" name="任意多边形: 形状 10496">
              <a:extLst>
                <a:ext uri="{FF2B5EF4-FFF2-40B4-BE49-F238E27FC236}">
                  <a16:creationId xmlns:a16="http://schemas.microsoft.com/office/drawing/2014/main" id="{3B11E6B3-FFC4-42D6-8C00-2B3E92691668}"/>
                </a:ext>
              </a:extLst>
            </p:cNvPr>
            <p:cNvSpPr/>
            <p:nvPr/>
          </p:nvSpPr>
          <p:spPr>
            <a:xfrm>
              <a:off x="4883978" y="4380440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8" name="任意多边形: 形状 10497">
              <a:extLst>
                <a:ext uri="{FF2B5EF4-FFF2-40B4-BE49-F238E27FC236}">
                  <a16:creationId xmlns:a16="http://schemas.microsoft.com/office/drawing/2014/main" id="{5302C00D-CB80-49B1-9780-18B99472E26A}"/>
                </a:ext>
              </a:extLst>
            </p:cNvPr>
            <p:cNvSpPr/>
            <p:nvPr/>
          </p:nvSpPr>
          <p:spPr>
            <a:xfrm>
              <a:off x="4859233" y="4371161"/>
              <a:ext cx="30931" cy="2134227"/>
            </a:xfrm>
            <a:custGeom>
              <a:avLst/>
              <a:gdLst>
                <a:gd name="connsiteX0" fmla="*/ 0 w 0"/>
                <a:gd name="connsiteY0" fmla="*/ 2143507 h 2134227"/>
                <a:gd name="connsiteX1" fmla="*/ 0 w 0"/>
                <a:gd name="connsiteY1" fmla="*/ 0 h 2134227"/>
                <a:gd name="connsiteX2" fmla="*/ 0 w 0"/>
                <a:gd name="connsiteY2" fmla="*/ 2143507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2143507"/>
                  </a:moveTo>
                  <a:lnTo>
                    <a:pt x="0" y="0"/>
                  </a:lnTo>
                  <a:lnTo>
                    <a:pt x="0" y="2143507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99" name="任意多边形: 形状 10498">
              <a:extLst>
                <a:ext uri="{FF2B5EF4-FFF2-40B4-BE49-F238E27FC236}">
                  <a16:creationId xmlns:a16="http://schemas.microsoft.com/office/drawing/2014/main" id="{901CA22C-E322-42A5-A802-745A7C77D6F8}"/>
                </a:ext>
              </a:extLst>
            </p:cNvPr>
            <p:cNvSpPr/>
            <p:nvPr/>
          </p:nvSpPr>
          <p:spPr>
            <a:xfrm>
              <a:off x="4846861" y="4371161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0" name="任意多边形: 形状 10499">
              <a:extLst>
                <a:ext uri="{FF2B5EF4-FFF2-40B4-BE49-F238E27FC236}">
                  <a16:creationId xmlns:a16="http://schemas.microsoft.com/office/drawing/2014/main" id="{E728BD58-4D71-437B-83A8-349D46AB32F2}"/>
                </a:ext>
              </a:extLst>
            </p:cNvPr>
            <p:cNvSpPr/>
            <p:nvPr/>
          </p:nvSpPr>
          <p:spPr>
            <a:xfrm>
              <a:off x="4822116" y="4364975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1" name="任意多边形: 形状 10500">
              <a:extLst>
                <a:ext uri="{FF2B5EF4-FFF2-40B4-BE49-F238E27FC236}">
                  <a16:creationId xmlns:a16="http://schemas.microsoft.com/office/drawing/2014/main" id="{33681177-BC10-4E9B-AAC0-6D44F4C0571C}"/>
                </a:ext>
              </a:extLst>
            </p:cNvPr>
            <p:cNvSpPr/>
            <p:nvPr/>
          </p:nvSpPr>
          <p:spPr>
            <a:xfrm>
              <a:off x="4812837" y="4364975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2" name="任意多边形: 形状 10501">
              <a:extLst>
                <a:ext uri="{FF2B5EF4-FFF2-40B4-BE49-F238E27FC236}">
                  <a16:creationId xmlns:a16="http://schemas.microsoft.com/office/drawing/2014/main" id="{A757E72C-272E-4E18-979C-F2EE18E8E32D}"/>
                </a:ext>
              </a:extLst>
            </p:cNvPr>
            <p:cNvSpPr/>
            <p:nvPr/>
          </p:nvSpPr>
          <p:spPr>
            <a:xfrm>
              <a:off x="4788092" y="435878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3" name="任意多边形: 形状 10502">
              <a:extLst>
                <a:ext uri="{FF2B5EF4-FFF2-40B4-BE49-F238E27FC236}">
                  <a16:creationId xmlns:a16="http://schemas.microsoft.com/office/drawing/2014/main" id="{5A5FF42C-0703-4C37-B842-A42FBA65F63B}"/>
                </a:ext>
              </a:extLst>
            </p:cNvPr>
            <p:cNvSpPr/>
            <p:nvPr/>
          </p:nvSpPr>
          <p:spPr>
            <a:xfrm>
              <a:off x="4775720" y="435878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4" name="任意多边形: 形状 10503">
              <a:extLst>
                <a:ext uri="{FF2B5EF4-FFF2-40B4-BE49-F238E27FC236}">
                  <a16:creationId xmlns:a16="http://schemas.microsoft.com/office/drawing/2014/main" id="{4F40D992-817F-4AAF-98FC-977326470D2D}"/>
                </a:ext>
              </a:extLst>
            </p:cNvPr>
            <p:cNvSpPr/>
            <p:nvPr/>
          </p:nvSpPr>
          <p:spPr>
            <a:xfrm>
              <a:off x="4750975" y="435260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5" name="任意多边形: 形状 10504">
              <a:extLst>
                <a:ext uri="{FF2B5EF4-FFF2-40B4-BE49-F238E27FC236}">
                  <a16:creationId xmlns:a16="http://schemas.microsoft.com/office/drawing/2014/main" id="{E701B395-4C57-4A49-8050-FDCCA89762CF}"/>
                </a:ext>
              </a:extLst>
            </p:cNvPr>
            <p:cNvSpPr/>
            <p:nvPr/>
          </p:nvSpPr>
          <p:spPr>
            <a:xfrm>
              <a:off x="4741696" y="435260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6" name="任意多边形: 形状 10505">
              <a:extLst>
                <a:ext uri="{FF2B5EF4-FFF2-40B4-BE49-F238E27FC236}">
                  <a16:creationId xmlns:a16="http://schemas.microsoft.com/office/drawing/2014/main" id="{57690D79-8F16-4601-A0B4-69B75EA81A90}"/>
                </a:ext>
              </a:extLst>
            </p:cNvPr>
            <p:cNvSpPr/>
            <p:nvPr/>
          </p:nvSpPr>
          <p:spPr>
            <a:xfrm>
              <a:off x="4716951" y="434332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3507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35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7" name="任意多边形: 形状 10506">
              <a:extLst>
                <a:ext uri="{FF2B5EF4-FFF2-40B4-BE49-F238E27FC236}">
                  <a16:creationId xmlns:a16="http://schemas.microsoft.com/office/drawing/2014/main" id="{BAE0BE1D-D452-43BC-BC68-2F509BA3A11A}"/>
                </a:ext>
              </a:extLst>
            </p:cNvPr>
            <p:cNvSpPr/>
            <p:nvPr/>
          </p:nvSpPr>
          <p:spPr>
            <a:xfrm>
              <a:off x="4704579" y="434332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8" name="任意多边形: 形状 10507">
              <a:extLst>
                <a:ext uri="{FF2B5EF4-FFF2-40B4-BE49-F238E27FC236}">
                  <a16:creationId xmlns:a16="http://schemas.microsoft.com/office/drawing/2014/main" id="{E554BE77-1CEA-46CB-ADD4-ABDBAFFC487C}"/>
                </a:ext>
              </a:extLst>
            </p:cNvPr>
            <p:cNvSpPr/>
            <p:nvPr/>
          </p:nvSpPr>
          <p:spPr>
            <a:xfrm>
              <a:off x="3563231" y="6056891"/>
              <a:ext cx="216516" cy="773271"/>
            </a:xfrm>
            <a:custGeom>
              <a:avLst/>
              <a:gdLst>
                <a:gd name="connsiteX0" fmla="*/ 0 w 216515"/>
                <a:gd name="connsiteY0" fmla="*/ 0 h 773270"/>
                <a:gd name="connsiteX1" fmla="*/ 241261 w 216515"/>
                <a:gd name="connsiteY1" fmla="*/ 0 h 773270"/>
                <a:gd name="connsiteX2" fmla="*/ 241261 w 216515"/>
                <a:gd name="connsiteY2" fmla="*/ 798016 h 773270"/>
                <a:gd name="connsiteX3" fmla="*/ 0 w 216515"/>
                <a:gd name="connsiteY3" fmla="*/ 798016 h 773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773270">
                  <a:moveTo>
                    <a:pt x="0" y="0"/>
                  </a:moveTo>
                  <a:lnTo>
                    <a:pt x="241261" y="0"/>
                  </a:lnTo>
                  <a:lnTo>
                    <a:pt x="241261" y="798016"/>
                  </a:lnTo>
                  <a:lnTo>
                    <a:pt x="0" y="798016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09" name="任意多边形: 形状 10508">
              <a:extLst>
                <a:ext uri="{FF2B5EF4-FFF2-40B4-BE49-F238E27FC236}">
                  <a16:creationId xmlns:a16="http://schemas.microsoft.com/office/drawing/2014/main" id="{7534CEAA-E3F0-43E8-BBE4-7CF00174708D}"/>
                </a:ext>
              </a:extLst>
            </p:cNvPr>
            <p:cNvSpPr/>
            <p:nvPr/>
          </p:nvSpPr>
          <p:spPr>
            <a:xfrm>
              <a:off x="1200115" y="5308365"/>
              <a:ext cx="154654" cy="1330026"/>
            </a:xfrm>
            <a:custGeom>
              <a:avLst/>
              <a:gdLst>
                <a:gd name="connsiteX0" fmla="*/ 0 w 154654"/>
                <a:gd name="connsiteY0" fmla="*/ 55675 h 1330025"/>
                <a:gd name="connsiteX1" fmla="*/ 163933 w 154654"/>
                <a:gd name="connsiteY1" fmla="*/ 0 h 1330025"/>
                <a:gd name="connsiteX2" fmla="*/ 163933 w 154654"/>
                <a:gd name="connsiteY2" fmla="*/ 1299095 h 1330025"/>
                <a:gd name="connsiteX3" fmla="*/ 0 w 154654"/>
                <a:gd name="connsiteY3" fmla="*/ 1354770 h 133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330025">
                  <a:moveTo>
                    <a:pt x="0" y="55675"/>
                  </a:moveTo>
                  <a:lnTo>
                    <a:pt x="163933" y="0"/>
                  </a:lnTo>
                  <a:lnTo>
                    <a:pt x="163933" y="1299095"/>
                  </a:lnTo>
                  <a:lnTo>
                    <a:pt x="0" y="135477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0" name="任意多边形: 形状 10509">
              <a:extLst>
                <a:ext uri="{FF2B5EF4-FFF2-40B4-BE49-F238E27FC236}">
                  <a16:creationId xmlns:a16="http://schemas.microsoft.com/office/drawing/2014/main" id="{6D4C8C7C-D463-4D86-9E98-5298186F84EF}"/>
                </a:ext>
              </a:extLst>
            </p:cNvPr>
            <p:cNvSpPr/>
            <p:nvPr/>
          </p:nvSpPr>
          <p:spPr>
            <a:xfrm>
              <a:off x="1200115" y="654559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1" name="任意多边形: 形状 10510">
              <a:extLst>
                <a:ext uri="{FF2B5EF4-FFF2-40B4-BE49-F238E27FC236}">
                  <a16:creationId xmlns:a16="http://schemas.microsoft.com/office/drawing/2014/main" id="{BC0C0A40-541A-4F66-8E68-D26EDEE3CF17}"/>
                </a:ext>
              </a:extLst>
            </p:cNvPr>
            <p:cNvSpPr/>
            <p:nvPr/>
          </p:nvSpPr>
          <p:spPr>
            <a:xfrm>
              <a:off x="1193330" y="6530834"/>
              <a:ext cx="154654" cy="61862"/>
            </a:xfrm>
            <a:custGeom>
              <a:avLst/>
              <a:gdLst>
                <a:gd name="connsiteX0" fmla="*/ 0 w 154654"/>
                <a:gd name="connsiteY0" fmla="*/ 56012 h 61861"/>
                <a:gd name="connsiteX1" fmla="*/ 167173 w 154654"/>
                <a:gd name="connsiteY1" fmla="*/ 0 h 61861"/>
                <a:gd name="connsiteX2" fmla="*/ 177983 w 154654"/>
                <a:gd name="connsiteY2" fmla="*/ 32262 h 61861"/>
                <a:gd name="connsiteX3" fmla="*/ 10809 w 154654"/>
                <a:gd name="connsiteY3" fmla="*/ 8827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12"/>
                  </a:moveTo>
                  <a:lnTo>
                    <a:pt x="167173" y="0"/>
                  </a:lnTo>
                  <a:lnTo>
                    <a:pt x="177983" y="32262"/>
                  </a:lnTo>
                  <a:lnTo>
                    <a:pt x="10809" y="8827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2" name="任意多边形: 形状 10511">
              <a:extLst>
                <a:ext uri="{FF2B5EF4-FFF2-40B4-BE49-F238E27FC236}">
                  <a16:creationId xmlns:a16="http://schemas.microsoft.com/office/drawing/2014/main" id="{65183E2B-CFBC-4131-A845-7C8D481C73AD}"/>
                </a:ext>
              </a:extLst>
            </p:cNvPr>
            <p:cNvSpPr/>
            <p:nvPr/>
          </p:nvSpPr>
          <p:spPr>
            <a:xfrm>
              <a:off x="1200115" y="6483737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3" name="任意多边形: 形状 10512">
              <a:extLst>
                <a:ext uri="{FF2B5EF4-FFF2-40B4-BE49-F238E27FC236}">
                  <a16:creationId xmlns:a16="http://schemas.microsoft.com/office/drawing/2014/main" id="{381CA891-A4EE-4227-BCC8-6BE1E43CBDF1}"/>
                </a:ext>
              </a:extLst>
            </p:cNvPr>
            <p:cNvSpPr/>
            <p:nvPr/>
          </p:nvSpPr>
          <p:spPr>
            <a:xfrm>
              <a:off x="1193152" y="6468853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4" name="任意多边形: 形状 10513">
              <a:extLst>
                <a:ext uri="{FF2B5EF4-FFF2-40B4-BE49-F238E27FC236}">
                  <a16:creationId xmlns:a16="http://schemas.microsoft.com/office/drawing/2014/main" id="{0EA6CA4D-2F8E-4D56-B0EF-F3AF9D0E7482}"/>
                </a:ext>
              </a:extLst>
            </p:cNvPr>
            <p:cNvSpPr/>
            <p:nvPr/>
          </p:nvSpPr>
          <p:spPr>
            <a:xfrm>
              <a:off x="1200115" y="6421875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5" name="任意多边形: 形状 10514">
              <a:extLst>
                <a:ext uri="{FF2B5EF4-FFF2-40B4-BE49-F238E27FC236}">
                  <a16:creationId xmlns:a16="http://schemas.microsoft.com/office/drawing/2014/main" id="{B3921D45-081B-4DC0-ABFD-D93CCCEB89F4}"/>
                </a:ext>
              </a:extLst>
            </p:cNvPr>
            <p:cNvSpPr/>
            <p:nvPr/>
          </p:nvSpPr>
          <p:spPr>
            <a:xfrm>
              <a:off x="1193364" y="6407252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91 w 154654"/>
                <a:gd name="connsiteY1" fmla="*/ 0 h 61861"/>
                <a:gd name="connsiteX2" fmla="*/ 177993 w 154654"/>
                <a:gd name="connsiteY2" fmla="*/ 32265 h 61861"/>
                <a:gd name="connsiteX3" fmla="*/ 10803 w 154654"/>
                <a:gd name="connsiteY3" fmla="*/ 8824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91" y="0"/>
                  </a:lnTo>
                  <a:lnTo>
                    <a:pt x="177993" y="32265"/>
                  </a:lnTo>
                  <a:lnTo>
                    <a:pt x="10803" y="8824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6" name="任意多边形: 形状 10515">
              <a:extLst>
                <a:ext uri="{FF2B5EF4-FFF2-40B4-BE49-F238E27FC236}">
                  <a16:creationId xmlns:a16="http://schemas.microsoft.com/office/drawing/2014/main" id="{E1E07512-153D-4B5C-9F5D-5A629ECA4EBF}"/>
                </a:ext>
              </a:extLst>
            </p:cNvPr>
            <p:cNvSpPr/>
            <p:nvPr/>
          </p:nvSpPr>
          <p:spPr>
            <a:xfrm>
              <a:off x="1200115" y="6360014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7" name="任意多边形: 形状 10516">
              <a:extLst>
                <a:ext uri="{FF2B5EF4-FFF2-40B4-BE49-F238E27FC236}">
                  <a16:creationId xmlns:a16="http://schemas.microsoft.com/office/drawing/2014/main" id="{D4A3CF1B-0B26-462E-9245-093A9C8C2091}"/>
                </a:ext>
              </a:extLst>
            </p:cNvPr>
            <p:cNvSpPr/>
            <p:nvPr/>
          </p:nvSpPr>
          <p:spPr>
            <a:xfrm>
              <a:off x="1193183" y="6345130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8" name="任意多边形: 形状 10517">
              <a:extLst>
                <a:ext uri="{FF2B5EF4-FFF2-40B4-BE49-F238E27FC236}">
                  <a16:creationId xmlns:a16="http://schemas.microsoft.com/office/drawing/2014/main" id="{72D2BD50-A3A4-4C67-B136-8232F2DB10B6}"/>
                </a:ext>
              </a:extLst>
            </p:cNvPr>
            <p:cNvSpPr/>
            <p:nvPr/>
          </p:nvSpPr>
          <p:spPr>
            <a:xfrm>
              <a:off x="1200115" y="6298152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19" name="任意多边形: 形状 10518">
              <a:extLst>
                <a:ext uri="{FF2B5EF4-FFF2-40B4-BE49-F238E27FC236}">
                  <a16:creationId xmlns:a16="http://schemas.microsoft.com/office/drawing/2014/main" id="{D00599B6-6ECE-4916-8BEF-1138DA91F963}"/>
                </a:ext>
              </a:extLst>
            </p:cNvPr>
            <p:cNvSpPr/>
            <p:nvPr/>
          </p:nvSpPr>
          <p:spPr>
            <a:xfrm>
              <a:off x="1193198" y="6283268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0" name="任意多边形: 形状 10519">
              <a:extLst>
                <a:ext uri="{FF2B5EF4-FFF2-40B4-BE49-F238E27FC236}">
                  <a16:creationId xmlns:a16="http://schemas.microsoft.com/office/drawing/2014/main" id="{187070C0-A436-4AA4-8893-5C2D30DF0923}"/>
                </a:ext>
              </a:extLst>
            </p:cNvPr>
            <p:cNvSpPr/>
            <p:nvPr/>
          </p:nvSpPr>
          <p:spPr>
            <a:xfrm>
              <a:off x="1200115" y="6236290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1" name="任意多边形: 形状 10520">
              <a:extLst>
                <a:ext uri="{FF2B5EF4-FFF2-40B4-BE49-F238E27FC236}">
                  <a16:creationId xmlns:a16="http://schemas.microsoft.com/office/drawing/2014/main" id="{4ACED39D-FE86-48CD-B6EC-E538726B2006}"/>
                </a:ext>
              </a:extLst>
            </p:cNvPr>
            <p:cNvSpPr/>
            <p:nvPr/>
          </p:nvSpPr>
          <p:spPr>
            <a:xfrm>
              <a:off x="1193563" y="6221497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2" name="任意多边形: 形状 10521">
              <a:extLst>
                <a:ext uri="{FF2B5EF4-FFF2-40B4-BE49-F238E27FC236}">
                  <a16:creationId xmlns:a16="http://schemas.microsoft.com/office/drawing/2014/main" id="{25B34AF0-1A1F-4462-9D06-BFE500DE7F3C}"/>
                </a:ext>
              </a:extLst>
            </p:cNvPr>
            <p:cNvSpPr/>
            <p:nvPr/>
          </p:nvSpPr>
          <p:spPr>
            <a:xfrm>
              <a:off x="1200115" y="617442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3" name="任意多边形: 形状 10522">
              <a:extLst>
                <a:ext uri="{FF2B5EF4-FFF2-40B4-BE49-F238E27FC236}">
                  <a16:creationId xmlns:a16="http://schemas.microsoft.com/office/drawing/2014/main" id="{43E3FD15-0283-467B-A3F8-DE2E73CF44A9}"/>
                </a:ext>
              </a:extLst>
            </p:cNvPr>
            <p:cNvSpPr/>
            <p:nvPr/>
          </p:nvSpPr>
          <p:spPr>
            <a:xfrm>
              <a:off x="1193504" y="6159694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4" name="任意多边形: 形状 10523">
              <a:extLst>
                <a:ext uri="{FF2B5EF4-FFF2-40B4-BE49-F238E27FC236}">
                  <a16:creationId xmlns:a16="http://schemas.microsoft.com/office/drawing/2014/main" id="{6C346350-CA9D-4AB9-8BA1-AB8A010D7E11}"/>
                </a:ext>
              </a:extLst>
            </p:cNvPr>
            <p:cNvSpPr/>
            <p:nvPr/>
          </p:nvSpPr>
          <p:spPr>
            <a:xfrm>
              <a:off x="1200115" y="6112567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5" name="任意多边形: 形状 10524">
              <a:extLst>
                <a:ext uri="{FF2B5EF4-FFF2-40B4-BE49-F238E27FC236}">
                  <a16:creationId xmlns:a16="http://schemas.microsoft.com/office/drawing/2014/main" id="{66A7220A-CBC3-4564-8FF1-268E356FD77B}"/>
                </a:ext>
              </a:extLst>
            </p:cNvPr>
            <p:cNvSpPr/>
            <p:nvPr/>
          </p:nvSpPr>
          <p:spPr>
            <a:xfrm>
              <a:off x="1193582" y="6097767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6" name="任意多边形: 形状 10525">
              <a:extLst>
                <a:ext uri="{FF2B5EF4-FFF2-40B4-BE49-F238E27FC236}">
                  <a16:creationId xmlns:a16="http://schemas.microsoft.com/office/drawing/2014/main" id="{6A5227E7-726E-474A-A179-29D31EF43ED3}"/>
                </a:ext>
              </a:extLst>
            </p:cNvPr>
            <p:cNvSpPr/>
            <p:nvPr/>
          </p:nvSpPr>
          <p:spPr>
            <a:xfrm>
              <a:off x="1200115" y="6050705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7" name="任意多边形: 形状 10526">
              <a:extLst>
                <a:ext uri="{FF2B5EF4-FFF2-40B4-BE49-F238E27FC236}">
                  <a16:creationId xmlns:a16="http://schemas.microsoft.com/office/drawing/2014/main" id="{4BFFE47D-1784-4AF5-B14C-BC5922EFF9CA}"/>
                </a:ext>
              </a:extLst>
            </p:cNvPr>
            <p:cNvSpPr/>
            <p:nvPr/>
          </p:nvSpPr>
          <p:spPr>
            <a:xfrm>
              <a:off x="1193594" y="6035902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8" name="任意多边形: 形状 10527">
              <a:extLst>
                <a:ext uri="{FF2B5EF4-FFF2-40B4-BE49-F238E27FC236}">
                  <a16:creationId xmlns:a16="http://schemas.microsoft.com/office/drawing/2014/main" id="{6AB705F1-7A0E-498F-8D07-8F6B51A55FA5}"/>
                </a:ext>
              </a:extLst>
            </p:cNvPr>
            <p:cNvSpPr/>
            <p:nvPr/>
          </p:nvSpPr>
          <p:spPr>
            <a:xfrm>
              <a:off x="1200115" y="5988844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29" name="任意多边形: 形状 10528">
              <a:extLst>
                <a:ext uri="{FF2B5EF4-FFF2-40B4-BE49-F238E27FC236}">
                  <a16:creationId xmlns:a16="http://schemas.microsoft.com/office/drawing/2014/main" id="{51DF27A0-9047-4D5D-95BE-92394B68F865}"/>
                </a:ext>
              </a:extLst>
            </p:cNvPr>
            <p:cNvSpPr/>
            <p:nvPr/>
          </p:nvSpPr>
          <p:spPr>
            <a:xfrm>
              <a:off x="1193431" y="5973947"/>
              <a:ext cx="154654" cy="61862"/>
            </a:xfrm>
            <a:custGeom>
              <a:avLst/>
              <a:gdLst>
                <a:gd name="connsiteX0" fmla="*/ 0 w 154654"/>
                <a:gd name="connsiteY0" fmla="*/ 55995 h 61861"/>
                <a:gd name="connsiteX1" fmla="*/ 167173 w 154654"/>
                <a:gd name="connsiteY1" fmla="*/ 0 h 61861"/>
                <a:gd name="connsiteX2" fmla="*/ 177979 w 154654"/>
                <a:gd name="connsiteY2" fmla="*/ 32262 h 61861"/>
                <a:gd name="connsiteX3" fmla="*/ 10806 w 154654"/>
                <a:gd name="connsiteY3" fmla="*/ 8825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95"/>
                  </a:moveTo>
                  <a:lnTo>
                    <a:pt x="167173" y="0"/>
                  </a:lnTo>
                  <a:lnTo>
                    <a:pt x="177979" y="32262"/>
                  </a:lnTo>
                  <a:lnTo>
                    <a:pt x="10806" y="88256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0" name="任意多边形: 形状 10529">
              <a:extLst>
                <a:ext uri="{FF2B5EF4-FFF2-40B4-BE49-F238E27FC236}">
                  <a16:creationId xmlns:a16="http://schemas.microsoft.com/office/drawing/2014/main" id="{634C65CC-78C8-4EFE-B999-3C4FE9A7B1D2}"/>
                </a:ext>
              </a:extLst>
            </p:cNvPr>
            <p:cNvSpPr/>
            <p:nvPr/>
          </p:nvSpPr>
          <p:spPr>
            <a:xfrm>
              <a:off x="1200115" y="5926982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1" name="任意多边形: 形状 10530">
              <a:extLst>
                <a:ext uri="{FF2B5EF4-FFF2-40B4-BE49-F238E27FC236}">
                  <a16:creationId xmlns:a16="http://schemas.microsoft.com/office/drawing/2014/main" id="{A4D1146B-4047-47BB-A6C8-1EFC2F534298}"/>
                </a:ext>
              </a:extLst>
            </p:cNvPr>
            <p:cNvSpPr/>
            <p:nvPr/>
          </p:nvSpPr>
          <p:spPr>
            <a:xfrm>
              <a:off x="1193294" y="5912101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2" name="任意多边形: 形状 10531">
              <a:extLst>
                <a:ext uri="{FF2B5EF4-FFF2-40B4-BE49-F238E27FC236}">
                  <a16:creationId xmlns:a16="http://schemas.microsoft.com/office/drawing/2014/main" id="{B88C0E8D-634F-48A8-BCA2-21021DBCBCFD}"/>
                </a:ext>
              </a:extLst>
            </p:cNvPr>
            <p:cNvSpPr/>
            <p:nvPr/>
          </p:nvSpPr>
          <p:spPr>
            <a:xfrm>
              <a:off x="1200115" y="5865120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3" name="任意多边形: 形状 10532">
              <a:extLst>
                <a:ext uri="{FF2B5EF4-FFF2-40B4-BE49-F238E27FC236}">
                  <a16:creationId xmlns:a16="http://schemas.microsoft.com/office/drawing/2014/main" id="{CD6B5941-77DD-4218-835A-4645C7BCFF8E}"/>
                </a:ext>
              </a:extLst>
            </p:cNvPr>
            <p:cNvSpPr/>
            <p:nvPr/>
          </p:nvSpPr>
          <p:spPr>
            <a:xfrm>
              <a:off x="1193456" y="5850223"/>
              <a:ext cx="154654" cy="61862"/>
            </a:xfrm>
            <a:custGeom>
              <a:avLst/>
              <a:gdLst>
                <a:gd name="connsiteX0" fmla="*/ 0 w 154654"/>
                <a:gd name="connsiteY0" fmla="*/ 55995 h 61861"/>
                <a:gd name="connsiteX1" fmla="*/ 167173 w 154654"/>
                <a:gd name="connsiteY1" fmla="*/ 0 h 61861"/>
                <a:gd name="connsiteX2" fmla="*/ 177979 w 154654"/>
                <a:gd name="connsiteY2" fmla="*/ 32262 h 61861"/>
                <a:gd name="connsiteX3" fmla="*/ 10806 w 154654"/>
                <a:gd name="connsiteY3" fmla="*/ 8825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95"/>
                  </a:moveTo>
                  <a:lnTo>
                    <a:pt x="167173" y="0"/>
                  </a:lnTo>
                  <a:lnTo>
                    <a:pt x="177979" y="32262"/>
                  </a:lnTo>
                  <a:lnTo>
                    <a:pt x="10806" y="88256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4" name="任意多边形: 形状 10533">
              <a:extLst>
                <a:ext uri="{FF2B5EF4-FFF2-40B4-BE49-F238E27FC236}">
                  <a16:creationId xmlns:a16="http://schemas.microsoft.com/office/drawing/2014/main" id="{03A43A0D-BB7D-4E82-8619-716CE6BC2AAD}"/>
                </a:ext>
              </a:extLst>
            </p:cNvPr>
            <p:cNvSpPr/>
            <p:nvPr/>
          </p:nvSpPr>
          <p:spPr>
            <a:xfrm>
              <a:off x="1200115" y="580325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5" name="任意多边形: 形状 10534">
              <a:extLst>
                <a:ext uri="{FF2B5EF4-FFF2-40B4-BE49-F238E27FC236}">
                  <a16:creationId xmlns:a16="http://schemas.microsoft.com/office/drawing/2014/main" id="{FB66939C-EB8D-4F22-A198-AC4D0B8B1AEB}"/>
                </a:ext>
              </a:extLst>
            </p:cNvPr>
            <p:cNvSpPr/>
            <p:nvPr/>
          </p:nvSpPr>
          <p:spPr>
            <a:xfrm>
              <a:off x="1193506" y="5788586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91 w 154654"/>
                <a:gd name="connsiteY1" fmla="*/ 0 h 61861"/>
                <a:gd name="connsiteX2" fmla="*/ 177993 w 154654"/>
                <a:gd name="connsiteY2" fmla="*/ 32265 h 61861"/>
                <a:gd name="connsiteX3" fmla="*/ 10803 w 154654"/>
                <a:gd name="connsiteY3" fmla="*/ 8824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91" y="0"/>
                  </a:lnTo>
                  <a:lnTo>
                    <a:pt x="177993" y="32265"/>
                  </a:lnTo>
                  <a:lnTo>
                    <a:pt x="10803" y="8824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6" name="任意多边形: 形状 10535">
              <a:extLst>
                <a:ext uri="{FF2B5EF4-FFF2-40B4-BE49-F238E27FC236}">
                  <a16:creationId xmlns:a16="http://schemas.microsoft.com/office/drawing/2014/main" id="{519B2987-6E5A-4F91-9D9F-C20D90FC8D3D}"/>
                </a:ext>
              </a:extLst>
            </p:cNvPr>
            <p:cNvSpPr/>
            <p:nvPr/>
          </p:nvSpPr>
          <p:spPr>
            <a:xfrm>
              <a:off x="1200115" y="5741397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7" name="任意多边形: 形状 10536">
              <a:extLst>
                <a:ext uri="{FF2B5EF4-FFF2-40B4-BE49-F238E27FC236}">
                  <a16:creationId xmlns:a16="http://schemas.microsoft.com/office/drawing/2014/main" id="{EF9747AC-824D-401C-8EC8-063E1760D095}"/>
                </a:ext>
              </a:extLst>
            </p:cNvPr>
            <p:cNvSpPr/>
            <p:nvPr/>
          </p:nvSpPr>
          <p:spPr>
            <a:xfrm>
              <a:off x="1192663" y="5723640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8" name="任意多边形: 形状 10537">
              <a:extLst>
                <a:ext uri="{FF2B5EF4-FFF2-40B4-BE49-F238E27FC236}">
                  <a16:creationId xmlns:a16="http://schemas.microsoft.com/office/drawing/2014/main" id="{B484E8A8-BEAB-41B7-B899-FB55A0FE204D}"/>
                </a:ext>
              </a:extLst>
            </p:cNvPr>
            <p:cNvSpPr/>
            <p:nvPr/>
          </p:nvSpPr>
          <p:spPr>
            <a:xfrm>
              <a:off x="1200115" y="5679535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39" name="任意多边形: 形状 10538">
              <a:extLst>
                <a:ext uri="{FF2B5EF4-FFF2-40B4-BE49-F238E27FC236}">
                  <a16:creationId xmlns:a16="http://schemas.microsoft.com/office/drawing/2014/main" id="{F7B9C339-A5A5-46CA-9601-403D1BBA5B59}"/>
                </a:ext>
              </a:extLst>
            </p:cNvPr>
            <p:cNvSpPr/>
            <p:nvPr/>
          </p:nvSpPr>
          <p:spPr>
            <a:xfrm>
              <a:off x="1192676" y="5661775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0" name="任意多边形: 形状 10539">
              <a:extLst>
                <a:ext uri="{FF2B5EF4-FFF2-40B4-BE49-F238E27FC236}">
                  <a16:creationId xmlns:a16="http://schemas.microsoft.com/office/drawing/2014/main" id="{DDA74A1B-6F2A-43A1-9E46-2BBBFFAA85EA}"/>
                </a:ext>
              </a:extLst>
            </p:cNvPr>
            <p:cNvSpPr/>
            <p:nvPr/>
          </p:nvSpPr>
          <p:spPr>
            <a:xfrm>
              <a:off x="1200115" y="5617674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1" name="任意多边形: 形状 10540">
              <a:extLst>
                <a:ext uri="{FF2B5EF4-FFF2-40B4-BE49-F238E27FC236}">
                  <a16:creationId xmlns:a16="http://schemas.microsoft.com/office/drawing/2014/main" id="{1ADE6A9D-047C-414C-9270-FC4F0D501527}"/>
                </a:ext>
              </a:extLst>
            </p:cNvPr>
            <p:cNvSpPr/>
            <p:nvPr/>
          </p:nvSpPr>
          <p:spPr>
            <a:xfrm>
              <a:off x="1192685" y="5599910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2" name="任意多边形: 形状 10541">
              <a:extLst>
                <a:ext uri="{FF2B5EF4-FFF2-40B4-BE49-F238E27FC236}">
                  <a16:creationId xmlns:a16="http://schemas.microsoft.com/office/drawing/2014/main" id="{772BAD4D-C672-4668-B03E-2A4863EBB9B3}"/>
                </a:ext>
              </a:extLst>
            </p:cNvPr>
            <p:cNvSpPr/>
            <p:nvPr/>
          </p:nvSpPr>
          <p:spPr>
            <a:xfrm>
              <a:off x="1200115" y="5555812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3" name="任意多边形: 形状 10542">
              <a:extLst>
                <a:ext uri="{FF2B5EF4-FFF2-40B4-BE49-F238E27FC236}">
                  <a16:creationId xmlns:a16="http://schemas.microsoft.com/office/drawing/2014/main" id="{88DD8A84-3FDD-4E57-8641-75315246AA9F}"/>
                </a:ext>
              </a:extLst>
            </p:cNvPr>
            <p:cNvSpPr/>
            <p:nvPr/>
          </p:nvSpPr>
          <p:spPr>
            <a:xfrm>
              <a:off x="1192642" y="5538101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4" name="任意多边形: 形状 10543">
              <a:extLst>
                <a:ext uri="{FF2B5EF4-FFF2-40B4-BE49-F238E27FC236}">
                  <a16:creationId xmlns:a16="http://schemas.microsoft.com/office/drawing/2014/main" id="{C583C4A2-4A6B-4453-AF24-74889E84121A}"/>
                </a:ext>
              </a:extLst>
            </p:cNvPr>
            <p:cNvSpPr/>
            <p:nvPr/>
          </p:nvSpPr>
          <p:spPr>
            <a:xfrm>
              <a:off x="1200115" y="5493950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5" name="任意多边形: 形状 10544">
              <a:extLst>
                <a:ext uri="{FF2B5EF4-FFF2-40B4-BE49-F238E27FC236}">
                  <a16:creationId xmlns:a16="http://schemas.microsoft.com/office/drawing/2014/main" id="{3F81E023-6E12-4A05-A453-610332B5CCDF}"/>
                </a:ext>
              </a:extLst>
            </p:cNvPr>
            <p:cNvSpPr/>
            <p:nvPr/>
          </p:nvSpPr>
          <p:spPr>
            <a:xfrm>
              <a:off x="1192595" y="5476317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91 w 154654"/>
                <a:gd name="connsiteY1" fmla="*/ 0 h 61861"/>
                <a:gd name="connsiteX2" fmla="*/ 177993 w 154654"/>
                <a:gd name="connsiteY2" fmla="*/ 32265 h 61861"/>
                <a:gd name="connsiteX3" fmla="*/ 10803 w 154654"/>
                <a:gd name="connsiteY3" fmla="*/ 8824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91" y="0"/>
                  </a:lnTo>
                  <a:lnTo>
                    <a:pt x="177993" y="32265"/>
                  </a:lnTo>
                  <a:lnTo>
                    <a:pt x="10803" y="8824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6" name="任意多边形: 形状 10545">
              <a:extLst>
                <a:ext uri="{FF2B5EF4-FFF2-40B4-BE49-F238E27FC236}">
                  <a16:creationId xmlns:a16="http://schemas.microsoft.com/office/drawing/2014/main" id="{31F66F48-624D-48EE-A558-80002A31B985}"/>
                </a:ext>
              </a:extLst>
            </p:cNvPr>
            <p:cNvSpPr/>
            <p:nvPr/>
          </p:nvSpPr>
          <p:spPr>
            <a:xfrm>
              <a:off x="1200115" y="543208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7" name="任意多边形: 形状 10546">
              <a:extLst>
                <a:ext uri="{FF2B5EF4-FFF2-40B4-BE49-F238E27FC236}">
                  <a16:creationId xmlns:a16="http://schemas.microsoft.com/office/drawing/2014/main" id="{0DB35806-19B4-4800-A90B-9BE105E878D4}"/>
                </a:ext>
              </a:extLst>
            </p:cNvPr>
            <p:cNvSpPr/>
            <p:nvPr/>
          </p:nvSpPr>
          <p:spPr>
            <a:xfrm>
              <a:off x="1192566" y="5414253"/>
              <a:ext cx="154654" cy="61862"/>
            </a:xfrm>
            <a:custGeom>
              <a:avLst/>
              <a:gdLst>
                <a:gd name="connsiteX0" fmla="*/ 0 w 154654"/>
                <a:gd name="connsiteY0" fmla="*/ 55995 h 61861"/>
                <a:gd name="connsiteX1" fmla="*/ 167173 w 154654"/>
                <a:gd name="connsiteY1" fmla="*/ 0 h 61861"/>
                <a:gd name="connsiteX2" fmla="*/ 177979 w 154654"/>
                <a:gd name="connsiteY2" fmla="*/ 32261 h 61861"/>
                <a:gd name="connsiteX3" fmla="*/ 10806 w 154654"/>
                <a:gd name="connsiteY3" fmla="*/ 8825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95"/>
                  </a:moveTo>
                  <a:lnTo>
                    <a:pt x="167173" y="0"/>
                  </a:lnTo>
                  <a:lnTo>
                    <a:pt x="177979" y="32261"/>
                  </a:lnTo>
                  <a:lnTo>
                    <a:pt x="10806" y="88256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8" name="任意多边形: 形状 10547">
              <a:extLst>
                <a:ext uri="{FF2B5EF4-FFF2-40B4-BE49-F238E27FC236}">
                  <a16:creationId xmlns:a16="http://schemas.microsoft.com/office/drawing/2014/main" id="{9A36EF83-8479-43B0-AD3A-EA35182921AF}"/>
                </a:ext>
              </a:extLst>
            </p:cNvPr>
            <p:cNvSpPr/>
            <p:nvPr/>
          </p:nvSpPr>
          <p:spPr>
            <a:xfrm>
              <a:off x="1364049" y="5308365"/>
              <a:ext cx="680478" cy="1299095"/>
            </a:xfrm>
            <a:custGeom>
              <a:avLst/>
              <a:gdLst>
                <a:gd name="connsiteX0" fmla="*/ 0 w 680478"/>
                <a:gd name="connsiteY0" fmla="*/ 0 h 1299094"/>
                <a:gd name="connsiteX1" fmla="*/ 683571 w 680478"/>
                <a:gd name="connsiteY1" fmla="*/ 0 h 1299094"/>
                <a:gd name="connsiteX2" fmla="*/ 683571 w 680478"/>
                <a:gd name="connsiteY2" fmla="*/ 1299095 h 1299094"/>
                <a:gd name="connsiteX3" fmla="*/ 0 w 680478"/>
                <a:gd name="connsiteY3" fmla="*/ 1299095 h 129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1299094">
                  <a:moveTo>
                    <a:pt x="0" y="0"/>
                  </a:moveTo>
                  <a:lnTo>
                    <a:pt x="683571" y="0"/>
                  </a:lnTo>
                  <a:lnTo>
                    <a:pt x="683571" y="1299095"/>
                  </a:lnTo>
                  <a:lnTo>
                    <a:pt x="0" y="1299095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49" name="任意多边形: 形状 10548">
              <a:extLst>
                <a:ext uri="{FF2B5EF4-FFF2-40B4-BE49-F238E27FC236}">
                  <a16:creationId xmlns:a16="http://schemas.microsoft.com/office/drawing/2014/main" id="{C561413D-4E78-4A5F-8403-910B4D46ADB5}"/>
                </a:ext>
              </a:extLst>
            </p:cNvPr>
            <p:cNvSpPr/>
            <p:nvPr/>
          </p:nvSpPr>
          <p:spPr>
            <a:xfrm>
              <a:off x="1364049" y="654559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0" name="任意多边形: 形状 10549">
              <a:extLst>
                <a:ext uri="{FF2B5EF4-FFF2-40B4-BE49-F238E27FC236}">
                  <a16:creationId xmlns:a16="http://schemas.microsoft.com/office/drawing/2014/main" id="{3625E452-306B-4AC3-9498-5EAE2A303449}"/>
                </a:ext>
              </a:extLst>
            </p:cNvPr>
            <p:cNvSpPr/>
            <p:nvPr/>
          </p:nvSpPr>
          <p:spPr>
            <a:xfrm>
              <a:off x="1364049" y="6530133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1" name="任意多边形: 形状 10550">
              <a:extLst>
                <a:ext uri="{FF2B5EF4-FFF2-40B4-BE49-F238E27FC236}">
                  <a16:creationId xmlns:a16="http://schemas.microsoft.com/office/drawing/2014/main" id="{817A5C61-6FE6-4F0E-B730-6115599DDA4D}"/>
                </a:ext>
              </a:extLst>
            </p:cNvPr>
            <p:cNvSpPr/>
            <p:nvPr/>
          </p:nvSpPr>
          <p:spPr>
            <a:xfrm>
              <a:off x="1364049" y="6483737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2" name="任意多边形: 形状 10551">
              <a:extLst>
                <a:ext uri="{FF2B5EF4-FFF2-40B4-BE49-F238E27FC236}">
                  <a16:creationId xmlns:a16="http://schemas.microsoft.com/office/drawing/2014/main" id="{35A3516A-DFA7-4F6C-A471-5B6654FEEBC8}"/>
                </a:ext>
              </a:extLst>
            </p:cNvPr>
            <p:cNvSpPr/>
            <p:nvPr/>
          </p:nvSpPr>
          <p:spPr>
            <a:xfrm>
              <a:off x="1364049" y="6468272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3" name="任意多边形: 形状 10552">
              <a:extLst>
                <a:ext uri="{FF2B5EF4-FFF2-40B4-BE49-F238E27FC236}">
                  <a16:creationId xmlns:a16="http://schemas.microsoft.com/office/drawing/2014/main" id="{0A1D69B1-97F2-4342-91CE-554D94E4F847}"/>
                </a:ext>
              </a:extLst>
            </p:cNvPr>
            <p:cNvSpPr/>
            <p:nvPr/>
          </p:nvSpPr>
          <p:spPr>
            <a:xfrm>
              <a:off x="1364049" y="6421875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4" name="任意多边形: 形状 10553">
              <a:extLst>
                <a:ext uri="{FF2B5EF4-FFF2-40B4-BE49-F238E27FC236}">
                  <a16:creationId xmlns:a16="http://schemas.microsoft.com/office/drawing/2014/main" id="{B8AB3376-7A4D-4101-BABF-ED49C9C0D8F7}"/>
                </a:ext>
              </a:extLst>
            </p:cNvPr>
            <p:cNvSpPr/>
            <p:nvPr/>
          </p:nvSpPr>
          <p:spPr>
            <a:xfrm>
              <a:off x="1364049" y="640641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5" name="任意多边形: 形状 10554">
              <a:extLst>
                <a:ext uri="{FF2B5EF4-FFF2-40B4-BE49-F238E27FC236}">
                  <a16:creationId xmlns:a16="http://schemas.microsoft.com/office/drawing/2014/main" id="{7168A7C5-3135-467D-9DC8-0095CEE66578}"/>
                </a:ext>
              </a:extLst>
            </p:cNvPr>
            <p:cNvSpPr/>
            <p:nvPr/>
          </p:nvSpPr>
          <p:spPr>
            <a:xfrm>
              <a:off x="1364049" y="6360014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6" name="任意多边形: 形状 10555">
              <a:extLst>
                <a:ext uri="{FF2B5EF4-FFF2-40B4-BE49-F238E27FC236}">
                  <a16:creationId xmlns:a16="http://schemas.microsoft.com/office/drawing/2014/main" id="{EACFF792-B041-4973-AE29-675394861ACC}"/>
                </a:ext>
              </a:extLst>
            </p:cNvPr>
            <p:cNvSpPr/>
            <p:nvPr/>
          </p:nvSpPr>
          <p:spPr>
            <a:xfrm>
              <a:off x="1364049" y="6344548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7" name="任意多边形: 形状 10556">
              <a:extLst>
                <a:ext uri="{FF2B5EF4-FFF2-40B4-BE49-F238E27FC236}">
                  <a16:creationId xmlns:a16="http://schemas.microsoft.com/office/drawing/2014/main" id="{3F7F8727-07E3-42DA-9769-8A449EA25F2D}"/>
                </a:ext>
              </a:extLst>
            </p:cNvPr>
            <p:cNvSpPr/>
            <p:nvPr/>
          </p:nvSpPr>
          <p:spPr>
            <a:xfrm>
              <a:off x="1364049" y="6298152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8" name="任意多边形: 形状 10557">
              <a:extLst>
                <a:ext uri="{FF2B5EF4-FFF2-40B4-BE49-F238E27FC236}">
                  <a16:creationId xmlns:a16="http://schemas.microsoft.com/office/drawing/2014/main" id="{FD16605E-D0C4-4293-AE77-C6774AFC8235}"/>
                </a:ext>
              </a:extLst>
            </p:cNvPr>
            <p:cNvSpPr/>
            <p:nvPr/>
          </p:nvSpPr>
          <p:spPr>
            <a:xfrm>
              <a:off x="1364049" y="6282687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59" name="任意多边形: 形状 10558">
              <a:extLst>
                <a:ext uri="{FF2B5EF4-FFF2-40B4-BE49-F238E27FC236}">
                  <a16:creationId xmlns:a16="http://schemas.microsoft.com/office/drawing/2014/main" id="{32E043EB-7042-4EEF-B8E2-E7CF15111F3B}"/>
                </a:ext>
              </a:extLst>
            </p:cNvPr>
            <p:cNvSpPr/>
            <p:nvPr/>
          </p:nvSpPr>
          <p:spPr>
            <a:xfrm>
              <a:off x="1364049" y="6236290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0" name="任意多边形: 形状 10559">
              <a:extLst>
                <a:ext uri="{FF2B5EF4-FFF2-40B4-BE49-F238E27FC236}">
                  <a16:creationId xmlns:a16="http://schemas.microsoft.com/office/drawing/2014/main" id="{EE1CA208-FF45-47AC-A75D-14F19992DF87}"/>
                </a:ext>
              </a:extLst>
            </p:cNvPr>
            <p:cNvSpPr/>
            <p:nvPr/>
          </p:nvSpPr>
          <p:spPr>
            <a:xfrm>
              <a:off x="1364049" y="6220825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1" name="任意多边形: 形状 10560">
              <a:extLst>
                <a:ext uri="{FF2B5EF4-FFF2-40B4-BE49-F238E27FC236}">
                  <a16:creationId xmlns:a16="http://schemas.microsoft.com/office/drawing/2014/main" id="{9471126A-E93A-4557-99A0-220A802111EA}"/>
                </a:ext>
              </a:extLst>
            </p:cNvPr>
            <p:cNvSpPr/>
            <p:nvPr/>
          </p:nvSpPr>
          <p:spPr>
            <a:xfrm>
              <a:off x="1364049" y="617442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2" name="任意多边形: 形状 10561">
              <a:extLst>
                <a:ext uri="{FF2B5EF4-FFF2-40B4-BE49-F238E27FC236}">
                  <a16:creationId xmlns:a16="http://schemas.microsoft.com/office/drawing/2014/main" id="{3D62018A-4CC7-4ABF-B278-9AEE8522F648}"/>
                </a:ext>
              </a:extLst>
            </p:cNvPr>
            <p:cNvSpPr/>
            <p:nvPr/>
          </p:nvSpPr>
          <p:spPr>
            <a:xfrm>
              <a:off x="1364049" y="6158963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3" name="任意多边形: 形状 10562">
              <a:extLst>
                <a:ext uri="{FF2B5EF4-FFF2-40B4-BE49-F238E27FC236}">
                  <a16:creationId xmlns:a16="http://schemas.microsoft.com/office/drawing/2014/main" id="{B45A8841-1D45-4014-BC7E-5D312A6238F1}"/>
                </a:ext>
              </a:extLst>
            </p:cNvPr>
            <p:cNvSpPr/>
            <p:nvPr/>
          </p:nvSpPr>
          <p:spPr>
            <a:xfrm>
              <a:off x="1364049" y="6112567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4" name="任意多边形: 形状 10563">
              <a:extLst>
                <a:ext uri="{FF2B5EF4-FFF2-40B4-BE49-F238E27FC236}">
                  <a16:creationId xmlns:a16="http://schemas.microsoft.com/office/drawing/2014/main" id="{E5C75750-342E-4318-9ECC-1798B6AEA884}"/>
                </a:ext>
              </a:extLst>
            </p:cNvPr>
            <p:cNvSpPr/>
            <p:nvPr/>
          </p:nvSpPr>
          <p:spPr>
            <a:xfrm>
              <a:off x="1364049" y="6097102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5" name="任意多边形: 形状 10564">
              <a:extLst>
                <a:ext uri="{FF2B5EF4-FFF2-40B4-BE49-F238E27FC236}">
                  <a16:creationId xmlns:a16="http://schemas.microsoft.com/office/drawing/2014/main" id="{AB480E20-CD5E-43A3-8E9F-6EA198FEA0E7}"/>
                </a:ext>
              </a:extLst>
            </p:cNvPr>
            <p:cNvSpPr/>
            <p:nvPr/>
          </p:nvSpPr>
          <p:spPr>
            <a:xfrm>
              <a:off x="1364049" y="6050705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6" name="任意多边形: 形状 10565">
              <a:extLst>
                <a:ext uri="{FF2B5EF4-FFF2-40B4-BE49-F238E27FC236}">
                  <a16:creationId xmlns:a16="http://schemas.microsoft.com/office/drawing/2014/main" id="{D21AB12C-8083-46DE-9866-73B809911934}"/>
                </a:ext>
              </a:extLst>
            </p:cNvPr>
            <p:cNvSpPr/>
            <p:nvPr/>
          </p:nvSpPr>
          <p:spPr>
            <a:xfrm>
              <a:off x="1364049" y="603524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7" name="任意多边形: 形状 10566">
              <a:extLst>
                <a:ext uri="{FF2B5EF4-FFF2-40B4-BE49-F238E27FC236}">
                  <a16:creationId xmlns:a16="http://schemas.microsoft.com/office/drawing/2014/main" id="{A1B3F5BC-829E-44C2-81EA-AB19193513B5}"/>
                </a:ext>
              </a:extLst>
            </p:cNvPr>
            <p:cNvSpPr/>
            <p:nvPr/>
          </p:nvSpPr>
          <p:spPr>
            <a:xfrm>
              <a:off x="1364049" y="5988844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8" name="任意多边形: 形状 10567">
              <a:extLst>
                <a:ext uri="{FF2B5EF4-FFF2-40B4-BE49-F238E27FC236}">
                  <a16:creationId xmlns:a16="http://schemas.microsoft.com/office/drawing/2014/main" id="{866A99E0-337D-4A84-B752-9A677F7BCB47}"/>
                </a:ext>
              </a:extLst>
            </p:cNvPr>
            <p:cNvSpPr/>
            <p:nvPr/>
          </p:nvSpPr>
          <p:spPr>
            <a:xfrm>
              <a:off x="1364049" y="5973378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69" name="任意多边形: 形状 10568">
              <a:extLst>
                <a:ext uri="{FF2B5EF4-FFF2-40B4-BE49-F238E27FC236}">
                  <a16:creationId xmlns:a16="http://schemas.microsoft.com/office/drawing/2014/main" id="{3A220281-97F4-406E-BF06-C7C417D034FC}"/>
                </a:ext>
              </a:extLst>
            </p:cNvPr>
            <p:cNvSpPr/>
            <p:nvPr/>
          </p:nvSpPr>
          <p:spPr>
            <a:xfrm>
              <a:off x="1364049" y="5926982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0" name="任意多边形: 形状 10569">
              <a:extLst>
                <a:ext uri="{FF2B5EF4-FFF2-40B4-BE49-F238E27FC236}">
                  <a16:creationId xmlns:a16="http://schemas.microsoft.com/office/drawing/2014/main" id="{C45408D7-AF47-400F-892C-D37AABAD2C25}"/>
                </a:ext>
              </a:extLst>
            </p:cNvPr>
            <p:cNvSpPr/>
            <p:nvPr/>
          </p:nvSpPr>
          <p:spPr>
            <a:xfrm>
              <a:off x="1364049" y="5911517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1" name="任意多边形: 形状 10570">
              <a:extLst>
                <a:ext uri="{FF2B5EF4-FFF2-40B4-BE49-F238E27FC236}">
                  <a16:creationId xmlns:a16="http://schemas.microsoft.com/office/drawing/2014/main" id="{3906DFBF-4653-4D7E-B3BF-364EC505489E}"/>
                </a:ext>
              </a:extLst>
            </p:cNvPr>
            <p:cNvSpPr/>
            <p:nvPr/>
          </p:nvSpPr>
          <p:spPr>
            <a:xfrm>
              <a:off x="1364049" y="5865120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2" name="任意多边形: 形状 10571">
              <a:extLst>
                <a:ext uri="{FF2B5EF4-FFF2-40B4-BE49-F238E27FC236}">
                  <a16:creationId xmlns:a16="http://schemas.microsoft.com/office/drawing/2014/main" id="{D1A4AE19-F87B-412B-9416-3C3E77B17C1B}"/>
                </a:ext>
              </a:extLst>
            </p:cNvPr>
            <p:cNvSpPr/>
            <p:nvPr/>
          </p:nvSpPr>
          <p:spPr>
            <a:xfrm>
              <a:off x="1364049" y="5849655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3" name="任意多边形: 形状 10572">
              <a:extLst>
                <a:ext uri="{FF2B5EF4-FFF2-40B4-BE49-F238E27FC236}">
                  <a16:creationId xmlns:a16="http://schemas.microsoft.com/office/drawing/2014/main" id="{A613217C-5101-4006-9E53-7E7714BE9EFC}"/>
                </a:ext>
              </a:extLst>
            </p:cNvPr>
            <p:cNvSpPr/>
            <p:nvPr/>
          </p:nvSpPr>
          <p:spPr>
            <a:xfrm>
              <a:off x="1364049" y="580325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4" name="任意多边形: 形状 10573">
              <a:extLst>
                <a:ext uri="{FF2B5EF4-FFF2-40B4-BE49-F238E27FC236}">
                  <a16:creationId xmlns:a16="http://schemas.microsoft.com/office/drawing/2014/main" id="{3D1C017B-61AD-4ECD-A46C-ED07AB5A7426}"/>
                </a:ext>
              </a:extLst>
            </p:cNvPr>
            <p:cNvSpPr/>
            <p:nvPr/>
          </p:nvSpPr>
          <p:spPr>
            <a:xfrm>
              <a:off x="1364049" y="578470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5" name="任意多边形: 形状 10574">
              <a:extLst>
                <a:ext uri="{FF2B5EF4-FFF2-40B4-BE49-F238E27FC236}">
                  <a16:creationId xmlns:a16="http://schemas.microsoft.com/office/drawing/2014/main" id="{7249E96F-116D-48AC-8DE0-ACAAA64608A5}"/>
                </a:ext>
              </a:extLst>
            </p:cNvPr>
            <p:cNvSpPr/>
            <p:nvPr/>
          </p:nvSpPr>
          <p:spPr>
            <a:xfrm>
              <a:off x="1364049" y="5741397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6" name="任意多边形: 形状 10575">
              <a:extLst>
                <a:ext uri="{FF2B5EF4-FFF2-40B4-BE49-F238E27FC236}">
                  <a16:creationId xmlns:a16="http://schemas.microsoft.com/office/drawing/2014/main" id="{E254EA46-2EFC-41A3-B06C-645ED2BA3521}"/>
                </a:ext>
              </a:extLst>
            </p:cNvPr>
            <p:cNvSpPr/>
            <p:nvPr/>
          </p:nvSpPr>
          <p:spPr>
            <a:xfrm>
              <a:off x="1364049" y="5722838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7" name="任意多边形: 形状 10576">
              <a:extLst>
                <a:ext uri="{FF2B5EF4-FFF2-40B4-BE49-F238E27FC236}">
                  <a16:creationId xmlns:a16="http://schemas.microsoft.com/office/drawing/2014/main" id="{790281B5-147D-4CC5-B5AA-8985FEAD839E}"/>
                </a:ext>
              </a:extLst>
            </p:cNvPr>
            <p:cNvSpPr/>
            <p:nvPr/>
          </p:nvSpPr>
          <p:spPr>
            <a:xfrm>
              <a:off x="1364049" y="5679535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8" name="任意多边形: 形状 10577">
              <a:extLst>
                <a:ext uri="{FF2B5EF4-FFF2-40B4-BE49-F238E27FC236}">
                  <a16:creationId xmlns:a16="http://schemas.microsoft.com/office/drawing/2014/main" id="{C1A6DDBD-39ED-4EDC-B109-02835D518095}"/>
                </a:ext>
              </a:extLst>
            </p:cNvPr>
            <p:cNvSpPr/>
            <p:nvPr/>
          </p:nvSpPr>
          <p:spPr>
            <a:xfrm>
              <a:off x="1364049" y="5660977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79" name="任意多边形: 形状 10578">
              <a:extLst>
                <a:ext uri="{FF2B5EF4-FFF2-40B4-BE49-F238E27FC236}">
                  <a16:creationId xmlns:a16="http://schemas.microsoft.com/office/drawing/2014/main" id="{82E1E42A-0112-4176-90E4-BEC59AD8FA31}"/>
                </a:ext>
              </a:extLst>
            </p:cNvPr>
            <p:cNvSpPr/>
            <p:nvPr/>
          </p:nvSpPr>
          <p:spPr>
            <a:xfrm>
              <a:off x="1364049" y="5617674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0" name="任意多边形: 形状 10579">
              <a:extLst>
                <a:ext uri="{FF2B5EF4-FFF2-40B4-BE49-F238E27FC236}">
                  <a16:creationId xmlns:a16="http://schemas.microsoft.com/office/drawing/2014/main" id="{B7BCA0AF-4F66-44F8-BDA8-14A080981B4D}"/>
                </a:ext>
              </a:extLst>
            </p:cNvPr>
            <p:cNvSpPr/>
            <p:nvPr/>
          </p:nvSpPr>
          <p:spPr>
            <a:xfrm>
              <a:off x="1364049" y="5599115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1" name="任意多边形: 形状 10580">
              <a:extLst>
                <a:ext uri="{FF2B5EF4-FFF2-40B4-BE49-F238E27FC236}">
                  <a16:creationId xmlns:a16="http://schemas.microsoft.com/office/drawing/2014/main" id="{3E6FFBF3-5B94-4450-98F3-D3BEA321B1A3}"/>
                </a:ext>
              </a:extLst>
            </p:cNvPr>
            <p:cNvSpPr/>
            <p:nvPr/>
          </p:nvSpPr>
          <p:spPr>
            <a:xfrm>
              <a:off x="1364049" y="5555812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2" name="任意多边形: 形状 10581">
              <a:extLst>
                <a:ext uri="{FF2B5EF4-FFF2-40B4-BE49-F238E27FC236}">
                  <a16:creationId xmlns:a16="http://schemas.microsoft.com/office/drawing/2014/main" id="{D857E711-D8DF-4637-A282-FB354B7F7F6B}"/>
                </a:ext>
              </a:extLst>
            </p:cNvPr>
            <p:cNvSpPr/>
            <p:nvPr/>
          </p:nvSpPr>
          <p:spPr>
            <a:xfrm>
              <a:off x="1364049" y="5537253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3" name="任意多边形: 形状 10582">
              <a:extLst>
                <a:ext uri="{FF2B5EF4-FFF2-40B4-BE49-F238E27FC236}">
                  <a16:creationId xmlns:a16="http://schemas.microsoft.com/office/drawing/2014/main" id="{4CDF19B9-A7F8-4E65-8A61-76429F95683F}"/>
                </a:ext>
              </a:extLst>
            </p:cNvPr>
            <p:cNvSpPr/>
            <p:nvPr/>
          </p:nvSpPr>
          <p:spPr>
            <a:xfrm>
              <a:off x="1364049" y="5493950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4" name="任意多边形: 形状 10583">
              <a:extLst>
                <a:ext uri="{FF2B5EF4-FFF2-40B4-BE49-F238E27FC236}">
                  <a16:creationId xmlns:a16="http://schemas.microsoft.com/office/drawing/2014/main" id="{CCA9355C-E3D4-4203-AAD3-02285315449C}"/>
                </a:ext>
              </a:extLst>
            </p:cNvPr>
            <p:cNvSpPr/>
            <p:nvPr/>
          </p:nvSpPr>
          <p:spPr>
            <a:xfrm>
              <a:off x="1364049" y="5475392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5" name="任意多边形: 形状 10584">
              <a:extLst>
                <a:ext uri="{FF2B5EF4-FFF2-40B4-BE49-F238E27FC236}">
                  <a16:creationId xmlns:a16="http://schemas.microsoft.com/office/drawing/2014/main" id="{80EACE0E-BBED-4C87-9B23-7193C09E3902}"/>
                </a:ext>
              </a:extLst>
            </p:cNvPr>
            <p:cNvSpPr/>
            <p:nvPr/>
          </p:nvSpPr>
          <p:spPr>
            <a:xfrm>
              <a:off x="1364049" y="543208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6" name="任意多边形: 形状 10585">
              <a:extLst>
                <a:ext uri="{FF2B5EF4-FFF2-40B4-BE49-F238E27FC236}">
                  <a16:creationId xmlns:a16="http://schemas.microsoft.com/office/drawing/2014/main" id="{E2A30AED-8AEB-4187-A96E-9B5B438CDDB5}"/>
                </a:ext>
              </a:extLst>
            </p:cNvPr>
            <p:cNvSpPr/>
            <p:nvPr/>
          </p:nvSpPr>
          <p:spPr>
            <a:xfrm>
              <a:off x="1364049" y="541353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7" name="任意多边形: 形状 10586">
              <a:extLst>
                <a:ext uri="{FF2B5EF4-FFF2-40B4-BE49-F238E27FC236}">
                  <a16:creationId xmlns:a16="http://schemas.microsoft.com/office/drawing/2014/main" id="{5F2C8413-24C3-4324-9454-BF856B1037F3}"/>
                </a:ext>
              </a:extLst>
            </p:cNvPr>
            <p:cNvSpPr/>
            <p:nvPr/>
          </p:nvSpPr>
          <p:spPr>
            <a:xfrm>
              <a:off x="1419724" y="6248663"/>
              <a:ext cx="2196089" cy="278377"/>
            </a:xfrm>
            <a:custGeom>
              <a:avLst/>
              <a:gdLst>
                <a:gd name="connsiteX0" fmla="*/ 2208462 w 2196089"/>
                <a:gd name="connsiteY0" fmla="*/ 160840 h 278377"/>
                <a:gd name="connsiteX1" fmla="*/ 0 w 2196089"/>
                <a:gd name="connsiteY1" fmla="*/ 300029 h 278377"/>
                <a:gd name="connsiteX2" fmla="*/ 0 w 2196089"/>
                <a:gd name="connsiteY2" fmla="*/ 188678 h 278377"/>
                <a:gd name="connsiteX3" fmla="*/ 2208462 w 2196089"/>
                <a:gd name="connsiteY3" fmla="*/ 0 h 27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278377">
                  <a:moveTo>
                    <a:pt x="2208462" y="160840"/>
                  </a:moveTo>
                  <a:lnTo>
                    <a:pt x="0" y="300029"/>
                  </a:lnTo>
                  <a:lnTo>
                    <a:pt x="0" y="188678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8" name="任意多边形: 形状 10587">
              <a:extLst>
                <a:ext uri="{FF2B5EF4-FFF2-40B4-BE49-F238E27FC236}">
                  <a16:creationId xmlns:a16="http://schemas.microsoft.com/office/drawing/2014/main" id="{A237D77E-2993-4662-92F4-7A8AD68DD1BF}"/>
                </a:ext>
              </a:extLst>
            </p:cNvPr>
            <p:cNvSpPr/>
            <p:nvPr/>
          </p:nvSpPr>
          <p:spPr>
            <a:xfrm>
              <a:off x="1419724" y="6279594"/>
              <a:ext cx="2196089" cy="556755"/>
            </a:xfrm>
            <a:custGeom>
              <a:avLst/>
              <a:gdLst>
                <a:gd name="connsiteX0" fmla="*/ 2208462 w 2196089"/>
                <a:gd name="connsiteY0" fmla="*/ 575313 h 556754"/>
                <a:gd name="connsiteX1" fmla="*/ 0 w 2196089"/>
                <a:gd name="connsiteY1" fmla="*/ 575313 h 556754"/>
                <a:gd name="connsiteX2" fmla="*/ 0 w 2196089"/>
                <a:gd name="connsiteY2" fmla="*/ 179399 h 556754"/>
                <a:gd name="connsiteX3" fmla="*/ 2208462 w 2196089"/>
                <a:gd name="connsiteY3" fmla="*/ 0 h 55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556754">
                  <a:moveTo>
                    <a:pt x="2208462" y="575313"/>
                  </a:moveTo>
                  <a:lnTo>
                    <a:pt x="0" y="575313"/>
                  </a:lnTo>
                  <a:lnTo>
                    <a:pt x="0" y="179399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DDB1B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89" name="任意多边形: 形状 10588">
              <a:extLst>
                <a:ext uri="{FF2B5EF4-FFF2-40B4-BE49-F238E27FC236}">
                  <a16:creationId xmlns:a16="http://schemas.microsoft.com/office/drawing/2014/main" id="{A47DBCC4-5ACB-4BA5-9A99-306ACBD58D93}"/>
                </a:ext>
              </a:extLst>
            </p:cNvPr>
            <p:cNvSpPr/>
            <p:nvPr/>
          </p:nvSpPr>
          <p:spPr>
            <a:xfrm>
              <a:off x="1419724" y="6533226"/>
              <a:ext cx="61862" cy="309308"/>
            </a:xfrm>
            <a:custGeom>
              <a:avLst/>
              <a:gdLst>
                <a:gd name="connsiteX0" fmla="*/ 74234 w 61861"/>
                <a:gd name="connsiteY0" fmla="*/ 321681 h 309308"/>
                <a:gd name="connsiteX1" fmla="*/ 0 w 61861"/>
                <a:gd name="connsiteY1" fmla="*/ 321681 h 309308"/>
                <a:gd name="connsiteX2" fmla="*/ 0 w 61861"/>
                <a:gd name="connsiteY2" fmla="*/ 3093 h 309308"/>
                <a:gd name="connsiteX3" fmla="*/ 74234 w 61861"/>
                <a:gd name="connsiteY3" fmla="*/ 0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09308">
                  <a:moveTo>
                    <a:pt x="74234" y="321681"/>
                  </a:moveTo>
                  <a:lnTo>
                    <a:pt x="0" y="321681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0" name="任意多边形: 形状 10589">
              <a:extLst>
                <a:ext uri="{FF2B5EF4-FFF2-40B4-BE49-F238E27FC236}">
                  <a16:creationId xmlns:a16="http://schemas.microsoft.com/office/drawing/2014/main" id="{9B65F119-A57C-42E2-BEC8-52BAEBA09783}"/>
                </a:ext>
              </a:extLst>
            </p:cNvPr>
            <p:cNvSpPr/>
            <p:nvPr/>
          </p:nvSpPr>
          <p:spPr>
            <a:xfrm>
              <a:off x="1633147" y="6520854"/>
              <a:ext cx="61862" cy="309308"/>
            </a:xfrm>
            <a:custGeom>
              <a:avLst/>
              <a:gdLst>
                <a:gd name="connsiteX0" fmla="*/ 74234 w 61861"/>
                <a:gd name="connsiteY0" fmla="*/ 334053 h 309308"/>
                <a:gd name="connsiteX1" fmla="*/ 0 w 61861"/>
                <a:gd name="connsiteY1" fmla="*/ 334053 h 309308"/>
                <a:gd name="connsiteX2" fmla="*/ 0 w 61861"/>
                <a:gd name="connsiteY2" fmla="*/ 3093 h 309308"/>
                <a:gd name="connsiteX3" fmla="*/ 74234 w 61861"/>
                <a:gd name="connsiteY3" fmla="*/ 0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09308">
                  <a:moveTo>
                    <a:pt x="74234" y="334053"/>
                  </a:moveTo>
                  <a:lnTo>
                    <a:pt x="0" y="334053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1" name="任意多边形: 形状 10590">
              <a:extLst>
                <a:ext uri="{FF2B5EF4-FFF2-40B4-BE49-F238E27FC236}">
                  <a16:creationId xmlns:a16="http://schemas.microsoft.com/office/drawing/2014/main" id="{78350211-9620-4C24-BA5E-25C79397B070}"/>
                </a:ext>
              </a:extLst>
            </p:cNvPr>
            <p:cNvSpPr/>
            <p:nvPr/>
          </p:nvSpPr>
          <p:spPr>
            <a:xfrm>
              <a:off x="1846570" y="6505388"/>
              <a:ext cx="61862" cy="340239"/>
            </a:xfrm>
            <a:custGeom>
              <a:avLst/>
              <a:gdLst>
                <a:gd name="connsiteX0" fmla="*/ 74234 w 61861"/>
                <a:gd name="connsiteY0" fmla="*/ 349519 h 340239"/>
                <a:gd name="connsiteX1" fmla="*/ 0 w 61861"/>
                <a:gd name="connsiteY1" fmla="*/ 349519 h 340239"/>
                <a:gd name="connsiteX2" fmla="*/ 0 w 61861"/>
                <a:gd name="connsiteY2" fmla="*/ 6186 h 340239"/>
                <a:gd name="connsiteX3" fmla="*/ 74234 w 61861"/>
                <a:gd name="connsiteY3" fmla="*/ 0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40239">
                  <a:moveTo>
                    <a:pt x="74234" y="349519"/>
                  </a:moveTo>
                  <a:lnTo>
                    <a:pt x="0" y="349519"/>
                  </a:lnTo>
                  <a:lnTo>
                    <a:pt x="0" y="6186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2" name="任意多边形: 形状 10591">
              <a:extLst>
                <a:ext uri="{FF2B5EF4-FFF2-40B4-BE49-F238E27FC236}">
                  <a16:creationId xmlns:a16="http://schemas.microsoft.com/office/drawing/2014/main" id="{3F24FD6B-F9B4-4F73-A724-3B1BD9CB494E}"/>
                </a:ext>
              </a:extLst>
            </p:cNvPr>
            <p:cNvSpPr/>
            <p:nvPr/>
          </p:nvSpPr>
          <p:spPr>
            <a:xfrm>
              <a:off x="2059992" y="6493016"/>
              <a:ext cx="61862" cy="340239"/>
            </a:xfrm>
            <a:custGeom>
              <a:avLst/>
              <a:gdLst>
                <a:gd name="connsiteX0" fmla="*/ 74234 w 61861"/>
                <a:gd name="connsiteY0" fmla="*/ 361891 h 340239"/>
                <a:gd name="connsiteX1" fmla="*/ 0 w 61861"/>
                <a:gd name="connsiteY1" fmla="*/ 361891 h 340239"/>
                <a:gd name="connsiteX2" fmla="*/ 0 w 61861"/>
                <a:gd name="connsiteY2" fmla="*/ 3093 h 340239"/>
                <a:gd name="connsiteX3" fmla="*/ 74234 w 61861"/>
                <a:gd name="connsiteY3" fmla="*/ 0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40239">
                  <a:moveTo>
                    <a:pt x="74234" y="361891"/>
                  </a:moveTo>
                  <a:lnTo>
                    <a:pt x="0" y="361891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3" name="任意多边形: 形状 10592">
              <a:extLst>
                <a:ext uri="{FF2B5EF4-FFF2-40B4-BE49-F238E27FC236}">
                  <a16:creationId xmlns:a16="http://schemas.microsoft.com/office/drawing/2014/main" id="{2F7B1DBD-EAFD-422B-A64E-321B523EC3A0}"/>
                </a:ext>
              </a:extLst>
            </p:cNvPr>
            <p:cNvSpPr/>
            <p:nvPr/>
          </p:nvSpPr>
          <p:spPr>
            <a:xfrm>
              <a:off x="2273415" y="6477551"/>
              <a:ext cx="61862" cy="371170"/>
            </a:xfrm>
            <a:custGeom>
              <a:avLst/>
              <a:gdLst>
                <a:gd name="connsiteX0" fmla="*/ 71141 w 61861"/>
                <a:gd name="connsiteY0" fmla="*/ 377356 h 371169"/>
                <a:gd name="connsiteX1" fmla="*/ 0 w 61861"/>
                <a:gd name="connsiteY1" fmla="*/ 377356 h 371169"/>
                <a:gd name="connsiteX2" fmla="*/ 0 w 61861"/>
                <a:gd name="connsiteY2" fmla="*/ 6186 h 371169"/>
                <a:gd name="connsiteX3" fmla="*/ 71141 w 61861"/>
                <a:gd name="connsiteY3" fmla="*/ 0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71169">
                  <a:moveTo>
                    <a:pt x="71141" y="377356"/>
                  </a:moveTo>
                  <a:lnTo>
                    <a:pt x="0" y="377356"/>
                  </a:lnTo>
                  <a:lnTo>
                    <a:pt x="0" y="6186"/>
                  </a:lnTo>
                  <a:lnTo>
                    <a:pt x="71141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4" name="任意多边形: 形状 10593">
              <a:extLst>
                <a:ext uri="{FF2B5EF4-FFF2-40B4-BE49-F238E27FC236}">
                  <a16:creationId xmlns:a16="http://schemas.microsoft.com/office/drawing/2014/main" id="{A139DE73-37CE-4D31-8EF2-B91D0DE97BA8}"/>
                </a:ext>
              </a:extLst>
            </p:cNvPr>
            <p:cNvSpPr/>
            <p:nvPr/>
          </p:nvSpPr>
          <p:spPr>
            <a:xfrm>
              <a:off x="2483745" y="6465179"/>
              <a:ext cx="61862" cy="371170"/>
            </a:xfrm>
            <a:custGeom>
              <a:avLst/>
              <a:gdLst>
                <a:gd name="connsiteX0" fmla="*/ 74234 w 61861"/>
                <a:gd name="connsiteY0" fmla="*/ 389728 h 371169"/>
                <a:gd name="connsiteX1" fmla="*/ 0 w 61861"/>
                <a:gd name="connsiteY1" fmla="*/ 389728 h 371169"/>
                <a:gd name="connsiteX2" fmla="*/ 0 w 61861"/>
                <a:gd name="connsiteY2" fmla="*/ 3093 h 371169"/>
                <a:gd name="connsiteX3" fmla="*/ 74234 w 61861"/>
                <a:gd name="connsiteY3" fmla="*/ 0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71169">
                  <a:moveTo>
                    <a:pt x="74234" y="389728"/>
                  </a:moveTo>
                  <a:lnTo>
                    <a:pt x="0" y="389728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5" name="任意多边形: 形状 10594">
              <a:extLst>
                <a:ext uri="{FF2B5EF4-FFF2-40B4-BE49-F238E27FC236}">
                  <a16:creationId xmlns:a16="http://schemas.microsoft.com/office/drawing/2014/main" id="{EDD2872D-B2FC-47DA-A638-E2EB945C45AE}"/>
                </a:ext>
              </a:extLst>
            </p:cNvPr>
            <p:cNvSpPr/>
            <p:nvPr/>
          </p:nvSpPr>
          <p:spPr>
            <a:xfrm>
              <a:off x="2697168" y="6449713"/>
              <a:ext cx="61862" cy="402101"/>
            </a:xfrm>
            <a:custGeom>
              <a:avLst/>
              <a:gdLst>
                <a:gd name="connsiteX0" fmla="*/ 74234 w 61861"/>
                <a:gd name="connsiteY0" fmla="*/ 405194 h 402100"/>
                <a:gd name="connsiteX1" fmla="*/ 0 w 61861"/>
                <a:gd name="connsiteY1" fmla="*/ 405194 h 402100"/>
                <a:gd name="connsiteX2" fmla="*/ 0 w 61861"/>
                <a:gd name="connsiteY2" fmla="*/ 6186 h 402100"/>
                <a:gd name="connsiteX3" fmla="*/ 74234 w 61861"/>
                <a:gd name="connsiteY3" fmla="*/ 0 h 4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02100">
                  <a:moveTo>
                    <a:pt x="74234" y="405194"/>
                  </a:moveTo>
                  <a:lnTo>
                    <a:pt x="0" y="405194"/>
                  </a:lnTo>
                  <a:lnTo>
                    <a:pt x="0" y="6186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6" name="任意多边形: 形状 10595">
              <a:extLst>
                <a:ext uri="{FF2B5EF4-FFF2-40B4-BE49-F238E27FC236}">
                  <a16:creationId xmlns:a16="http://schemas.microsoft.com/office/drawing/2014/main" id="{C33B1B7C-097B-4FDF-9A98-A828D3A23B03}"/>
                </a:ext>
              </a:extLst>
            </p:cNvPr>
            <p:cNvSpPr/>
            <p:nvPr/>
          </p:nvSpPr>
          <p:spPr>
            <a:xfrm>
              <a:off x="2910590" y="6437341"/>
              <a:ext cx="61862" cy="402101"/>
            </a:xfrm>
            <a:custGeom>
              <a:avLst/>
              <a:gdLst>
                <a:gd name="connsiteX0" fmla="*/ 74234 w 61861"/>
                <a:gd name="connsiteY0" fmla="*/ 417566 h 402100"/>
                <a:gd name="connsiteX1" fmla="*/ 0 w 61861"/>
                <a:gd name="connsiteY1" fmla="*/ 417566 h 402100"/>
                <a:gd name="connsiteX2" fmla="*/ 0 w 61861"/>
                <a:gd name="connsiteY2" fmla="*/ 3093 h 402100"/>
                <a:gd name="connsiteX3" fmla="*/ 74234 w 61861"/>
                <a:gd name="connsiteY3" fmla="*/ 0 h 4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02100">
                  <a:moveTo>
                    <a:pt x="74234" y="417566"/>
                  </a:moveTo>
                  <a:lnTo>
                    <a:pt x="0" y="417566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7" name="任意多边形: 形状 10596">
              <a:extLst>
                <a:ext uri="{FF2B5EF4-FFF2-40B4-BE49-F238E27FC236}">
                  <a16:creationId xmlns:a16="http://schemas.microsoft.com/office/drawing/2014/main" id="{2BE95AF5-9E9C-4D7B-A0FE-6C0015D1D017}"/>
                </a:ext>
              </a:extLst>
            </p:cNvPr>
            <p:cNvSpPr/>
            <p:nvPr/>
          </p:nvSpPr>
          <p:spPr>
            <a:xfrm>
              <a:off x="3124013" y="6421875"/>
              <a:ext cx="61862" cy="433032"/>
            </a:xfrm>
            <a:custGeom>
              <a:avLst/>
              <a:gdLst>
                <a:gd name="connsiteX0" fmla="*/ 74234 w 61861"/>
                <a:gd name="connsiteY0" fmla="*/ 433032 h 433031"/>
                <a:gd name="connsiteX1" fmla="*/ 0 w 61861"/>
                <a:gd name="connsiteY1" fmla="*/ 433032 h 433031"/>
                <a:gd name="connsiteX2" fmla="*/ 0 w 61861"/>
                <a:gd name="connsiteY2" fmla="*/ 6186 h 433031"/>
                <a:gd name="connsiteX3" fmla="*/ 74234 w 61861"/>
                <a:gd name="connsiteY3" fmla="*/ 0 h 4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33031">
                  <a:moveTo>
                    <a:pt x="74234" y="433032"/>
                  </a:moveTo>
                  <a:lnTo>
                    <a:pt x="0" y="433032"/>
                  </a:lnTo>
                  <a:lnTo>
                    <a:pt x="0" y="6186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8" name="任意多边形: 形状 10597">
              <a:extLst>
                <a:ext uri="{FF2B5EF4-FFF2-40B4-BE49-F238E27FC236}">
                  <a16:creationId xmlns:a16="http://schemas.microsoft.com/office/drawing/2014/main" id="{6658C3EB-FD2A-433B-AD69-62F75D3CDC3B}"/>
                </a:ext>
              </a:extLst>
            </p:cNvPr>
            <p:cNvSpPr/>
            <p:nvPr/>
          </p:nvSpPr>
          <p:spPr>
            <a:xfrm>
              <a:off x="3337436" y="6409503"/>
              <a:ext cx="61862" cy="433032"/>
            </a:xfrm>
            <a:custGeom>
              <a:avLst/>
              <a:gdLst>
                <a:gd name="connsiteX0" fmla="*/ 71141 w 61861"/>
                <a:gd name="connsiteY0" fmla="*/ 445404 h 433031"/>
                <a:gd name="connsiteX1" fmla="*/ 0 w 61861"/>
                <a:gd name="connsiteY1" fmla="*/ 445404 h 433031"/>
                <a:gd name="connsiteX2" fmla="*/ 0 w 61861"/>
                <a:gd name="connsiteY2" fmla="*/ 6186 h 433031"/>
                <a:gd name="connsiteX3" fmla="*/ 71141 w 61861"/>
                <a:gd name="connsiteY3" fmla="*/ 0 h 4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33031">
                  <a:moveTo>
                    <a:pt x="71141" y="445404"/>
                  </a:moveTo>
                  <a:lnTo>
                    <a:pt x="0" y="445404"/>
                  </a:lnTo>
                  <a:lnTo>
                    <a:pt x="0" y="6186"/>
                  </a:lnTo>
                  <a:lnTo>
                    <a:pt x="71141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99" name="任意多边形: 形状 10598">
              <a:extLst>
                <a:ext uri="{FF2B5EF4-FFF2-40B4-BE49-F238E27FC236}">
                  <a16:creationId xmlns:a16="http://schemas.microsoft.com/office/drawing/2014/main" id="{1716EC9A-E90B-4021-A903-8ECC1DE6044A}"/>
                </a:ext>
              </a:extLst>
            </p:cNvPr>
            <p:cNvSpPr/>
            <p:nvPr/>
          </p:nvSpPr>
          <p:spPr>
            <a:xfrm>
              <a:off x="3550859" y="6397131"/>
              <a:ext cx="61862" cy="433032"/>
            </a:xfrm>
            <a:custGeom>
              <a:avLst/>
              <a:gdLst>
                <a:gd name="connsiteX0" fmla="*/ 71141 w 61861"/>
                <a:gd name="connsiteY0" fmla="*/ 457776 h 433031"/>
                <a:gd name="connsiteX1" fmla="*/ 0 w 61861"/>
                <a:gd name="connsiteY1" fmla="*/ 457776 h 433031"/>
                <a:gd name="connsiteX2" fmla="*/ 0 w 61861"/>
                <a:gd name="connsiteY2" fmla="*/ 3093 h 433031"/>
                <a:gd name="connsiteX3" fmla="*/ 71141 w 61861"/>
                <a:gd name="connsiteY3" fmla="*/ 0 h 4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33031">
                  <a:moveTo>
                    <a:pt x="71141" y="457776"/>
                  </a:moveTo>
                  <a:lnTo>
                    <a:pt x="0" y="457776"/>
                  </a:lnTo>
                  <a:lnTo>
                    <a:pt x="0" y="3093"/>
                  </a:lnTo>
                  <a:lnTo>
                    <a:pt x="71141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0" name="任意多边形: 形状 10599">
              <a:extLst>
                <a:ext uri="{FF2B5EF4-FFF2-40B4-BE49-F238E27FC236}">
                  <a16:creationId xmlns:a16="http://schemas.microsoft.com/office/drawing/2014/main" id="{2DE2174D-0EBF-420B-82AB-367057589F12}"/>
                </a:ext>
              </a:extLst>
            </p:cNvPr>
            <p:cNvSpPr/>
            <p:nvPr/>
          </p:nvSpPr>
          <p:spPr>
            <a:xfrm>
              <a:off x="1419724" y="6035240"/>
              <a:ext cx="2196089" cy="494893"/>
            </a:xfrm>
            <a:custGeom>
              <a:avLst/>
              <a:gdLst>
                <a:gd name="connsiteX0" fmla="*/ 2208462 w 2196089"/>
                <a:gd name="connsiteY0" fmla="*/ 358798 h 494893"/>
                <a:gd name="connsiteX1" fmla="*/ 0 w 2196089"/>
                <a:gd name="connsiteY1" fmla="*/ 501079 h 494893"/>
                <a:gd name="connsiteX2" fmla="*/ 0 w 2196089"/>
                <a:gd name="connsiteY2" fmla="*/ 253633 h 494893"/>
                <a:gd name="connsiteX3" fmla="*/ 2208462 w 2196089"/>
                <a:gd name="connsiteY3" fmla="*/ 0 h 49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494893">
                  <a:moveTo>
                    <a:pt x="2208462" y="358798"/>
                  </a:moveTo>
                  <a:lnTo>
                    <a:pt x="0" y="501079"/>
                  </a:lnTo>
                  <a:lnTo>
                    <a:pt x="0" y="253633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1" name="任意多边形: 形状 10600">
              <a:extLst>
                <a:ext uri="{FF2B5EF4-FFF2-40B4-BE49-F238E27FC236}">
                  <a16:creationId xmlns:a16="http://schemas.microsoft.com/office/drawing/2014/main" id="{47D30E61-7945-4F7D-AC27-51F5809B36A3}"/>
                </a:ext>
              </a:extLst>
            </p:cNvPr>
            <p:cNvSpPr/>
            <p:nvPr/>
          </p:nvSpPr>
          <p:spPr>
            <a:xfrm>
              <a:off x="1419724" y="6248663"/>
              <a:ext cx="2196089" cy="278377"/>
            </a:xfrm>
            <a:custGeom>
              <a:avLst/>
              <a:gdLst>
                <a:gd name="connsiteX0" fmla="*/ 2208462 w 2196089"/>
                <a:gd name="connsiteY0" fmla="*/ 160840 h 278377"/>
                <a:gd name="connsiteX1" fmla="*/ 0 w 2196089"/>
                <a:gd name="connsiteY1" fmla="*/ 300029 h 278377"/>
                <a:gd name="connsiteX2" fmla="*/ 0 w 2196089"/>
                <a:gd name="connsiteY2" fmla="*/ 188678 h 278377"/>
                <a:gd name="connsiteX3" fmla="*/ 2208462 w 2196089"/>
                <a:gd name="connsiteY3" fmla="*/ 0 h 27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278377">
                  <a:moveTo>
                    <a:pt x="2208462" y="160840"/>
                  </a:moveTo>
                  <a:lnTo>
                    <a:pt x="0" y="300029"/>
                  </a:lnTo>
                  <a:lnTo>
                    <a:pt x="0" y="188678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2" name="任意多边形: 形状 10601">
              <a:extLst>
                <a:ext uri="{FF2B5EF4-FFF2-40B4-BE49-F238E27FC236}">
                  <a16:creationId xmlns:a16="http://schemas.microsoft.com/office/drawing/2014/main" id="{04A864FD-C360-492C-8DC1-507C1D0C2C85}"/>
                </a:ext>
              </a:extLst>
            </p:cNvPr>
            <p:cNvSpPr/>
            <p:nvPr/>
          </p:nvSpPr>
          <p:spPr>
            <a:xfrm>
              <a:off x="1429004" y="5880586"/>
              <a:ext cx="2196089" cy="463962"/>
            </a:xfrm>
            <a:custGeom>
              <a:avLst/>
              <a:gdLst>
                <a:gd name="connsiteX0" fmla="*/ 2205369 w 2196089"/>
                <a:gd name="connsiteY0" fmla="*/ 256726 h 463962"/>
                <a:gd name="connsiteX1" fmla="*/ 0 w 2196089"/>
                <a:gd name="connsiteY1" fmla="*/ 479428 h 463962"/>
                <a:gd name="connsiteX2" fmla="*/ 0 w 2196089"/>
                <a:gd name="connsiteY2" fmla="*/ 303122 h 463962"/>
                <a:gd name="connsiteX3" fmla="*/ 2205369 w 2196089"/>
                <a:gd name="connsiteY3" fmla="*/ 0 h 46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463962">
                  <a:moveTo>
                    <a:pt x="2205369" y="256726"/>
                  </a:moveTo>
                  <a:lnTo>
                    <a:pt x="0" y="479428"/>
                  </a:lnTo>
                  <a:lnTo>
                    <a:pt x="0" y="303122"/>
                  </a:lnTo>
                  <a:lnTo>
                    <a:pt x="2205369" y="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3" name="任意多边形: 形状 10602">
              <a:extLst>
                <a:ext uri="{FF2B5EF4-FFF2-40B4-BE49-F238E27FC236}">
                  <a16:creationId xmlns:a16="http://schemas.microsoft.com/office/drawing/2014/main" id="{3310784A-BA84-4689-AE50-0CEE5117BDA4}"/>
                </a:ext>
              </a:extLst>
            </p:cNvPr>
            <p:cNvSpPr/>
            <p:nvPr/>
          </p:nvSpPr>
          <p:spPr>
            <a:xfrm>
              <a:off x="1410445" y="5862027"/>
              <a:ext cx="2227020" cy="494893"/>
            </a:xfrm>
            <a:custGeom>
              <a:avLst/>
              <a:gdLst>
                <a:gd name="connsiteX0" fmla="*/ 0 w 2227020"/>
                <a:gd name="connsiteY0" fmla="*/ 516545 h 494893"/>
                <a:gd name="connsiteX1" fmla="*/ 0 w 2227020"/>
                <a:gd name="connsiteY1" fmla="*/ 306215 h 494893"/>
                <a:gd name="connsiteX2" fmla="*/ 2239393 w 2227020"/>
                <a:gd name="connsiteY2" fmla="*/ 0 h 494893"/>
                <a:gd name="connsiteX3" fmla="*/ 2239393 w 2227020"/>
                <a:gd name="connsiteY3" fmla="*/ 290750 h 494893"/>
                <a:gd name="connsiteX4" fmla="*/ 0 w 2227020"/>
                <a:gd name="connsiteY4" fmla="*/ 516545 h 494893"/>
                <a:gd name="connsiteX5" fmla="*/ 34024 w 2227020"/>
                <a:gd name="connsiteY5" fmla="*/ 337146 h 494893"/>
                <a:gd name="connsiteX6" fmla="*/ 34024 w 2227020"/>
                <a:gd name="connsiteY6" fmla="*/ 479428 h 494893"/>
                <a:gd name="connsiteX7" fmla="*/ 2205369 w 2227020"/>
                <a:gd name="connsiteY7" fmla="*/ 259819 h 494893"/>
                <a:gd name="connsiteX8" fmla="*/ 2205369 w 2227020"/>
                <a:gd name="connsiteY8" fmla="*/ 40210 h 494893"/>
                <a:gd name="connsiteX9" fmla="*/ 34024 w 2227020"/>
                <a:gd name="connsiteY9" fmla="*/ 337146 h 49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7020" h="494893">
                  <a:moveTo>
                    <a:pt x="0" y="516545"/>
                  </a:moveTo>
                  <a:lnTo>
                    <a:pt x="0" y="306215"/>
                  </a:lnTo>
                  <a:lnTo>
                    <a:pt x="2239393" y="0"/>
                  </a:lnTo>
                  <a:lnTo>
                    <a:pt x="2239393" y="290750"/>
                  </a:lnTo>
                  <a:lnTo>
                    <a:pt x="0" y="516545"/>
                  </a:lnTo>
                  <a:close/>
                  <a:moveTo>
                    <a:pt x="34024" y="337146"/>
                  </a:moveTo>
                  <a:lnTo>
                    <a:pt x="34024" y="479428"/>
                  </a:lnTo>
                  <a:lnTo>
                    <a:pt x="2205369" y="259819"/>
                  </a:lnTo>
                  <a:lnTo>
                    <a:pt x="2205369" y="40210"/>
                  </a:lnTo>
                  <a:lnTo>
                    <a:pt x="34024" y="337146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4" name="任意多边形: 形状 10603">
              <a:extLst>
                <a:ext uri="{FF2B5EF4-FFF2-40B4-BE49-F238E27FC236}">
                  <a16:creationId xmlns:a16="http://schemas.microsoft.com/office/drawing/2014/main" id="{9CD5C9CD-DCC8-4A88-BED3-9B3B7EEC6E1F}"/>
                </a:ext>
              </a:extLst>
            </p:cNvPr>
            <p:cNvSpPr/>
            <p:nvPr/>
          </p:nvSpPr>
          <p:spPr>
            <a:xfrm>
              <a:off x="3990077" y="6087822"/>
              <a:ext cx="216516" cy="742340"/>
            </a:xfrm>
            <a:custGeom>
              <a:avLst/>
              <a:gdLst>
                <a:gd name="connsiteX0" fmla="*/ 0 w 216515"/>
                <a:gd name="connsiteY0" fmla="*/ 0 h 742339"/>
                <a:gd name="connsiteX1" fmla="*/ 241261 w 216515"/>
                <a:gd name="connsiteY1" fmla="*/ 0 h 742339"/>
                <a:gd name="connsiteX2" fmla="*/ 241261 w 216515"/>
                <a:gd name="connsiteY2" fmla="*/ 767085 h 742339"/>
                <a:gd name="connsiteX3" fmla="*/ 0 w 216515"/>
                <a:gd name="connsiteY3" fmla="*/ 767085 h 74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742339">
                  <a:moveTo>
                    <a:pt x="0" y="0"/>
                  </a:moveTo>
                  <a:lnTo>
                    <a:pt x="241261" y="0"/>
                  </a:lnTo>
                  <a:lnTo>
                    <a:pt x="241261" y="767085"/>
                  </a:lnTo>
                  <a:lnTo>
                    <a:pt x="0" y="767085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5" name="任意多边形: 形状 10604">
              <a:extLst>
                <a:ext uri="{FF2B5EF4-FFF2-40B4-BE49-F238E27FC236}">
                  <a16:creationId xmlns:a16="http://schemas.microsoft.com/office/drawing/2014/main" id="{FF0AA445-E22E-4D3B-BBDE-0ACEF766C921}"/>
                </a:ext>
              </a:extLst>
            </p:cNvPr>
            <p:cNvSpPr/>
            <p:nvPr/>
          </p:nvSpPr>
          <p:spPr>
            <a:xfrm>
              <a:off x="3872539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2 w 61861"/>
                <a:gd name="connsiteY1" fmla="*/ 0 h 185584"/>
                <a:gd name="connsiteX2" fmla="*/ 61862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2" y="0"/>
                  </a:lnTo>
                  <a:lnTo>
                    <a:pt x="61862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6" name="任意多边形: 形状 10605">
              <a:extLst>
                <a:ext uri="{FF2B5EF4-FFF2-40B4-BE49-F238E27FC236}">
                  <a16:creationId xmlns:a16="http://schemas.microsoft.com/office/drawing/2014/main" id="{767F1B75-CCA8-425D-8430-8A9D4B3148A5}"/>
                </a:ext>
              </a:extLst>
            </p:cNvPr>
            <p:cNvSpPr/>
            <p:nvPr/>
          </p:nvSpPr>
          <p:spPr>
            <a:xfrm>
              <a:off x="4209685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2 w 61861"/>
                <a:gd name="connsiteY1" fmla="*/ 0 h 185584"/>
                <a:gd name="connsiteX2" fmla="*/ 61862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2" y="0"/>
                  </a:lnTo>
                  <a:lnTo>
                    <a:pt x="61862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7" name="任意多边形: 形状 10606">
              <a:extLst>
                <a:ext uri="{FF2B5EF4-FFF2-40B4-BE49-F238E27FC236}">
                  <a16:creationId xmlns:a16="http://schemas.microsoft.com/office/drawing/2014/main" id="{4A10CBB1-3E18-48DE-B67D-E320A6FC28A7}"/>
                </a:ext>
              </a:extLst>
            </p:cNvPr>
            <p:cNvSpPr/>
            <p:nvPr/>
          </p:nvSpPr>
          <p:spPr>
            <a:xfrm>
              <a:off x="4546832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2 w 61861"/>
                <a:gd name="connsiteY1" fmla="*/ 0 h 185584"/>
                <a:gd name="connsiteX2" fmla="*/ 61862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2" y="0"/>
                  </a:lnTo>
                  <a:lnTo>
                    <a:pt x="61862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8" name="任意多边形: 形状 10607">
              <a:extLst>
                <a:ext uri="{FF2B5EF4-FFF2-40B4-BE49-F238E27FC236}">
                  <a16:creationId xmlns:a16="http://schemas.microsoft.com/office/drawing/2014/main" id="{F3012CAC-3551-48D3-81E3-EDEBA14F3126}"/>
                </a:ext>
              </a:extLst>
            </p:cNvPr>
            <p:cNvSpPr/>
            <p:nvPr/>
          </p:nvSpPr>
          <p:spPr>
            <a:xfrm>
              <a:off x="4883978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1 w 61861"/>
                <a:gd name="connsiteY1" fmla="*/ 0 h 185584"/>
                <a:gd name="connsiteX2" fmla="*/ 61861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1" y="0"/>
                  </a:lnTo>
                  <a:lnTo>
                    <a:pt x="61861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09" name="任意多边形: 形状 10608">
              <a:extLst>
                <a:ext uri="{FF2B5EF4-FFF2-40B4-BE49-F238E27FC236}">
                  <a16:creationId xmlns:a16="http://schemas.microsoft.com/office/drawing/2014/main" id="{BF627A0A-9944-4806-BA21-8B96EC7D6C9B}"/>
                </a:ext>
              </a:extLst>
            </p:cNvPr>
            <p:cNvSpPr/>
            <p:nvPr/>
          </p:nvSpPr>
          <p:spPr>
            <a:xfrm>
              <a:off x="3686954" y="6353764"/>
              <a:ext cx="463963" cy="371170"/>
            </a:xfrm>
            <a:custGeom>
              <a:avLst/>
              <a:gdLst>
                <a:gd name="connsiteX0" fmla="*/ 491801 w 463962"/>
                <a:gd name="connsiteY0" fmla="*/ 244417 h 371169"/>
                <a:gd name="connsiteX1" fmla="*/ 253633 w 463962"/>
                <a:gd name="connsiteY1" fmla="*/ 399071 h 371169"/>
                <a:gd name="connsiteX2" fmla="*/ 0 w 463962"/>
                <a:gd name="connsiteY2" fmla="*/ 244417 h 371169"/>
                <a:gd name="connsiteX3" fmla="*/ 244354 w 463962"/>
                <a:gd name="connsiteY3" fmla="*/ 63 h 371169"/>
                <a:gd name="connsiteX4" fmla="*/ 491801 w 463962"/>
                <a:gd name="connsiteY4" fmla="*/ 244417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1" y="244417"/>
                  </a:moveTo>
                  <a:cubicBezTo>
                    <a:pt x="491801" y="380512"/>
                    <a:pt x="389729" y="399071"/>
                    <a:pt x="253633" y="399071"/>
                  </a:cubicBezTo>
                  <a:cubicBezTo>
                    <a:pt x="117537" y="399071"/>
                    <a:pt x="0" y="380512"/>
                    <a:pt x="0" y="244417"/>
                  </a:cubicBezTo>
                  <a:cubicBezTo>
                    <a:pt x="0" y="108321"/>
                    <a:pt x="108258" y="63"/>
                    <a:pt x="244354" y="63"/>
                  </a:cubicBezTo>
                  <a:cubicBezTo>
                    <a:pt x="380449" y="-3030"/>
                    <a:pt x="491801" y="108321"/>
                    <a:pt x="491801" y="24441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0" name="任意多边形: 形状 10609">
              <a:extLst>
                <a:ext uri="{FF2B5EF4-FFF2-40B4-BE49-F238E27FC236}">
                  <a16:creationId xmlns:a16="http://schemas.microsoft.com/office/drawing/2014/main" id="{270A8AFF-33A2-429A-A719-B8A9BF9BAE5E}"/>
                </a:ext>
              </a:extLst>
            </p:cNvPr>
            <p:cNvSpPr/>
            <p:nvPr/>
          </p:nvSpPr>
          <p:spPr>
            <a:xfrm>
              <a:off x="4014821" y="6329083"/>
              <a:ext cx="463963" cy="371170"/>
            </a:xfrm>
            <a:custGeom>
              <a:avLst/>
              <a:gdLst>
                <a:gd name="connsiteX0" fmla="*/ 491800 w 463962"/>
                <a:gd name="connsiteY0" fmla="*/ 244354 h 371169"/>
                <a:gd name="connsiteX1" fmla="*/ 253633 w 463962"/>
                <a:gd name="connsiteY1" fmla="*/ 399008 h 371169"/>
                <a:gd name="connsiteX2" fmla="*/ 0 w 463962"/>
                <a:gd name="connsiteY2" fmla="*/ 244354 h 371169"/>
                <a:gd name="connsiteX3" fmla="*/ 244353 w 463962"/>
                <a:gd name="connsiteY3" fmla="*/ 0 h 371169"/>
                <a:gd name="connsiteX4" fmla="*/ 491800 w 463962"/>
                <a:gd name="connsiteY4" fmla="*/ 244354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0" y="244354"/>
                  </a:moveTo>
                  <a:cubicBezTo>
                    <a:pt x="491800" y="380449"/>
                    <a:pt x="389728" y="399008"/>
                    <a:pt x="253633" y="399008"/>
                  </a:cubicBezTo>
                  <a:cubicBezTo>
                    <a:pt x="117537" y="399008"/>
                    <a:pt x="0" y="380449"/>
                    <a:pt x="0" y="244354"/>
                  </a:cubicBezTo>
                  <a:cubicBezTo>
                    <a:pt x="0" y="108258"/>
                    <a:pt x="108258" y="0"/>
                    <a:pt x="244353" y="0"/>
                  </a:cubicBezTo>
                  <a:cubicBezTo>
                    <a:pt x="383542" y="0"/>
                    <a:pt x="491800" y="108258"/>
                    <a:pt x="491800" y="244354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1" name="任意多边形: 形状 10610">
              <a:extLst>
                <a:ext uri="{FF2B5EF4-FFF2-40B4-BE49-F238E27FC236}">
                  <a16:creationId xmlns:a16="http://schemas.microsoft.com/office/drawing/2014/main" id="{3B3E649C-264E-4C29-A2DB-404D024D2551}"/>
                </a:ext>
              </a:extLst>
            </p:cNvPr>
            <p:cNvSpPr/>
            <p:nvPr/>
          </p:nvSpPr>
          <p:spPr>
            <a:xfrm>
              <a:off x="4299385" y="6353764"/>
              <a:ext cx="463963" cy="371170"/>
            </a:xfrm>
            <a:custGeom>
              <a:avLst/>
              <a:gdLst>
                <a:gd name="connsiteX0" fmla="*/ 491800 w 463962"/>
                <a:gd name="connsiteY0" fmla="*/ 244417 h 371169"/>
                <a:gd name="connsiteX1" fmla="*/ 253633 w 463962"/>
                <a:gd name="connsiteY1" fmla="*/ 399071 h 371169"/>
                <a:gd name="connsiteX2" fmla="*/ 0 w 463962"/>
                <a:gd name="connsiteY2" fmla="*/ 244417 h 371169"/>
                <a:gd name="connsiteX3" fmla="*/ 244353 w 463962"/>
                <a:gd name="connsiteY3" fmla="*/ 63 h 371169"/>
                <a:gd name="connsiteX4" fmla="*/ 491800 w 463962"/>
                <a:gd name="connsiteY4" fmla="*/ 244417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0" y="244417"/>
                  </a:moveTo>
                  <a:cubicBezTo>
                    <a:pt x="491800" y="380512"/>
                    <a:pt x="389729" y="399071"/>
                    <a:pt x="253633" y="399071"/>
                  </a:cubicBezTo>
                  <a:cubicBezTo>
                    <a:pt x="117537" y="399071"/>
                    <a:pt x="0" y="380512"/>
                    <a:pt x="0" y="244417"/>
                  </a:cubicBezTo>
                  <a:cubicBezTo>
                    <a:pt x="0" y="108321"/>
                    <a:pt x="108258" y="63"/>
                    <a:pt x="244353" y="63"/>
                  </a:cubicBezTo>
                  <a:cubicBezTo>
                    <a:pt x="380449" y="-3030"/>
                    <a:pt x="491800" y="108321"/>
                    <a:pt x="491800" y="24441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2" name="任意多边形: 形状 10611">
              <a:extLst>
                <a:ext uri="{FF2B5EF4-FFF2-40B4-BE49-F238E27FC236}">
                  <a16:creationId xmlns:a16="http://schemas.microsoft.com/office/drawing/2014/main" id="{536ED65A-913A-48EA-8938-A559E5D838CF}"/>
                </a:ext>
              </a:extLst>
            </p:cNvPr>
            <p:cNvSpPr/>
            <p:nvPr/>
          </p:nvSpPr>
          <p:spPr>
            <a:xfrm>
              <a:off x="4627252" y="6329083"/>
              <a:ext cx="463963" cy="371170"/>
            </a:xfrm>
            <a:custGeom>
              <a:avLst/>
              <a:gdLst>
                <a:gd name="connsiteX0" fmla="*/ 491800 w 463962"/>
                <a:gd name="connsiteY0" fmla="*/ 244354 h 371169"/>
                <a:gd name="connsiteX1" fmla="*/ 253633 w 463962"/>
                <a:gd name="connsiteY1" fmla="*/ 399008 h 371169"/>
                <a:gd name="connsiteX2" fmla="*/ 0 w 463962"/>
                <a:gd name="connsiteY2" fmla="*/ 244354 h 371169"/>
                <a:gd name="connsiteX3" fmla="*/ 244353 w 463962"/>
                <a:gd name="connsiteY3" fmla="*/ 0 h 371169"/>
                <a:gd name="connsiteX4" fmla="*/ 491800 w 463962"/>
                <a:gd name="connsiteY4" fmla="*/ 244354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0" y="244354"/>
                  </a:moveTo>
                  <a:cubicBezTo>
                    <a:pt x="491800" y="380449"/>
                    <a:pt x="389728" y="399008"/>
                    <a:pt x="253633" y="399008"/>
                  </a:cubicBezTo>
                  <a:cubicBezTo>
                    <a:pt x="117537" y="399008"/>
                    <a:pt x="0" y="380449"/>
                    <a:pt x="0" y="244354"/>
                  </a:cubicBezTo>
                  <a:cubicBezTo>
                    <a:pt x="0" y="108258"/>
                    <a:pt x="108258" y="0"/>
                    <a:pt x="244353" y="0"/>
                  </a:cubicBezTo>
                  <a:cubicBezTo>
                    <a:pt x="383542" y="0"/>
                    <a:pt x="491800" y="108258"/>
                    <a:pt x="491800" y="244354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3" name="任意多边形: 形状 10612">
              <a:extLst>
                <a:ext uri="{FF2B5EF4-FFF2-40B4-BE49-F238E27FC236}">
                  <a16:creationId xmlns:a16="http://schemas.microsoft.com/office/drawing/2014/main" id="{EF42B19D-CB6F-4093-975B-6D9CBA441699}"/>
                </a:ext>
              </a:extLst>
            </p:cNvPr>
            <p:cNvSpPr/>
            <p:nvPr/>
          </p:nvSpPr>
          <p:spPr>
            <a:xfrm>
              <a:off x="491799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4" name="任意多边形: 形状 10613">
              <a:extLst>
                <a:ext uri="{FF2B5EF4-FFF2-40B4-BE49-F238E27FC236}">
                  <a16:creationId xmlns:a16="http://schemas.microsoft.com/office/drawing/2014/main" id="{83BB2461-5F46-41B8-8B70-E23A68D87122}"/>
                </a:ext>
              </a:extLst>
            </p:cNvPr>
            <p:cNvSpPr/>
            <p:nvPr/>
          </p:nvSpPr>
          <p:spPr>
            <a:xfrm>
              <a:off x="767084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5" name="任意多边形: 形状 10614">
              <a:extLst>
                <a:ext uri="{FF2B5EF4-FFF2-40B4-BE49-F238E27FC236}">
                  <a16:creationId xmlns:a16="http://schemas.microsoft.com/office/drawing/2014/main" id="{BC9F571B-84AA-47D7-B3C9-E27511E633A7}"/>
                </a:ext>
              </a:extLst>
            </p:cNvPr>
            <p:cNvSpPr/>
            <p:nvPr/>
          </p:nvSpPr>
          <p:spPr>
            <a:xfrm>
              <a:off x="1039275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6" name="任意多边形: 形状 10615">
              <a:extLst>
                <a:ext uri="{FF2B5EF4-FFF2-40B4-BE49-F238E27FC236}">
                  <a16:creationId xmlns:a16="http://schemas.microsoft.com/office/drawing/2014/main" id="{4E6BEF63-0197-440D-9178-43A3D1344857}"/>
                </a:ext>
              </a:extLst>
            </p:cNvPr>
            <p:cNvSpPr/>
            <p:nvPr/>
          </p:nvSpPr>
          <p:spPr>
            <a:xfrm>
              <a:off x="1314559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7" name="任意多边形: 形状 10616">
              <a:extLst>
                <a:ext uri="{FF2B5EF4-FFF2-40B4-BE49-F238E27FC236}">
                  <a16:creationId xmlns:a16="http://schemas.microsoft.com/office/drawing/2014/main" id="{4B555B6B-F3F7-4E6E-8D47-12002F9BB63C}"/>
                </a:ext>
              </a:extLst>
            </p:cNvPr>
            <p:cNvSpPr/>
            <p:nvPr/>
          </p:nvSpPr>
          <p:spPr>
            <a:xfrm>
              <a:off x="346424" y="6536319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3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1" y="256726"/>
                    <a:pt x="204143" y="256726"/>
                  </a:cubicBezTo>
                  <a:cubicBezTo>
                    <a:pt x="92793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6215" y="0"/>
                    <a:pt x="395915" y="68048"/>
                    <a:pt x="395915" y="15774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8" name="任意多边形: 形状 10617">
              <a:extLst>
                <a:ext uri="{FF2B5EF4-FFF2-40B4-BE49-F238E27FC236}">
                  <a16:creationId xmlns:a16="http://schemas.microsoft.com/office/drawing/2014/main" id="{402329B9-CD53-4154-A25E-0E37AD9C8902}"/>
                </a:ext>
              </a:extLst>
            </p:cNvPr>
            <p:cNvSpPr/>
            <p:nvPr/>
          </p:nvSpPr>
          <p:spPr>
            <a:xfrm>
              <a:off x="612429" y="6520854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4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1" y="256726"/>
                    <a:pt x="204144" y="256726"/>
                  </a:cubicBezTo>
                  <a:cubicBezTo>
                    <a:pt x="95886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6215" y="0"/>
                    <a:pt x="395915" y="71141"/>
                    <a:pt x="395915" y="157747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19" name="任意多边形: 形状 10618">
              <a:extLst>
                <a:ext uri="{FF2B5EF4-FFF2-40B4-BE49-F238E27FC236}">
                  <a16:creationId xmlns:a16="http://schemas.microsoft.com/office/drawing/2014/main" id="{8AC2E89E-CEDC-4DA1-947F-F75829E10BEE}"/>
                </a:ext>
              </a:extLst>
            </p:cNvPr>
            <p:cNvSpPr/>
            <p:nvPr/>
          </p:nvSpPr>
          <p:spPr>
            <a:xfrm>
              <a:off x="844411" y="6536319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4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2" y="256726"/>
                    <a:pt x="204144" y="256726"/>
                  </a:cubicBezTo>
                  <a:cubicBezTo>
                    <a:pt x="92793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6215" y="0"/>
                    <a:pt x="395915" y="68048"/>
                    <a:pt x="395915" y="15774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20" name="任意多边形: 形状 10619">
              <a:extLst>
                <a:ext uri="{FF2B5EF4-FFF2-40B4-BE49-F238E27FC236}">
                  <a16:creationId xmlns:a16="http://schemas.microsoft.com/office/drawing/2014/main" id="{3C6DF4EE-1821-465B-9713-56DD12A04D0D}"/>
                </a:ext>
              </a:extLst>
            </p:cNvPr>
            <p:cNvSpPr/>
            <p:nvPr/>
          </p:nvSpPr>
          <p:spPr>
            <a:xfrm>
              <a:off x="1110416" y="6520854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3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1" y="256726"/>
                    <a:pt x="204143" y="256726"/>
                  </a:cubicBezTo>
                  <a:cubicBezTo>
                    <a:pt x="92793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9308" y="0"/>
                    <a:pt x="395915" y="71141"/>
                    <a:pt x="395915" y="157747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880716" y="3184402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881832" y="4079752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574801"/>
            <a:ext cx="10845798" cy="251527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grpSp>
        <p:nvGrpSpPr>
          <p:cNvPr id="945" name="组合 944">
            <a:extLst>
              <a:ext uri="{FF2B5EF4-FFF2-40B4-BE49-F238E27FC236}">
                <a16:creationId xmlns:a16="http://schemas.microsoft.com/office/drawing/2014/main" id="{CB1A5334-D3A8-4A2A-9E53-CF4D8D71596D}"/>
              </a:ext>
            </a:extLst>
          </p:cNvPr>
          <p:cNvGrpSpPr/>
          <p:nvPr userDrawn="1"/>
        </p:nvGrpSpPr>
        <p:grpSpPr>
          <a:xfrm>
            <a:off x="5896202" y="1380437"/>
            <a:ext cx="6295798" cy="4046326"/>
            <a:chOff x="6469796" y="3177231"/>
            <a:chExt cx="5722204" cy="3677676"/>
          </a:xfrm>
        </p:grpSpPr>
        <p:sp>
          <p:nvSpPr>
            <p:cNvPr id="3" name="任意多边形: 形状 2">
              <a:extLst>
                <a:ext uri="{FF2B5EF4-FFF2-40B4-BE49-F238E27FC236}">
                  <a16:creationId xmlns:a16="http://schemas.microsoft.com/office/drawing/2014/main" id="{7ACFB5E7-FEFE-4B78-B981-88772AB72537}"/>
                </a:ext>
              </a:extLst>
            </p:cNvPr>
            <p:cNvSpPr/>
            <p:nvPr userDrawn="1"/>
          </p:nvSpPr>
          <p:spPr>
            <a:xfrm flipH="1">
              <a:off x="6530189" y="5602208"/>
              <a:ext cx="5287547" cy="1237233"/>
            </a:xfrm>
            <a:custGeom>
              <a:avLst/>
              <a:gdLst>
                <a:gd name="connsiteX0" fmla="*/ 5369593 w 5351034"/>
                <a:gd name="connsiteY0" fmla="*/ 1252699 h 1237233"/>
                <a:gd name="connsiteX1" fmla="*/ 0 w 5351034"/>
                <a:gd name="connsiteY1" fmla="*/ 1252699 h 1237233"/>
                <a:gd name="connsiteX2" fmla="*/ 0 w 5351034"/>
                <a:gd name="connsiteY2" fmla="*/ 89699 h 1237233"/>
                <a:gd name="connsiteX3" fmla="*/ 5369593 w 5351034"/>
                <a:gd name="connsiteY3" fmla="*/ 0 h 123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51034" h="1237233">
                  <a:moveTo>
                    <a:pt x="5369593" y="1252699"/>
                  </a:moveTo>
                  <a:lnTo>
                    <a:pt x="0" y="1252699"/>
                  </a:lnTo>
                  <a:lnTo>
                    <a:pt x="0" y="89699"/>
                  </a:lnTo>
                  <a:lnTo>
                    <a:pt x="5369593" y="0"/>
                  </a:lnTo>
                  <a:close/>
                </a:path>
              </a:pathLst>
            </a:custGeom>
            <a:solidFill>
              <a:srgbClr val="4B5D7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F5B5D0E8-4798-43CE-A333-EF148D696E23}"/>
                </a:ext>
              </a:extLst>
            </p:cNvPr>
            <p:cNvSpPr/>
            <p:nvPr/>
          </p:nvSpPr>
          <p:spPr>
            <a:xfrm flipH="1">
              <a:off x="12031160" y="3786568"/>
              <a:ext cx="154654" cy="3062152"/>
            </a:xfrm>
            <a:custGeom>
              <a:avLst/>
              <a:gdLst>
                <a:gd name="connsiteX0" fmla="*/ 0 w 154654"/>
                <a:gd name="connsiteY0" fmla="*/ 0 h 3062152"/>
                <a:gd name="connsiteX1" fmla="*/ 167027 w 154654"/>
                <a:gd name="connsiteY1" fmla="*/ 0 h 3062152"/>
                <a:gd name="connsiteX2" fmla="*/ 167027 w 154654"/>
                <a:gd name="connsiteY2" fmla="*/ 3068339 h 3062152"/>
                <a:gd name="connsiteX3" fmla="*/ 0 w 154654"/>
                <a:gd name="connsiteY3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3062152">
                  <a:moveTo>
                    <a:pt x="0" y="0"/>
                  </a:moveTo>
                  <a:lnTo>
                    <a:pt x="167027" y="0"/>
                  </a:lnTo>
                  <a:lnTo>
                    <a:pt x="167027" y="3068339"/>
                  </a:lnTo>
                  <a:lnTo>
                    <a:pt x="0" y="3068339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430B827-2C23-40CF-AA9F-B256A2CA5D7F}"/>
                </a:ext>
              </a:extLst>
            </p:cNvPr>
            <p:cNvSpPr/>
            <p:nvPr/>
          </p:nvSpPr>
          <p:spPr>
            <a:xfrm flipH="1">
              <a:off x="12037346" y="3780382"/>
              <a:ext cx="154654" cy="3062152"/>
            </a:xfrm>
            <a:custGeom>
              <a:avLst/>
              <a:gdLst>
                <a:gd name="connsiteX0" fmla="*/ 173213 w 154654"/>
                <a:gd name="connsiteY0" fmla="*/ 3080711 h 3062152"/>
                <a:gd name="connsiteX1" fmla="*/ 0 w 154654"/>
                <a:gd name="connsiteY1" fmla="*/ 3080711 h 3062152"/>
                <a:gd name="connsiteX2" fmla="*/ 0 w 154654"/>
                <a:gd name="connsiteY2" fmla="*/ 0 h 3062152"/>
                <a:gd name="connsiteX3" fmla="*/ 173213 w 154654"/>
                <a:gd name="connsiteY3" fmla="*/ 0 h 3062152"/>
                <a:gd name="connsiteX4" fmla="*/ 173213 w 154654"/>
                <a:gd name="connsiteY4" fmla="*/ 12372 h 3062152"/>
                <a:gd name="connsiteX5" fmla="*/ 12372 w 154654"/>
                <a:gd name="connsiteY5" fmla="*/ 12372 h 3062152"/>
                <a:gd name="connsiteX6" fmla="*/ 12372 w 154654"/>
                <a:gd name="connsiteY6" fmla="*/ 3068339 h 3062152"/>
                <a:gd name="connsiteX7" fmla="*/ 173213 w 154654"/>
                <a:gd name="connsiteY7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654" h="3062152">
                  <a:moveTo>
                    <a:pt x="173213" y="3080711"/>
                  </a:moveTo>
                  <a:lnTo>
                    <a:pt x="0" y="3080711"/>
                  </a:lnTo>
                  <a:lnTo>
                    <a:pt x="0" y="0"/>
                  </a:lnTo>
                  <a:lnTo>
                    <a:pt x="173213" y="0"/>
                  </a:lnTo>
                  <a:lnTo>
                    <a:pt x="173213" y="12372"/>
                  </a:lnTo>
                  <a:lnTo>
                    <a:pt x="12372" y="12372"/>
                  </a:lnTo>
                  <a:lnTo>
                    <a:pt x="12372" y="3068339"/>
                  </a:lnTo>
                  <a:lnTo>
                    <a:pt x="173213" y="3068339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216BA54-1301-4111-A7EA-F2BC518DBA62}"/>
                </a:ext>
              </a:extLst>
            </p:cNvPr>
            <p:cNvSpPr/>
            <p:nvPr/>
          </p:nvSpPr>
          <p:spPr>
            <a:xfrm flipH="1">
              <a:off x="11987856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0 w 0"/>
                <a:gd name="connsiteY1" fmla="*/ 3068339 h 3062152"/>
                <a:gd name="connsiteX2" fmla="*/ 0 w 0"/>
                <a:gd name="connsiteY2" fmla="*/ 0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0" y="3068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A28B713B-E100-4054-B532-EA1371BA8D59}"/>
                </a:ext>
              </a:extLst>
            </p:cNvPr>
            <p:cNvSpPr/>
            <p:nvPr/>
          </p:nvSpPr>
          <p:spPr>
            <a:xfrm flipH="1">
              <a:off x="11994042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12372 w 0"/>
                <a:gd name="connsiteY1" fmla="*/ 0 h 3062152"/>
                <a:gd name="connsiteX2" fmla="*/ 12372 w 0"/>
                <a:gd name="connsiteY2" fmla="*/ 3068339 h 3062152"/>
                <a:gd name="connsiteX3" fmla="*/ 0 w 0"/>
                <a:gd name="connsiteY3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12372" y="0"/>
                  </a:lnTo>
                  <a:lnTo>
                    <a:pt x="12372" y="3068339"/>
                  </a:lnTo>
                  <a:lnTo>
                    <a:pt x="0" y="3068339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B3F8CE67-5569-41E9-AFD1-B1C9A11BE7AA}"/>
                </a:ext>
              </a:extLst>
            </p:cNvPr>
            <p:cNvSpPr/>
            <p:nvPr/>
          </p:nvSpPr>
          <p:spPr>
            <a:xfrm flipH="1">
              <a:off x="12031160" y="671262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A335D130-E027-413C-A04A-2D57A96A5DEA}"/>
                </a:ext>
              </a:extLst>
            </p:cNvPr>
            <p:cNvSpPr/>
            <p:nvPr/>
          </p:nvSpPr>
          <p:spPr>
            <a:xfrm flipH="1">
              <a:off x="12031160" y="670643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40D5C0B-B2CE-4048-A7BE-88C98F6DFAD7}"/>
                </a:ext>
              </a:extLst>
            </p:cNvPr>
            <p:cNvSpPr/>
            <p:nvPr/>
          </p:nvSpPr>
          <p:spPr>
            <a:xfrm flipH="1">
              <a:off x="12031160" y="656725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8175F73A-37F0-4D02-9A6C-D4482370E296}"/>
                </a:ext>
              </a:extLst>
            </p:cNvPr>
            <p:cNvSpPr/>
            <p:nvPr/>
          </p:nvSpPr>
          <p:spPr>
            <a:xfrm flipH="1">
              <a:off x="12031160" y="656106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97BE0915-7097-4FAA-8CF8-F9888B78ACB2}"/>
                </a:ext>
              </a:extLst>
            </p:cNvPr>
            <p:cNvSpPr/>
            <p:nvPr/>
          </p:nvSpPr>
          <p:spPr>
            <a:xfrm flipH="1">
              <a:off x="12031160" y="642187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A6495F0-75C8-445B-98D7-024F42C848AD}"/>
                </a:ext>
              </a:extLst>
            </p:cNvPr>
            <p:cNvSpPr/>
            <p:nvPr/>
          </p:nvSpPr>
          <p:spPr>
            <a:xfrm flipH="1">
              <a:off x="12031160" y="641568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E2593B0-8E97-4C5C-BED7-3ED7BF1A65DA}"/>
                </a:ext>
              </a:extLst>
            </p:cNvPr>
            <p:cNvSpPr/>
            <p:nvPr/>
          </p:nvSpPr>
          <p:spPr>
            <a:xfrm flipH="1">
              <a:off x="12031160" y="627340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050FC03-07B4-4C69-92CA-82A4F69A813D}"/>
                </a:ext>
              </a:extLst>
            </p:cNvPr>
            <p:cNvSpPr/>
            <p:nvPr/>
          </p:nvSpPr>
          <p:spPr>
            <a:xfrm flipH="1">
              <a:off x="12031160" y="626722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C8F5A1A-A664-4538-B100-125699579FD7}"/>
                </a:ext>
              </a:extLst>
            </p:cNvPr>
            <p:cNvSpPr/>
            <p:nvPr/>
          </p:nvSpPr>
          <p:spPr>
            <a:xfrm flipH="1">
              <a:off x="12031160" y="6128032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765174C1-1AFF-405B-9A7A-D2BCB3E3C614}"/>
                </a:ext>
              </a:extLst>
            </p:cNvPr>
            <p:cNvSpPr/>
            <p:nvPr/>
          </p:nvSpPr>
          <p:spPr>
            <a:xfrm flipH="1">
              <a:off x="12031160" y="612184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EEA10B36-DF53-4489-88F6-ADE559BCA635}"/>
                </a:ext>
              </a:extLst>
            </p:cNvPr>
            <p:cNvSpPr/>
            <p:nvPr/>
          </p:nvSpPr>
          <p:spPr>
            <a:xfrm flipH="1">
              <a:off x="12031160" y="598265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1BE45503-CD4C-4125-8AE0-5A57AC5EA006}"/>
                </a:ext>
              </a:extLst>
            </p:cNvPr>
            <p:cNvSpPr/>
            <p:nvPr/>
          </p:nvSpPr>
          <p:spPr>
            <a:xfrm flipH="1">
              <a:off x="12031160" y="597647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85E99882-080F-4A32-8A99-77474E757562}"/>
                </a:ext>
              </a:extLst>
            </p:cNvPr>
            <p:cNvSpPr/>
            <p:nvPr/>
          </p:nvSpPr>
          <p:spPr>
            <a:xfrm flipH="1">
              <a:off x="12031160" y="583419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6FC9DA6-621F-47D1-8234-CCB6EAD47838}"/>
                </a:ext>
              </a:extLst>
            </p:cNvPr>
            <p:cNvSpPr/>
            <p:nvPr/>
          </p:nvSpPr>
          <p:spPr>
            <a:xfrm flipH="1">
              <a:off x="12031160" y="582800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82965983-FAF3-4A6A-9E43-2D5297F4DE8E}"/>
                </a:ext>
              </a:extLst>
            </p:cNvPr>
            <p:cNvSpPr/>
            <p:nvPr/>
          </p:nvSpPr>
          <p:spPr>
            <a:xfrm flipH="1">
              <a:off x="12031160" y="568881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1671DDF7-81FC-4018-9BDB-7E055BB6A990}"/>
                </a:ext>
              </a:extLst>
            </p:cNvPr>
            <p:cNvSpPr/>
            <p:nvPr/>
          </p:nvSpPr>
          <p:spPr>
            <a:xfrm flipH="1">
              <a:off x="12031160" y="5682628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47E22206-712E-443E-A0B8-BD8D559E7AA6}"/>
                </a:ext>
              </a:extLst>
            </p:cNvPr>
            <p:cNvSpPr/>
            <p:nvPr/>
          </p:nvSpPr>
          <p:spPr>
            <a:xfrm flipH="1">
              <a:off x="12031160" y="554344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AA38834-4F1B-466F-8839-BDC08D2FFF1E}"/>
                </a:ext>
              </a:extLst>
            </p:cNvPr>
            <p:cNvSpPr/>
            <p:nvPr/>
          </p:nvSpPr>
          <p:spPr>
            <a:xfrm flipH="1">
              <a:off x="12031160" y="553725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348585A-46FF-43CE-893E-28362DAEF03F}"/>
                </a:ext>
              </a:extLst>
            </p:cNvPr>
            <p:cNvSpPr/>
            <p:nvPr/>
          </p:nvSpPr>
          <p:spPr>
            <a:xfrm flipH="1">
              <a:off x="12031160" y="5394972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C5E38D1-CA21-46AE-A55F-163EE95EEBAC}"/>
                </a:ext>
              </a:extLst>
            </p:cNvPr>
            <p:cNvSpPr/>
            <p:nvPr/>
          </p:nvSpPr>
          <p:spPr>
            <a:xfrm flipH="1">
              <a:off x="12031160" y="539187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44F69462-1D02-46A6-8305-6004DDCEC9F9}"/>
                </a:ext>
              </a:extLst>
            </p:cNvPr>
            <p:cNvSpPr/>
            <p:nvPr/>
          </p:nvSpPr>
          <p:spPr>
            <a:xfrm flipH="1">
              <a:off x="12031160" y="524959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73B2FFB-6590-48C6-B890-8853823E88AB}"/>
                </a:ext>
              </a:extLst>
            </p:cNvPr>
            <p:cNvSpPr/>
            <p:nvPr/>
          </p:nvSpPr>
          <p:spPr>
            <a:xfrm flipH="1">
              <a:off x="12031160" y="524341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362D241-2F8C-4970-AC30-4964429FE830}"/>
                </a:ext>
              </a:extLst>
            </p:cNvPr>
            <p:cNvSpPr/>
            <p:nvPr/>
          </p:nvSpPr>
          <p:spPr>
            <a:xfrm flipH="1">
              <a:off x="12031160" y="5104222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D9A62A2-47A7-49C6-ABFB-144399BCD138}"/>
                </a:ext>
              </a:extLst>
            </p:cNvPr>
            <p:cNvSpPr/>
            <p:nvPr/>
          </p:nvSpPr>
          <p:spPr>
            <a:xfrm flipH="1">
              <a:off x="12031160" y="509803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2C8DE5F1-F3EF-4856-847B-48F83C840F7D}"/>
                </a:ext>
              </a:extLst>
            </p:cNvPr>
            <p:cNvSpPr/>
            <p:nvPr/>
          </p:nvSpPr>
          <p:spPr>
            <a:xfrm flipH="1">
              <a:off x="12031160" y="495575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F771754-3235-4465-89A8-135EB0884A43}"/>
                </a:ext>
              </a:extLst>
            </p:cNvPr>
            <p:cNvSpPr/>
            <p:nvPr/>
          </p:nvSpPr>
          <p:spPr>
            <a:xfrm flipH="1">
              <a:off x="12031160" y="495266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F0A834DF-E6A3-49FE-A445-C1EF68DD734C}"/>
                </a:ext>
              </a:extLst>
            </p:cNvPr>
            <p:cNvSpPr/>
            <p:nvPr/>
          </p:nvSpPr>
          <p:spPr>
            <a:xfrm flipH="1">
              <a:off x="12031160" y="4810379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5A9C349-8876-4015-9A6A-5E8F9B0B90DA}"/>
                </a:ext>
              </a:extLst>
            </p:cNvPr>
            <p:cNvSpPr/>
            <p:nvPr/>
          </p:nvSpPr>
          <p:spPr>
            <a:xfrm flipH="1">
              <a:off x="12031160" y="480419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B99D3292-C325-4D4A-AB41-CF59F967C1F3}"/>
                </a:ext>
              </a:extLst>
            </p:cNvPr>
            <p:cNvSpPr/>
            <p:nvPr/>
          </p:nvSpPr>
          <p:spPr>
            <a:xfrm flipH="1">
              <a:off x="12031160" y="466500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5941298-11B7-47B3-8CE4-5B3AE7E7FE6F}"/>
                </a:ext>
              </a:extLst>
            </p:cNvPr>
            <p:cNvSpPr/>
            <p:nvPr/>
          </p:nvSpPr>
          <p:spPr>
            <a:xfrm flipH="1">
              <a:off x="12031160" y="4658818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4E0EF0E1-A3C9-466C-B1A3-6FFA1857DFC5}"/>
                </a:ext>
              </a:extLst>
            </p:cNvPr>
            <p:cNvSpPr/>
            <p:nvPr/>
          </p:nvSpPr>
          <p:spPr>
            <a:xfrm flipH="1">
              <a:off x="12031160" y="451653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C8CED9B7-E2F6-4F14-8C43-43E5B74BDEE5}"/>
                </a:ext>
              </a:extLst>
            </p:cNvPr>
            <p:cNvSpPr/>
            <p:nvPr/>
          </p:nvSpPr>
          <p:spPr>
            <a:xfrm flipH="1">
              <a:off x="12031160" y="451344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96C8518-28FB-430D-B013-719D50DA8B5E}"/>
                </a:ext>
              </a:extLst>
            </p:cNvPr>
            <p:cNvSpPr/>
            <p:nvPr/>
          </p:nvSpPr>
          <p:spPr>
            <a:xfrm flipH="1">
              <a:off x="12031160" y="437116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0AAFC232-F48A-4380-992D-CA192CA724A6}"/>
                </a:ext>
              </a:extLst>
            </p:cNvPr>
            <p:cNvSpPr/>
            <p:nvPr/>
          </p:nvSpPr>
          <p:spPr>
            <a:xfrm flipH="1">
              <a:off x="12031160" y="436497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FFAD06D1-E0AF-4016-B61C-0D93B5949649}"/>
                </a:ext>
              </a:extLst>
            </p:cNvPr>
            <p:cNvSpPr/>
            <p:nvPr/>
          </p:nvSpPr>
          <p:spPr>
            <a:xfrm flipH="1">
              <a:off x="12031160" y="4225786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A1E0F60-BEA6-4CF6-8E1E-9F4848DBABEC}"/>
                </a:ext>
              </a:extLst>
            </p:cNvPr>
            <p:cNvSpPr/>
            <p:nvPr/>
          </p:nvSpPr>
          <p:spPr>
            <a:xfrm flipH="1">
              <a:off x="12031160" y="4219600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9C1E13D8-0F8A-40EC-AFF1-249FB5223526}"/>
                </a:ext>
              </a:extLst>
            </p:cNvPr>
            <p:cNvSpPr/>
            <p:nvPr/>
          </p:nvSpPr>
          <p:spPr>
            <a:xfrm flipH="1">
              <a:off x="12031160" y="4080411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B3D16208-0714-4B7A-BEFE-ACB13E1D87D5}"/>
                </a:ext>
              </a:extLst>
            </p:cNvPr>
            <p:cNvSpPr/>
            <p:nvPr/>
          </p:nvSpPr>
          <p:spPr>
            <a:xfrm flipH="1">
              <a:off x="12031160" y="4074225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C449A99C-B01E-41DC-81D3-76AC75810BD2}"/>
                </a:ext>
              </a:extLst>
            </p:cNvPr>
            <p:cNvSpPr/>
            <p:nvPr/>
          </p:nvSpPr>
          <p:spPr>
            <a:xfrm flipH="1">
              <a:off x="12031160" y="393194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0 w 154654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C85C9D6-6F48-428B-8514-CAA9114C3A3D}"/>
                </a:ext>
              </a:extLst>
            </p:cNvPr>
            <p:cNvSpPr/>
            <p:nvPr/>
          </p:nvSpPr>
          <p:spPr>
            <a:xfrm flipH="1">
              <a:off x="12031160" y="3925757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67027 w 154654"/>
                <a:gd name="connsiteY1" fmla="*/ 0 h 0"/>
                <a:gd name="connsiteX2" fmla="*/ 167027 w 154654"/>
                <a:gd name="connsiteY2" fmla="*/ 12372 h 0"/>
                <a:gd name="connsiteX3" fmla="*/ 0 w 154654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67027" y="0"/>
                  </a:lnTo>
                  <a:lnTo>
                    <a:pt x="167027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F0734325-36E5-491A-95A4-3C73A466B8D0}"/>
                </a:ext>
              </a:extLst>
            </p:cNvPr>
            <p:cNvSpPr/>
            <p:nvPr/>
          </p:nvSpPr>
          <p:spPr>
            <a:xfrm flipH="1">
              <a:off x="12071370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0 w 0"/>
                <a:gd name="connsiteY1" fmla="*/ 3068339 h 3062152"/>
                <a:gd name="connsiteX2" fmla="*/ 0 w 0"/>
                <a:gd name="connsiteY2" fmla="*/ 0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0" y="30683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E62FD64A-72CB-4D3A-B3CB-08C3BE5A2389}"/>
                </a:ext>
              </a:extLst>
            </p:cNvPr>
            <p:cNvSpPr/>
            <p:nvPr/>
          </p:nvSpPr>
          <p:spPr>
            <a:xfrm flipH="1">
              <a:off x="12077556" y="3786568"/>
              <a:ext cx="30931" cy="3062152"/>
            </a:xfrm>
            <a:custGeom>
              <a:avLst/>
              <a:gdLst>
                <a:gd name="connsiteX0" fmla="*/ 0 w 0"/>
                <a:gd name="connsiteY0" fmla="*/ 0 h 3062152"/>
                <a:gd name="connsiteX1" fmla="*/ 12372 w 0"/>
                <a:gd name="connsiteY1" fmla="*/ 0 h 3062152"/>
                <a:gd name="connsiteX2" fmla="*/ 12372 w 0"/>
                <a:gd name="connsiteY2" fmla="*/ 3068339 h 3062152"/>
                <a:gd name="connsiteX3" fmla="*/ 0 w 0"/>
                <a:gd name="connsiteY3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3062152">
                  <a:moveTo>
                    <a:pt x="0" y="0"/>
                  </a:moveTo>
                  <a:lnTo>
                    <a:pt x="12372" y="0"/>
                  </a:lnTo>
                  <a:lnTo>
                    <a:pt x="12372" y="3068339"/>
                  </a:lnTo>
                  <a:lnTo>
                    <a:pt x="0" y="3068339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A889916A-F276-4B20-90C7-FDF5E04515B7}"/>
                </a:ext>
              </a:extLst>
            </p:cNvPr>
            <p:cNvSpPr/>
            <p:nvPr/>
          </p:nvSpPr>
          <p:spPr>
            <a:xfrm flipH="1">
              <a:off x="11994042" y="3786568"/>
              <a:ext cx="30931" cy="3062152"/>
            </a:xfrm>
            <a:custGeom>
              <a:avLst/>
              <a:gdLst>
                <a:gd name="connsiteX0" fmla="*/ 15465 w 0"/>
                <a:gd name="connsiteY0" fmla="*/ 3068339 h 3062152"/>
                <a:gd name="connsiteX1" fmla="*/ 15465 w 0"/>
                <a:gd name="connsiteY1" fmla="*/ 3068339 h 3062152"/>
                <a:gd name="connsiteX2" fmla="*/ 6186 w 0"/>
                <a:gd name="connsiteY2" fmla="*/ 3068339 h 3062152"/>
                <a:gd name="connsiteX3" fmla="*/ 6186 w 0"/>
                <a:gd name="connsiteY3" fmla="*/ 3068339 h 3062152"/>
                <a:gd name="connsiteX4" fmla="*/ 6186 w 0"/>
                <a:gd name="connsiteY4" fmla="*/ 3068339 h 3062152"/>
                <a:gd name="connsiteX5" fmla="*/ 6186 w 0"/>
                <a:gd name="connsiteY5" fmla="*/ 2950801 h 3062152"/>
                <a:gd name="connsiteX6" fmla="*/ 3093 w 0"/>
                <a:gd name="connsiteY6" fmla="*/ 1543449 h 3062152"/>
                <a:gd name="connsiteX7" fmla="*/ 0 w 0"/>
                <a:gd name="connsiteY7" fmla="*/ 0 h 3062152"/>
                <a:gd name="connsiteX8" fmla="*/ 12372 w 0"/>
                <a:gd name="connsiteY8" fmla="*/ 0 h 3062152"/>
                <a:gd name="connsiteX9" fmla="*/ 12372 w 0"/>
                <a:gd name="connsiteY9" fmla="*/ 3093 h 3062152"/>
                <a:gd name="connsiteX10" fmla="*/ 12372 w 0"/>
                <a:gd name="connsiteY10" fmla="*/ 133003 h 3062152"/>
                <a:gd name="connsiteX11" fmla="*/ 12372 w 0"/>
                <a:gd name="connsiteY11" fmla="*/ 139189 h 3062152"/>
                <a:gd name="connsiteX12" fmla="*/ 12372 w 0"/>
                <a:gd name="connsiteY12" fmla="*/ 145375 h 3062152"/>
                <a:gd name="connsiteX13" fmla="*/ 12372 w 0"/>
                <a:gd name="connsiteY13" fmla="*/ 287657 h 3062152"/>
                <a:gd name="connsiteX14" fmla="*/ 12372 w 0"/>
                <a:gd name="connsiteY14" fmla="*/ 293843 h 3062152"/>
                <a:gd name="connsiteX15" fmla="*/ 12372 w 0"/>
                <a:gd name="connsiteY15" fmla="*/ 436125 h 3062152"/>
                <a:gd name="connsiteX16" fmla="*/ 12372 w 0"/>
                <a:gd name="connsiteY16" fmla="*/ 442311 h 3062152"/>
                <a:gd name="connsiteX17" fmla="*/ 12372 w 0"/>
                <a:gd name="connsiteY17" fmla="*/ 584593 h 3062152"/>
                <a:gd name="connsiteX18" fmla="*/ 12372 w 0"/>
                <a:gd name="connsiteY18" fmla="*/ 590779 h 3062152"/>
                <a:gd name="connsiteX19" fmla="*/ 12372 w 0"/>
                <a:gd name="connsiteY19" fmla="*/ 729968 h 3062152"/>
                <a:gd name="connsiteX20" fmla="*/ 12372 w 0"/>
                <a:gd name="connsiteY20" fmla="*/ 736154 h 3062152"/>
                <a:gd name="connsiteX21" fmla="*/ 12372 w 0"/>
                <a:gd name="connsiteY21" fmla="*/ 736154 h 3062152"/>
                <a:gd name="connsiteX22" fmla="*/ 12372 w 0"/>
                <a:gd name="connsiteY22" fmla="*/ 736154 h 3062152"/>
                <a:gd name="connsiteX23" fmla="*/ 12372 w 0"/>
                <a:gd name="connsiteY23" fmla="*/ 875343 h 3062152"/>
                <a:gd name="connsiteX24" fmla="*/ 12372 w 0"/>
                <a:gd name="connsiteY24" fmla="*/ 884622 h 3062152"/>
                <a:gd name="connsiteX25" fmla="*/ 12372 w 0"/>
                <a:gd name="connsiteY25" fmla="*/ 1023811 h 3062152"/>
                <a:gd name="connsiteX26" fmla="*/ 12372 w 0"/>
                <a:gd name="connsiteY26" fmla="*/ 1029997 h 3062152"/>
                <a:gd name="connsiteX27" fmla="*/ 12372 w 0"/>
                <a:gd name="connsiteY27" fmla="*/ 1033090 h 3062152"/>
                <a:gd name="connsiteX28" fmla="*/ 12372 w 0"/>
                <a:gd name="connsiteY28" fmla="*/ 1169185 h 3062152"/>
                <a:gd name="connsiteX29" fmla="*/ 12372 w 0"/>
                <a:gd name="connsiteY29" fmla="*/ 1178465 h 3062152"/>
                <a:gd name="connsiteX30" fmla="*/ 12372 w 0"/>
                <a:gd name="connsiteY30" fmla="*/ 1314560 h 3062152"/>
                <a:gd name="connsiteX31" fmla="*/ 12372 w 0"/>
                <a:gd name="connsiteY31" fmla="*/ 1326933 h 3062152"/>
                <a:gd name="connsiteX32" fmla="*/ 12372 w 0"/>
                <a:gd name="connsiteY32" fmla="*/ 1463028 h 3062152"/>
                <a:gd name="connsiteX33" fmla="*/ 12372 w 0"/>
                <a:gd name="connsiteY33" fmla="*/ 1469214 h 3062152"/>
                <a:gd name="connsiteX34" fmla="*/ 12372 w 0"/>
                <a:gd name="connsiteY34" fmla="*/ 1475401 h 3062152"/>
                <a:gd name="connsiteX35" fmla="*/ 12372 w 0"/>
                <a:gd name="connsiteY35" fmla="*/ 1543449 h 3062152"/>
                <a:gd name="connsiteX36" fmla="*/ 12372 w 0"/>
                <a:gd name="connsiteY36" fmla="*/ 1608403 h 3062152"/>
                <a:gd name="connsiteX37" fmla="*/ 12372 w 0"/>
                <a:gd name="connsiteY37" fmla="*/ 1614590 h 3062152"/>
                <a:gd name="connsiteX38" fmla="*/ 12372 w 0"/>
                <a:gd name="connsiteY38" fmla="*/ 1620776 h 3062152"/>
                <a:gd name="connsiteX39" fmla="*/ 12372 w 0"/>
                <a:gd name="connsiteY39" fmla="*/ 1753778 h 3062152"/>
                <a:gd name="connsiteX40" fmla="*/ 12372 w 0"/>
                <a:gd name="connsiteY40" fmla="*/ 1759964 h 3062152"/>
                <a:gd name="connsiteX41" fmla="*/ 12372 w 0"/>
                <a:gd name="connsiteY41" fmla="*/ 1763057 h 3062152"/>
                <a:gd name="connsiteX42" fmla="*/ 12372 w 0"/>
                <a:gd name="connsiteY42" fmla="*/ 1769244 h 3062152"/>
                <a:gd name="connsiteX43" fmla="*/ 12372 w 0"/>
                <a:gd name="connsiteY43" fmla="*/ 1902246 h 3062152"/>
                <a:gd name="connsiteX44" fmla="*/ 12372 w 0"/>
                <a:gd name="connsiteY44" fmla="*/ 1914618 h 3062152"/>
                <a:gd name="connsiteX45" fmla="*/ 12372 w 0"/>
                <a:gd name="connsiteY45" fmla="*/ 2047621 h 3062152"/>
                <a:gd name="connsiteX46" fmla="*/ 12372 w 0"/>
                <a:gd name="connsiteY46" fmla="*/ 2053807 h 3062152"/>
                <a:gd name="connsiteX47" fmla="*/ 12372 w 0"/>
                <a:gd name="connsiteY47" fmla="*/ 2056900 h 3062152"/>
                <a:gd name="connsiteX48" fmla="*/ 12372 w 0"/>
                <a:gd name="connsiteY48" fmla="*/ 2059994 h 3062152"/>
                <a:gd name="connsiteX49" fmla="*/ 12372 w 0"/>
                <a:gd name="connsiteY49" fmla="*/ 2192996 h 3062152"/>
                <a:gd name="connsiteX50" fmla="*/ 12372 w 0"/>
                <a:gd name="connsiteY50" fmla="*/ 2205368 h 3062152"/>
                <a:gd name="connsiteX51" fmla="*/ 12372 w 0"/>
                <a:gd name="connsiteY51" fmla="*/ 2338371 h 3062152"/>
                <a:gd name="connsiteX52" fmla="*/ 12372 w 0"/>
                <a:gd name="connsiteY52" fmla="*/ 2344557 h 3062152"/>
                <a:gd name="connsiteX53" fmla="*/ 12372 w 0"/>
                <a:gd name="connsiteY53" fmla="*/ 2350743 h 3062152"/>
                <a:gd name="connsiteX54" fmla="*/ 12372 w 0"/>
                <a:gd name="connsiteY54" fmla="*/ 2483746 h 3062152"/>
                <a:gd name="connsiteX55" fmla="*/ 12372 w 0"/>
                <a:gd name="connsiteY55" fmla="*/ 2496118 h 3062152"/>
                <a:gd name="connsiteX56" fmla="*/ 12372 w 0"/>
                <a:gd name="connsiteY56" fmla="*/ 2629121 h 3062152"/>
                <a:gd name="connsiteX57" fmla="*/ 12372 w 0"/>
                <a:gd name="connsiteY57" fmla="*/ 2644586 h 3062152"/>
                <a:gd name="connsiteX58" fmla="*/ 12372 w 0"/>
                <a:gd name="connsiteY58" fmla="*/ 2777589 h 3062152"/>
                <a:gd name="connsiteX59" fmla="*/ 12372 w 0"/>
                <a:gd name="connsiteY59" fmla="*/ 2783775 h 3062152"/>
                <a:gd name="connsiteX60" fmla="*/ 12372 w 0"/>
                <a:gd name="connsiteY60" fmla="*/ 2786868 h 3062152"/>
                <a:gd name="connsiteX61" fmla="*/ 12372 w 0"/>
                <a:gd name="connsiteY61" fmla="*/ 2789961 h 3062152"/>
                <a:gd name="connsiteX62" fmla="*/ 12372 w 0"/>
                <a:gd name="connsiteY62" fmla="*/ 2922964 h 3062152"/>
                <a:gd name="connsiteX63" fmla="*/ 12372 w 0"/>
                <a:gd name="connsiteY63" fmla="*/ 2929150 h 3062152"/>
                <a:gd name="connsiteX64" fmla="*/ 12372 w 0"/>
                <a:gd name="connsiteY64" fmla="*/ 2932243 h 3062152"/>
                <a:gd name="connsiteX65" fmla="*/ 12372 w 0"/>
                <a:gd name="connsiteY65" fmla="*/ 2935336 h 3062152"/>
                <a:gd name="connsiteX66" fmla="*/ 15465 w 0"/>
                <a:gd name="connsiteY66" fmla="*/ 3068339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h="3062152">
                  <a:moveTo>
                    <a:pt x="15465" y="3068339"/>
                  </a:moveTo>
                  <a:lnTo>
                    <a:pt x="15465" y="3068339"/>
                  </a:lnTo>
                  <a:lnTo>
                    <a:pt x="6186" y="3068339"/>
                  </a:lnTo>
                  <a:cubicBezTo>
                    <a:pt x="6186" y="3068339"/>
                    <a:pt x="6186" y="3068339"/>
                    <a:pt x="6186" y="3068339"/>
                  </a:cubicBezTo>
                  <a:lnTo>
                    <a:pt x="6186" y="3068339"/>
                  </a:lnTo>
                  <a:cubicBezTo>
                    <a:pt x="6186" y="3025035"/>
                    <a:pt x="6186" y="2994105"/>
                    <a:pt x="6186" y="2950801"/>
                  </a:cubicBezTo>
                  <a:cubicBezTo>
                    <a:pt x="6186" y="2480653"/>
                    <a:pt x="6186" y="2004318"/>
                    <a:pt x="3093" y="1543449"/>
                  </a:cubicBezTo>
                  <a:cubicBezTo>
                    <a:pt x="0" y="1036183"/>
                    <a:pt x="0" y="513452"/>
                    <a:pt x="0" y="0"/>
                  </a:cubicBezTo>
                  <a:lnTo>
                    <a:pt x="12372" y="0"/>
                  </a:lnTo>
                  <a:lnTo>
                    <a:pt x="12372" y="3093"/>
                  </a:lnTo>
                  <a:cubicBezTo>
                    <a:pt x="12372" y="46396"/>
                    <a:pt x="12372" y="89699"/>
                    <a:pt x="12372" y="133003"/>
                  </a:cubicBezTo>
                  <a:lnTo>
                    <a:pt x="12372" y="139189"/>
                  </a:lnTo>
                  <a:cubicBezTo>
                    <a:pt x="12372" y="142282"/>
                    <a:pt x="12372" y="142282"/>
                    <a:pt x="12372" y="145375"/>
                  </a:cubicBezTo>
                  <a:lnTo>
                    <a:pt x="12372" y="287657"/>
                  </a:lnTo>
                  <a:cubicBezTo>
                    <a:pt x="12372" y="290750"/>
                    <a:pt x="12372" y="290750"/>
                    <a:pt x="12372" y="293843"/>
                  </a:cubicBezTo>
                  <a:cubicBezTo>
                    <a:pt x="12372" y="340239"/>
                    <a:pt x="12372" y="386635"/>
                    <a:pt x="12372" y="436125"/>
                  </a:cubicBezTo>
                  <a:lnTo>
                    <a:pt x="12372" y="442311"/>
                  </a:lnTo>
                  <a:cubicBezTo>
                    <a:pt x="12372" y="488707"/>
                    <a:pt x="12372" y="535103"/>
                    <a:pt x="12372" y="584593"/>
                  </a:cubicBezTo>
                  <a:lnTo>
                    <a:pt x="12372" y="590779"/>
                  </a:lnTo>
                  <a:cubicBezTo>
                    <a:pt x="12372" y="637175"/>
                    <a:pt x="12372" y="683571"/>
                    <a:pt x="12372" y="729968"/>
                  </a:cubicBezTo>
                  <a:lnTo>
                    <a:pt x="12372" y="736154"/>
                  </a:lnTo>
                  <a:cubicBezTo>
                    <a:pt x="12372" y="736154"/>
                    <a:pt x="12372" y="736154"/>
                    <a:pt x="12372" y="736154"/>
                  </a:cubicBezTo>
                  <a:lnTo>
                    <a:pt x="12372" y="736154"/>
                  </a:lnTo>
                  <a:cubicBezTo>
                    <a:pt x="12372" y="782550"/>
                    <a:pt x="12372" y="828946"/>
                    <a:pt x="12372" y="875343"/>
                  </a:cubicBezTo>
                  <a:lnTo>
                    <a:pt x="12372" y="884622"/>
                  </a:lnTo>
                  <a:cubicBezTo>
                    <a:pt x="12372" y="931018"/>
                    <a:pt x="12372" y="977414"/>
                    <a:pt x="12372" y="1023811"/>
                  </a:cubicBezTo>
                  <a:lnTo>
                    <a:pt x="12372" y="1029997"/>
                  </a:lnTo>
                  <a:cubicBezTo>
                    <a:pt x="12372" y="1029997"/>
                    <a:pt x="12372" y="1033090"/>
                    <a:pt x="12372" y="1033090"/>
                  </a:cubicBezTo>
                  <a:cubicBezTo>
                    <a:pt x="12372" y="1079486"/>
                    <a:pt x="12372" y="1125882"/>
                    <a:pt x="12372" y="1169185"/>
                  </a:cubicBezTo>
                  <a:lnTo>
                    <a:pt x="12372" y="1178465"/>
                  </a:lnTo>
                  <a:cubicBezTo>
                    <a:pt x="12372" y="1224861"/>
                    <a:pt x="12372" y="1268164"/>
                    <a:pt x="12372" y="1314560"/>
                  </a:cubicBezTo>
                  <a:lnTo>
                    <a:pt x="12372" y="1326933"/>
                  </a:lnTo>
                  <a:cubicBezTo>
                    <a:pt x="12372" y="1373329"/>
                    <a:pt x="12372" y="1416632"/>
                    <a:pt x="12372" y="1463028"/>
                  </a:cubicBezTo>
                  <a:cubicBezTo>
                    <a:pt x="12372" y="1466121"/>
                    <a:pt x="12372" y="1466121"/>
                    <a:pt x="12372" y="1469214"/>
                  </a:cubicBezTo>
                  <a:lnTo>
                    <a:pt x="12372" y="1475401"/>
                  </a:lnTo>
                  <a:cubicBezTo>
                    <a:pt x="12372" y="1497052"/>
                    <a:pt x="12372" y="1521797"/>
                    <a:pt x="12372" y="1543449"/>
                  </a:cubicBezTo>
                  <a:cubicBezTo>
                    <a:pt x="12372" y="1565100"/>
                    <a:pt x="12372" y="1586752"/>
                    <a:pt x="12372" y="1608403"/>
                  </a:cubicBezTo>
                  <a:cubicBezTo>
                    <a:pt x="12372" y="1611496"/>
                    <a:pt x="12372" y="1611496"/>
                    <a:pt x="12372" y="1614590"/>
                  </a:cubicBezTo>
                  <a:lnTo>
                    <a:pt x="12372" y="1620776"/>
                  </a:lnTo>
                  <a:cubicBezTo>
                    <a:pt x="12372" y="1664079"/>
                    <a:pt x="12372" y="1710475"/>
                    <a:pt x="12372" y="1753778"/>
                  </a:cubicBezTo>
                  <a:cubicBezTo>
                    <a:pt x="12372" y="1756871"/>
                    <a:pt x="12372" y="1756871"/>
                    <a:pt x="12372" y="1759964"/>
                  </a:cubicBezTo>
                  <a:cubicBezTo>
                    <a:pt x="12372" y="1759964"/>
                    <a:pt x="12372" y="1759964"/>
                    <a:pt x="12372" y="1763057"/>
                  </a:cubicBezTo>
                  <a:cubicBezTo>
                    <a:pt x="12372" y="1766151"/>
                    <a:pt x="12372" y="1766151"/>
                    <a:pt x="12372" y="1769244"/>
                  </a:cubicBezTo>
                  <a:cubicBezTo>
                    <a:pt x="12372" y="1812547"/>
                    <a:pt x="12372" y="1858943"/>
                    <a:pt x="12372" y="1902246"/>
                  </a:cubicBezTo>
                  <a:lnTo>
                    <a:pt x="12372" y="1914618"/>
                  </a:lnTo>
                  <a:cubicBezTo>
                    <a:pt x="12372" y="1957922"/>
                    <a:pt x="12372" y="2004318"/>
                    <a:pt x="12372" y="2047621"/>
                  </a:cubicBezTo>
                  <a:cubicBezTo>
                    <a:pt x="12372" y="2050714"/>
                    <a:pt x="12372" y="2050714"/>
                    <a:pt x="12372" y="2053807"/>
                  </a:cubicBezTo>
                  <a:cubicBezTo>
                    <a:pt x="12372" y="2053807"/>
                    <a:pt x="12372" y="2053807"/>
                    <a:pt x="12372" y="2056900"/>
                  </a:cubicBezTo>
                  <a:lnTo>
                    <a:pt x="12372" y="2059994"/>
                  </a:lnTo>
                  <a:cubicBezTo>
                    <a:pt x="12372" y="2103297"/>
                    <a:pt x="12372" y="2149693"/>
                    <a:pt x="12372" y="2192996"/>
                  </a:cubicBezTo>
                  <a:lnTo>
                    <a:pt x="12372" y="2205368"/>
                  </a:lnTo>
                  <a:cubicBezTo>
                    <a:pt x="12372" y="2248672"/>
                    <a:pt x="12372" y="2295068"/>
                    <a:pt x="12372" y="2338371"/>
                  </a:cubicBezTo>
                  <a:cubicBezTo>
                    <a:pt x="12372" y="2341464"/>
                    <a:pt x="12372" y="2341464"/>
                    <a:pt x="12372" y="2344557"/>
                  </a:cubicBezTo>
                  <a:lnTo>
                    <a:pt x="12372" y="2350743"/>
                  </a:lnTo>
                  <a:cubicBezTo>
                    <a:pt x="12372" y="2394046"/>
                    <a:pt x="12372" y="2440443"/>
                    <a:pt x="12372" y="2483746"/>
                  </a:cubicBezTo>
                  <a:lnTo>
                    <a:pt x="12372" y="2496118"/>
                  </a:lnTo>
                  <a:cubicBezTo>
                    <a:pt x="12372" y="2539421"/>
                    <a:pt x="12372" y="2585818"/>
                    <a:pt x="12372" y="2629121"/>
                  </a:cubicBezTo>
                  <a:lnTo>
                    <a:pt x="12372" y="2644586"/>
                  </a:lnTo>
                  <a:cubicBezTo>
                    <a:pt x="12372" y="2687889"/>
                    <a:pt x="12372" y="2734286"/>
                    <a:pt x="12372" y="2777589"/>
                  </a:cubicBezTo>
                  <a:cubicBezTo>
                    <a:pt x="12372" y="2780682"/>
                    <a:pt x="12372" y="2783775"/>
                    <a:pt x="12372" y="2783775"/>
                  </a:cubicBezTo>
                  <a:cubicBezTo>
                    <a:pt x="12372" y="2783775"/>
                    <a:pt x="12372" y="2786868"/>
                    <a:pt x="12372" y="2786868"/>
                  </a:cubicBezTo>
                  <a:cubicBezTo>
                    <a:pt x="12372" y="2786868"/>
                    <a:pt x="12372" y="2789961"/>
                    <a:pt x="12372" y="2789961"/>
                  </a:cubicBezTo>
                  <a:cubicBezTo>
                    <a:pt x="12372" y="2833264"/>
                    <a:pt x="12372" y="2879661"/>
                    <a:pt x="12372" y="2922964"/>
                  </a:cubicBezTo>
                  <a:cubicBezTo>
                    <a:pt x="12372" y="2926057"/>
                    <a:pt x="12372" y="2929150"/>
                    <a:pt x="12372" y="2929150"/>
                  </a:cubicBezTo>
                  <a:cubicBezTo>
                    <a:pt x="12372" y="2929150"/>
                    <a:pt x="12372" y="2932243"/>
                    <a:pt x="12372" y="2932243"/>
                  </a:cubicBezTo>
                  <a:cubicBezTo>
                    <a:pt x="12372" y="2932243"/>
                    <a:pt x="12372" y="2935336"/>
                    <a:pt x="12372" y="2935336"/>
                  </a:cubicBezTo>
                  <a:cubicBezTo>
                    <a:pt x="15465" y="2984825"/>
                    <a:pt x="15465" y="3028129"/>
                    <a:pt x="15465" y="3068339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54593B50-24B7-41BE-B013-5720AAED9896}"/>
                </a:ext>
              </a:extLst>
            </p:cNvPr>
            <p:cNvSpPr/>
            <p:nvPr/>
          </p:nvSpPr>
          <p:spPr>
            <a:xfrm flipH="1">
              <a:off x="11526987" y="3786568"/>
              <a:ext cx="494893" cy="3062152"/>
            </a:xfrm>
            <a:custGeom>
              <a:avLst/>
              <a:gdLst>
                <a:gd name="connsiteX0" fmla="*/ 513452 w 494893"/>
                <a:gd name="connsiteY0" fmla="*/ 497986 h 3062152"/>
                <a:gd name="connsiteX1" fmla="*/ 519638 w 494893"/>
                <a:gd name="connsiteY1" fmla="*/ 516545 h 3062152"/>
                <a:gd name="connsiteX2" fmla="*/ 519638 w 494893"/>
                <a:gd name="connsiteY2" fmla="*/ 2941522 h 3062152"/>
                <a:gd name="connsiteX3" fmla="*/ 12372 w 494893"/>
                <a:gd name="connsiteY3" fmla="*/ 3068339 h 3062152"/>
                <a:gd name="connsiteX4" fmla="*/ 6186 w 494893"/>
                <a:gd name="connsiteY4" fmla="*/ 3068339 h 3062152"/>
                <a:gd name="connsiteX5" fmla="*/ 0 w 494893"/>
                <a:gd name="connsiteY5" fmla="*/ 3068339 h 3062152"/>
                <a:gd name="connsiteX6" fmla="*/ 0 w 494893"/>
                <a:gd name="connsiteY6" fmla="*/ 3068339 h 3062152"/>
                <a:gd name="connsiteX7" fmla="*/ 0 w 494893"/>
                <a:gd name="connsiteY7" fmla="*/ 3068339 h 3062152"/>
                <a:gd name="connsiteX8" fmla="*/ 0 w 494893"/>
                <a:gd name="connsiteY8" fmla="*/ 2950801 h 3062152"/>
                <a:gd name="connsiteX9" fmla="*/ 6186 w 494893"/>
                <a:gd name="connsiteY9" fmla="*/ 1555821 h 3062152"/>
                <a:gd name="connsiteX10" fmla="*/ 6186 w 494893"/>
                <a:gd name="connsiteY10" fmla="*/ 1531076 h 3062152"/>
                <a:gd name="connsiteX11" fmla="*/ 6186 w 494893"/>
                <a:gd name="connsiteY11" fmla="*/ 1169185 h 3062152"/>
                <a:gd name="connsiteX12" fmla="*/ 6186 w 494893"/>
                <a:gd name="connsiteY12" fmla="*/ 1023811 h 3062152"/>
                <a:gd name="connsiteX13" fmla="*/ 6186 w 494893"/>
                <a:gd name="connsiteY13" fmla="*/ 1023811 h 3062152"/>
                <a:gd name="connsiteX14" fmla="*/ 6186 w 494893"/>
                <a:gd name="connsiteY14" fmla="*/ 878436 h 3062152"/>
                <a:gd name="connsiteX15" fmla="*/ 6186 w 494893"/>
                <a:gd name="connsiteY15" fmla="*/ 878436 h 3062152"/>
                <a:gd name="connsiteX16" fmla="*/ 6186 w 494893"/>
                <a:gd name="connsiteY16" fmla="*/ 733061 h 3062152"/>
                <a:gd name="connsiteX17" fmla="*/ 6186 w 494893"/>
                <a:gd name="connsiteY17" fmla="*/ 733061 h 3062152"/>
                <a:gd name="connsiteX18" fmla="*/ 6186 w 494893"/>
                <a:gd name="connsiteY18" fmla="*/ 587686 h 3062152"/>
                <a:gd name="connsiteX19" fmla="*/ 6186 w 494893"/>
                <a:gd name="connsiteY19" fmla="*/ 584593 h 3062152"/>
                <a:gd name="connsiteX20" fmla="*/ 6186 w 494893"/>
                <a:gd name="connsiteY20" fmla="*/ 439218 h 3062152"/>
                <a:gd name="connsiteX21" fmla="*/ 6186 w 494893"/>
                <a:gd name="connsiteY21" fmla="*/ 439218 h 3062152"/>
                <a:gd name="connsiteX22" fmla="*/ 6186 w 494893"/>
                <a:gd name="connsiteY22" fmla="*/ 436125 h 3062152"/>
                <a:gd name="connsiteX23" fmla="*/ 6186 w 494893"/>
                <a:gd name="connsiteY23" fmla="*/ 293843 h 3062152"/>
                <a:gd name="connsiteX24" fmla="*/ 6186 w 494893"/>
                <a:gd name="connsiteY24" fmla="*/ 287657 h 3062152"/>
                <a:gd name="connsiteX25" fmla="*/ 6186 w 494893"/>
                <a:gd name="connsiteY25" fmla="*/ 145375 h 3062152"/>
                <a:gd name="connsiteX26" fmla="*/ 6186 w 494893"/>
                <a:gd name="connsiteY26" fmla="*/ 145375 h 3062152"/>
                <a:gd name="connsiteX27" fmla="*/ 6186 w 494893"/>
                <a:gd name="connsiteY27" fmla="*/ 142282 h 3062152"/>
                <a:gd name="connsiteX28" fmla="*/ 6186 w 494893"/>
                <a:gd name="connsiteY28" fmla="*/ 133003 h 3062152"/>
                <a:gd name="connsiteX29" fmla="*/ 6186 w 494893"/>
                <a:gd name="connsiteY29" fmla="*/ 3093 h 3062152"/>
                <a:gd name="connsiteX30" fmla="*/ 6186 w 494893"/>
                <a:gd name="connsiteY30" fmla="*/ 0 h 3062152"/>
                <a:gd name="connsiteX31" fmla="*/ 6186 w 494893"/>
                <a:gd name="connsiteY31" fmla="*/ 3093 h 3062152"/>
                <a:gd name="connsiteX32" fmla="*/ 15465 w 494893"/>
                <a:gd name="connsiteY32" fmla="*/ 6186 h 3062152"/>
                <a:gd name="connsiteX33" fmla="*/ 287657 w 494893"/>
                <a:gd name="connsiteY33" fmla="*/ 154654 h 3062152"/>
                <a:gd name="connsiteX34" fmla="*/ 296936 w 494893"/>
                <a:gd name="connsiteY34" fmla="*/ 163933 h 3062152"/>
                <a:gd name="connsiteX35" fmla="*/ 306215 w 494893"/>
                <a:gd name="connsiteY35" fmla="*/ 173213 h 3062152"/>
                <a:gd name="connsiteX36" fmla="*/ 371170 w 494893"/>
                <a:gd name="connsiteY36" fmla="*/ 241260 h 3062152"/>
                <a:gd name="connsiteX37" fmla="*/ 395915 w 494893"/>
                <a:gd name="connsiteY37" fmla="*/ 272191 h 3062152"/>
                <a:gd name="connsiteX38" fmla="*/ 451590 w 494893"/>
                <a:gd name="connsiteY38" fmla="*/ 361891 h 3062152"/>
                <a:gd name="connsiteX39" fmla="*/ 457776 w 494893"/>
                <a:gd name="connsiteY39" fmla="*/ 371170 h 3062152"/>
                <a:gd name="connsiteX40" fmla="*/ 463963 w 494893"/>
                <a:gd name="connsiteY40" fmla="*/ 380449 h 3062152"/>
                <a:gd name="connsiteX41" fmla="*/ 473242 w 494893"/>
                <a:gd name="connsiteY41" fmla="*/ 402101 h 3062152"/>
                <a:gd name="connsiteX42" fmla="*/ 513452 w 494893"/>
                <a:gd name="connsiteY42" fmla="*/ 497986 h 306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494893" h="3062152">
                  <a:moveTo>
                    <a:pt x="513452" y="497986"/>
                  </a:moveTo>
                  <a:cubicBezTo>
                    <a:pt x="516545" y="504173"/>
                    <a:pt x="516545" y="510359"/>
                    <a:pt x="519638" y="516545"/>
                  </a:cubicBezTo>
                  <a:lnTo>
                    <a:pt x="519638" y="2941522"/>
                  </a:lnTo>
                  <a:cubicBezTo>
                    <a:pt x="361891" y="2910591"/>
                    <a:pt x="173213" y="2947708"/>
                    <a:pt x="12372" y="3068339"/>
                  </a:cubicBezTo>
                  <a:cubicBezTo>
                    <a:pt x="9279" y="3068339"/>
                    <a:pt x="9279" y="3068339"/>
                    <a:pt x="6186" y="3068339"/>
                  </a:cubicBezTo>
                  <a:cubicBezTo>
                    <a:pt x="3093" y="3068339"/>
                    <a:pt x="3093" y="3068339"/>
                    <a:pt x="0" y="3068339"/>
                  </a:cubicBezTo>
                  <a:cubicBezTo>
                    <a:pt x="0" y="3068339"/>
                    <a:pt x="0" y="3068339"/>
                    <a:pt x="0" y="3068339"/>
                  </a:cubicBezTo>
                  <a:lnTo>
                    <a:pt x="0" y="3068339"/>
                  </a:lnTo>
                  <a:lnTo>
                    <a:pt x="0" y="2950801"/>
                  </a:lnTo>
                  <a:lnTo>
                    <a:pt x="6186" y="1555821"/>
                  </a:lnTo>
                  <a:lnTo>
                    <a:pt x="6186" y="1531076"/>
                  </a:lnTo>
                  <a:lnTo>
                    <a:pt x="6186" y="1169185"/>
                  </a:lnTo>
                  <a:lnTo>
                    <a:pt x="6186" y="1023811"/>
                  </a:lnTo>
                  <a:lnTo>
                    <a:pt x="6186" y="1023811"/>
                  </a:lnTo>
                  <a:lnTo>
                    <a:pt x="6186" y="878436"/>
                  </a:lnTo>
                  <a:lnTo>
                    <a:pt x="6186" y="878436"/>
                  </a:lnTo>
                  <a:lnTo>
                    <a:pt x="6186" y="733061"/>
                  </a:lnTo>
                  <a:lnTo>
                    <a:pt x="6186" y="733061"/>
                  </a:lnTo>
                  <a:lnTo>
                    <a:pt x="6186" y="587686"/>
                  </a:lnTo>
                  <a:lnTo>
                    <a:pt x="6186" y="584593"/>
                  </a:lnTo>
                  <a:lnTo>
                    <a:pt x="6186" y="439218"/>
                  </a:lnTo>
                  <a:lnTo>
                    <a:pt x="6186" y="439218"/>
                  </a:lnTo>
                  <a:lnTo>
                    <a:pt x="6186" y="436125"/>
                  </a:lnTo>
                  <a:lnTo>
                    <a:pt x="6186" y="293843"/>
                  </a:lnTo>
                  <a:lnTo>
                    <a:pt x="6186" y="287657"/>
                  </a:lnTo>
                  <a:lnTo>
                    <a:pt x="6186" y="145375"/>
                  </a:lnTo>
                  <a:lnTo>
                    <a:pt x="6186" y="145375"/>
                  </a:lnTo>
                  <a:lnTo>
                    <a:pt x="6186" y="142282"/>
                  </a:lnTo>
                  <a:lnTo>
                    <a:pt x="6186" y="133003"/>
                  </a:lnTo>
                  <a:lnTo>
                    <a:pt x="6186" y="3093"/>
                  </a:lnTo>
                  <a:lnTo>
                    <a:pt x="6186" y="0"/>
                  </a:lnTo>
                  <a:lnTo>
                    <a:pt x="6186" y="3093"/>
                  </a:lnTo>
                  <a:cubicBezTo>
                    <a:pt x="9279" y="3093"/>
                    <a:pt x="12372" y="3093"/>
                    <a:pt x="15465" y="6186"/>
                  </a:cubicBezTo>
                  <a:cubicBezTo>
                    <a:pt x="61862" y="21652"/>
                    <a:pt x="179399" y="61862"/>
                    <a:pt x="287657" y="154654"/>
                  </a:cubicBezTo>
                  <a:cubicBezTo>
                    <a:pt x="290750" y="157747"/>
                    <a:pt x="293843" y="160840"/>
                    <a:pt x="296936" y="163933"/>
                  </a:cubicBezTo>
                  <a:cubicBezTo>
                    <a:pt x="300029" y="167026"/>
                    <a:pt x="303122" y="170120"/>
                    <a:pt x="306215" y="173213"/>
                  </a:cubicBezTo>
                  <a:cubicBezTo>
                    <a:pt x="327867" y="194864"/>
                    <a:pt x="349518" y="216516"/>
                    <a:pt x="371170" y="241260"/>
                  </a:cubicBezTo>
                  <a:cubicBezTo>
                    <a:pt x="380449" y="250540"/>
                    <a:pt x="386635" y="262912"/>
                    <a:pt x="395915" y="272191"/>
                  </a:cubicBezTo>
                  <a:cubicBezTo>
                    <a:pt x="417566" y="303122"/>
                    <a:pt x="436125" y="330960"/>
                    <a:pt x="451590" y="361891"/>
                  </a:cubicBezTo>
                  <a:cubicBezTo>
                    <a:pt x="454683" y="364984"/>
                    <a:pt x="454683" y="368077"/>
                    <a:pt x="457776" y="371170"/>
                  </a:cubicBezTo>
                  <a:cubicBezTo>
                    <a:pt x="460869" y="374263"/>
                    <a:pt x="460869" y="377356"/>
                    <a:pt x="463963" y="380449"/>
                  </a:cubicBezTo>
                  <a:cubicBezTo>
                    <a:pt x="467056" y="386635"/>
                    <a:pt x="470149" y="392822"/>
                    <a:pt x="473242" y="402101"/>
                  </a:cubicBezTo>
                  <a:cubicBezTo>
                    <a:pt x="488707" y="433032"/>
                    <a:pt x="504173" y="467056"/>
                    <a:pt x="513452" y="497986"/>
                  </a:cubicBezTo>
                  <a:close/>
                </a:path>
              </a:pathLst>
            </a:custGeom>
            <a:solidFill>
              <a:srgbClr val="13D6D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8923144D-4DE7-4FEB-9127-4D4CB8557F60}"/>
                </a:ext>
              </a:extLst>
            </p:cNvPr>
            <p:cNvSpPr/>
            <p:nvPr/>
          </p:nvSpPr>
          <p:spPr>
            <a:xfrm flipH="1">
              <a:off x="11984763" y="3789661"/>
              <a:ext cx="30931" cy="30931"/>
            </a:xfrm>
            <a:custGeom>
              <a:avLst/>
              <a:gdLst>
                <a:gd name="connsiteX0" fmla="*/ 9279 w 0"/>
                <a:gd name="connsiteY0" fmla="*/ 3093 h 0"/>
                <a:gd name="connsiteX1" fmla="*/ 0 w 0"/>
                <a:gd name="connsiteY1" fmla="*/ 3093 h 0"/>
                <a:gd name="connsiteX2" fmla="*/ 0 w 0"/>
                <a:gd name="connsiteY2" fmla="*/ 0 h 0"/>
                <a:gd name="connsiteX3" fmla="*/ 9279 w 0"/>
                <a:gd name="connsiteY3" fmla="*/ 30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9279" y="3093"/>
                  </a:moveTo>
                  <a:cubicBezTo>
                    <a:pt x="6186" y="3093"/>
                    <a:pt x="3093" y="3093"/>
                    <a:pt x="0" y="3093"/>
                  </a:cubicBezTo>
                  <a:lnTo>
                    <a:pt x="0" y="0"/>
                  </a:lnTo>
                  <a:cubicBezTo>
                    <a:pt x="3093" y="0"/>
                    <a:pt x="6186" y="3093"/>
                    <a:pt x="9279" y="3093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2F94A8E8-872D-463B-8BF3-8C4E73B755C0}"/>
                </a:ext>
              </a:extLst>
            </p:cNvPr>
            <p:cNvSpPr/>
            <p:nvPr/>
          </p:nvSpPr>
          <p:spPr>
            <a:xfrm flipH="1">
              <a:off x="11499149" y="4284555"/>
              <a:ext cx="525824" cy="2567259"/>
            </a:xfrm>
            <a:custGeom>
              <a:avLst/>
              <a:gdLst>
                <a:gd name="connsiteX0" fmla="*/ 528917 w 525824"/>
                <a:gd name="connsiteY0" fmla="*/ 37117 h 2567259"/>
                <a:gd name="connsiteX1" fmla="*/ 528917 w 525824"/>
                <a:gd name="connsiteY1" fmla="*/ 2449722 h 2567259"/>
                <a:gd name="connsiteX2" fmla="*/ 522731 w 525824"/>
                <a:gd name="connsiteY2" fmla="*/ 2449722 h 2567259"/>
                <a:gd name="connsiteX3" fmla="*/ 18558 w 525824"/>
                <a:gd name="connsiteY3" fmla="*/ 2570352 h 2567259"/>
                <a:gd name="connsiteX4" fmla="*/ 15465 w 525824"/>
                <a:gd name="connsiteY4" fmla="*/ 2570352 h 2567259"/>
                <a:gd name="connsiteX5" fmla="*/ 9279 w 525824"/>
                <a:gd name="connsiteY5" fmla="*/ 2570352 h 2567259"/>
                <a:gd name="connsiteX6" fmla="*/ 6186 w 525824"/>
                <a:gd name="connsiteY6" fmla="*/ 2570352 h 2567259"/>
                <a:gd name="connsiteX7" fmla="*/ 0 w 525824"/>
                <a:gd name="connsiteY7" fmla="*/ 2570352 h 2567259"/>
                <a:gd name="connsiteX8" fmla="*/ 3093 w 525824"/>
                <a:gd name="connsiteY8" fmla="*/ 2570352 h 2567259"/>
                <a:gd name="connsiteX9" fmla="*/ 3093 w 525824"/>
                <a:gd name="connsiteY9" fmla="*/ 2570352 h 2567259"/>
                <a:gd name="connsiteX10" fmla="*/ 9279 w 525824"/>
                <a:gd name="connsiteY10" fmla="*/ 2570352 h 2567259"/>
                <a:gd name="connsiteX11" fmla="*/ 15465 w 525824"/>
                <a:gd name="connsiteY11" fmla="*/ 2570352 h 2567259"/>
                <a:gd name="connsiteX12" fmla="*/ 516545 w 525824"/>
                <a:gd name="connsiteY12" fmla="*/ 2437350 h 2567259"/>
                <a:gd name="connsiteX13" fmla="*/ 516545 w 525824"/>
                <a:gd name="connsiteY13" fmla="*/ 0 h 2567259"/>
                <a:gd name="connsiteX14" fmla="*/ 522731 w 525824"/>
                <a:gd name="connsiteY14" fmla="*/ 18559 h 2567259"/>
                <a:gd name="connsiteX15" fmla="*/ 528917 w 525824"/>
                <a:gd name="connsiteY15" fmla="*/ 37117 h 2567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5824" h="2567259">
                  <a:moveTo>
                    <a:pt x="528917" y="37117"/>
                  </a:moveTo>
                  <a:lnTo>
                    <a:pt x="528917" y="2449722"/>
                  </a:lnTo>
                  <a:lnTo>
                    <a:pt x="522731" y="2449722"/>
                  </a:lnTo>
                  <a:cubicBezTo>
                    <a:pt x="358798" y="2418791"/>
                    <a:pt x="170120" y="2452815"/>
                    <a:pt x="18558" y="2570352"/>
                  </a:cubicBezTo>
                  <a:cubicBezTo>
                    <a:pt x="18558" y="2570352"/>
                    <a:pt x="15465" y="2570352"/>
                    <a:pt x="15465" y="2570352"/>
                  </a:cubicBezTo>
                  <a:lnTo>
                    <a:pt x="9279" y="2570352"/>
                  </a:lnTo>
                  <a:lnTo>
                    <a:pt x="6186" y="2570352"/>
                  </a:lnTo>
                  <a:lnTo>
                    <a:pt x="0" y="2570352"/>
                  </a:lnTo>
                  <a:cubicBezTo>
                    <a:pt x="0" y="2570352"/>
                    <a:pt x="3093" y="2570352"/>
                    <a:pt x="3093" y="2570352"/>
                  </a:cubicBezTo>
                  <a:cubicBezTo>
                    <a:pt x="3093" y="2570352"/>
                    <a:pt x="3093" y="2570352"/>
                    <a:pt x="3093" y="2570352"/>
                  </a:cubicBezTo>
                  <a:cubicBezTo>
                    <a:pt x="6186" y="2567259"/>
                    <a:pt x="6186" y="2570352"/>
                    <a:pt x="9279" y="2570352"/>
                  </a:cubicBezTo>
                  <a:cubicBezTo>
                    <a:pt x="12372" y="2570352"/>
                    <a:pt x="12372" y="2570352"/>
                    <a:pt x="15465" y="2570352"/>
                  </a:cubicBezTo>
                  <a:cubicBezTo>
                    <a:pt x="167027" y="2455908"/>
                    <a:pt x="352611" y="2406419"/>
                    <a:pt x="516545" y="2437350"/>
                  </a:cubicBezTo>
                  <a:lnTo>
                    <a:pt x="516545" y="0"/>
                  </a:lnTo>
                  <a:cubicBezTo>
                    <a:pt x="519638" y="6186"/>
                    <a:pt x="519638" y="12372"/>
                    <a:pt x="522731" y="18559"/>
                  </a:cubicBezTo>
                  <a:cubicBezTo>
                    <a:pt x="525824" y="24745"/>
                    <a:pt x="525824" y="30931"/>
                    <a:pt x="528917" y="3711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FF8AB9E1-7BA1-40E0-A4DB-8C09721C3B68}"/>
                </a:ext>
              </a:extLst>
            </p:cNvPr>
            <p:cNvSpPr/>
            <p:nvPr/>
          </p:nvSpPr>
          <p:spPr>
            <a:xfrm flipH="1">
              <a:off x="11520801" y="6578259"/>
              <a:ext cx="494893" cy="123723"/>
            </a:xfrm>
            <a:custGeom>
              <a:avLst/>
              <a:gdLst>
                <a:gd name="connsiteX0" fmla="*/ 6186 w 494893"/>
                <a:gd name="connsiteY0" fmla="*/ 152924 h 123723"/>
                <a:gd name="connsiteX1" fmla="*/ 0 w 494893"/>
                <a:gd name="connsiteY1" fmla="*/ 143645 h 123723"/>
                <a:gd name="connsiteX2" fmla="*/ 516545 w 494893"/>
                <a:gd name="connsiteY2" fmla="*/ 13736 h 123723"/>
                <a:gd name="connsiteX3" fmla="*/ 513452 w 494893"/>
                <a:gd name="connsiteY3" fmla="*/ 26108 h 123723"/>
                <a:gd name="connsiteX4" fmla="*/ 6186 w 494893"/>
                <a:gd name="connsiteY4" fmla="*/ 152924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6186" y="152924"/>
                  </a:moveTo>
                  <a:lnTo>
                    <a:pt x="0" y="143645"/>
                  </a:lnTo>
                  <a:cubicBezTo>
                    <a:pt x="160840" y="23015"/>
                    <a:pt x="346425" y="-26475"/>
                    <a:pt x="516545" y="13736"/>
                  </a:cubicBezTo>
                  <a:lnTo>
                    <a:pt x="513452" y="26108"/>
                  </a:lnTo>
                  <a:cubicBezTo>
                    <a:pt x="346425" y="-14102"/>
                    <a:pt x="160840" y="32294"/>
                    <a:pt x="6186" y="152924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3378FA3D-1E5D-4491-B534-5847DBBBE154}"/>
                </a:ext>
              </a:extLst>
            </p:cNvPr>
            <p:cNvSpPr/>
            <p:nvPr/>
          </p:nvSpPr>
          <p:spPr>
            <a:xfrm flipH="1">
              <a:off x="11520801" y="6439462"/>
              <a:ext cx="494893" cy="123723"/>
            </a:xfrm>
            <a:custGeom>
              <a:avLst/>
              <a:gdLst>
                <a:gd name="connsiteX0" fmla="*/ 6186 w 494893"/>
                <a:gd name="connsiteY0" fmla="*/ 143254 h 123723"/>
                <a:gd name="connsiteX1" fmla="*/ 0 w 494893"/>
                <a:gd name="connsiteY1" fmla="*/ 133975 h 123723"/>
                <a:gd name="connsiteX2" fmla="*/ 516545 w 494893"/>
                <a:gd name="connsiteY2" fmla="*/ 16437 h 123723"/>
                <a:gd name="connsiteX3" fmla="*/ 513452 w 494893"/>
                <a:gd name="connsiteY3" fmla="*/ 28810 h 123723"/>
                <a:gd name="connsiteX4" fmla="*/ 6186 w 494893"/>
                <a:gd name="connsiteY4" fmla="*/ 143254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6186" y="143254"/>
                  </a:moveTo>
                  <a:lnTo>
                    <a:pt x="0" y="133975"/>
                  </a:lnTo>
                  <a:cubicBezTo>
                    <a:pt x="160840" y="16437"/>
                    <a:pt x="349518" y="-26866"/>
                    <a:pt x="516545" y="16437"/>
                  </a:cubicBezTo>
                  <a:lnTo>
                    <a:pt x="513452" y="28810"/>
                  </a:lnTo>
                  <a:cubicBezTo>
                    <a:pt x="346425" y="-14493"/>
                    <a:pt x="163933" y="28810"/>
                    <a:pt x="6186" y="143254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5236254-135E-48AA-B9EC-D82EE15BB7D0}"/>
                </a:ext>
              </a:extLst>
            </p:cNvPr>
            <p:cNvSpPr/>
            <p:nvPr/>
          </p:nvSpPr>
          <p:spPr>
            <a:xfrm flipH="1">
              <a:off x="11520801" y="6304558"/>
              <a:ext cx="494893" cy="123723"/>
            </a:xfrm>
            <a:custGeom>
              <a:avLst/>
              <a:gdLst>
                <a:gd name="connsiteX0" fmla="*/ 6186 w 494893"/>
                <a:gd name="connsiteY0" fmla="*/ 132782 h 123723"/>
                <a:gd name="connsiteX1" fmla="*/ 0 w 494893"/>
                <a:gd name="connsiteY1" fmla="*/ 123503 h 123723"/>
                <a:gd name="connsiteX2" fmla="*/ 516545 w 494893"/>
                <a:gd name="connsiteY2" fmla="*/ 21431 h 123723"/>
                <a:gd name="connsiteX3" fmla="*/ 513452 w 494893"/>
                <a:gd name="connsiteY3" fmla="*/ 33804 h 123723"/>
                <a:gd name="connsiteX4" fmla="*/ 6186 w 494893"/>
                <a:gd name="connsiteY4" fmla="*/ 132782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6186" y="132782"/>
                  </a:moveTo>
                  <a:lnTo>
                    <a:pt x="0" y="123503"/>
                  </a:lnTo>
                  <a:cubicBezTo>
                    <a:pt x="160840" y="9059"/>
                    <a:pt x="349518" y="-28058"/>
                    <a:pt x="516545" y="21431"/>
                  </a:cubicBezTo>
                  <a:lnTo>
                    <a:pt x="513452" y="33804"/>
                  </a:lnTo>
                  <a:cubicBezTo>
                    <a:pt x="346425" y="-15686"/>
                    <a:pt x="163933" y="21431"/>
                    <a:pt x="6186" y="132782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6BCF592A-9F1A-4F28-BFDB-952F08A950C7}"/>
                </a:ext>
              </a:extLst>
            </p:cNvPr>
            <p:cNvSpPr/>
            <p:nvPr/>
          </p:nvSpPr>
          <p:spPr>
            <a:xfrm flipH="1">
              <a:off x="11520801" y="6165592"/>
              <a:ext cx="494893" cy="92792"/>
            </a:xfrm>
            <a:custGeom>
              <a:avLst/>
              <a:gdLst>
                <a:gd name="connsiteX0" fmla="*/ 6186 w 494893"/>
                <a:gd name="connsiteY0" fmla="*/ 123280 h 92792"/>
                <a:gd name="connsiteX1" fmla="*/ 0 w 494893"/>
                <a:gd name="connsiteY1" fmla="*/ 114001 h 92792"/>
                <a:gd name="connsiteX2" fmla="*/ 516545 w 494893"/>
                <a:gd name="connsiteY2" fmla="*/ 24302 h 92792"/>
                <a:gd name="connsiteX3" fmla="*/ 513452 w 494893"/>
                <a:gd name="connsiteY3" fmla="*/ 36674 h 92792"/>
                <a:gd name="connsiteX4" fmla="*/ 6186 w 494893"/>
                <a:gd name="connsiteY4" fmla="*/ 12328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23280"/>
                  </a:moveTo>
                  <a:lnTo>
                    <a:pt x="0" y="114001"/>
                  </a:lnTo>
                  <a:cubicBezTo>
                    <a:pt x="160840" y="5743"/>
                    <a:pt x="349518" y="-28281"/>
                    <a:pt x="516545" y="24302"/>
                  </a:cubicBezTo>
                  <a:lnTo>
                    <a:pt x="513452" y="36674"/>
                  </a:lnTo>
                  <a:cubicBezTo>
                    <a:pt x="346425" y="-15908"/>
                    <a:pt x="163933" y="18115"/>
                    <a:pt x="6186" y="123280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6029CA33-1E86-4566-AC18-0547512F4061}"/>
                </a:ext>
              </a:extLst>
            </p:cNvPr>
            <p:cNvSpPr/>
            <p:nvPr/>
          </p:nvSpPr>
          <p:spPr>
            <a:xfrm flipH="1">
              <a:off x="11520801" y="6028820"/>
              <a:ext cx="494893" cy="92792"/>
            </a:xfrm>
            <a:custGeom>
              <a:avLst/>
              <a:gdLst>
                <a:gd name="connsiteX0" fmla="*/ 6186 w 494893"/>
                <a:gd name="connsiteY0" fmla="*/ 114678 h 92792"/>
                <a:gd name="connsiteX1" fmla="*/ 0 w 494893"/>
                <a:gd name="connsiteY1" fmla="*/ 105398 h 92792"/>
                <a:gd name="connsiteX2" fmla="*/ 516545 w 494893"/>
                <a:gd name="connsiteY2" fmla="*/ 28071 h 92792"/>
                <a:gd name="connsiteX3" fmla="*/ 513452 w 494893"/>
                <a:gd name="connsiteY3" fmla="*/ 40444 h 92792"/>
                <a:gd name="connsiteX4" fmla="*/ 6186 w 494893"/>
                <a:gd name="connsiteY4" fmla="*/ 114678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14678"/>
                  </a:moveTo>
                  <a:lnTo>
                    <a:pt x="0" y="105398"/>
                  </a:lnTo>
                  <a:cubicBezTo>
                    <a:pt x="160840" y="233"/>
                    <a:pt x="349518" y="-27604"/>
                    <a:pt x="516545" y="28071"/>
                  </a:cubicBezTo>
                  <a:lnTo>
                    <a:pt x="513452" y="40444"/>
                  </a:lnTo>
                  <a:cubicBezTo>
                    <a:pt x="349518" y="-15232"/>
                    <a:pt x="163933" y="9513"/>
                    <a:pt x="6186" y="114678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E8201C2-FC2E-4DE9-BD1A-734CD634F981}"/>
                </a:ext>
              </a:extLst>
            </p:cNvPr>
            <p:cNvSpPr/>
            <p:nvPr/>
          </p:nvSpPr>
          <p:spPr>
            <a:xfrm flipH="1">
              <a:off x="11520801" y="5889363"/>
              <a:ext cx="494893" cy="92792"/>
            </a:xfrm>
            <a:custGeom>
              <a:avLst/>
              <a:gdLst>
                <a:gd name="connsiteX0" fmla="*/ 6186 w 494893"/>
                <a:gd name="connsiteY0" fmla="*/ 105667 h 92792"/>
                <a:gd name="connsiteX1" fmla="*/ 0 w 494893"/>
                <a:gd name="connsiteY1" fmla="*/ 96388 h 92792"/>
                <a:gd name="connsiteX2" fmla="*/ 516545 w 494893"/>
                <a:gd name="connsiteY2" fmla="*/ 34526 h 92792"/>
                <a:gd name="connsiteX3" fmla="*/ 513452 w 494893"/>
                <a:gd name="connsiteY3" fmla="*/ 43806 h 92792"/>
                <a:gd name="connsiteX4" fmla="*/ 6186 w 494893"/>
                <a:gd name="connsiteY4" fmla="*/ 105667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05667"/>
                  </a:moveTo>
                  <a:lnTo>
                    <a:pt x="0" y="96388"/>
                  </a:lnTo>
                  <a:cubicBezTo>
                    <a:pt x="160840" y="-5684"/>
                    <a:pt x="349518" y="-27335"/>
                    <a:pt x="516545" y="34526"/>
                  </a:cubicBezTo>
                  <a:lnTo>
                    <a:pt x="513452" y="43806"/>
                  </a:lnTo>
                  <a:cubicBezTo>
                    <a:pt x="349518" y="-14963"/>
                    <a:pt x="163933" y="6689"/>
                    <a:pt x="6186" y="10566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2920859D-826A-43BD-92ED-BEBB2986EBAB}"/>
                </a:ext>
              </a:extLst>
            </p:cNvPr>
            <p:cNvSpPr/>
            <p:nvPr/>
          </p:nvSpPr>
          <p:spPr>
            <a:xfrm flipH="1">
              <a:off x="11520801" y="5749531"/>
              <a:ext cx="494893" cy="92792"/>
            </a:xfrm>
            <a:custGeom>
              <a:avLst/>
              <a:gdLst>
                <a:gd name="connsiteX0" fmla="*/ 6186 w 494893"/>
                <a:gd name="connsiteY0" fmla="*/ 100124 h 92792"/>
                <a:gd name="connsiteX1" fmla="*/ 0 w 494893"/>
                <a:gd name="connsiteY1" fmla="*/ 87751 h 92792"/>
                <a:gd name="connsiteX2" fmla="*/ 516545 w 494893"/>
                <a:gd name="connsiteY2" fmla="*/ 38262 h 92792"/>
                <a:gd name="connsiteX3" fmla="*/ 513452 w 494893"/>
                <a:gd name="connsiteY3" fmla="*/ 47541 h 92792"/>
                <a:gd name="connsiteX4" fmla="*/ 6186 w 494893"/>
                <a:gd name="connsiteY4" fmla="*/ 100124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6186" y="100124"/>
                  </a:moveTo>
                  <a:lnTo>
                    <a:pt x="0" y="87751"/>
                  </a:lnTo>
                  <a:cubicBezTo>
                    <a:pt x="163933" y="-8134"/>
                    <a:pt x="349518" y="-26693"/>
                    <a:pt x="516545" y="38262"/>
                  </a:cubicBezTo>
                  <a:lnTo>
                    <a:pt x="513452" y="47541"/>
                  </a:lnTo>
                  <a:cubicBezTo>
                    <a:pt x="349518" y="-11227"/>
                    <a:pt x="163933" y="4238"/>
                    <a:pt x="6186" y="100124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0DA2CEE3-5F04-4DAF-8467-3952721E5F12}"/>
                </a:ext>
              </a:extLst>
            </p:cNvPr>
            <p:cNvSpPr/>
            <p:nvPr/>
          </p:nvSpPr>
          <p:spPr>
            <a:xfrm flipH="1">
              <a:off x="11523894" y="5612191"/>
              <a:ext cx="494893" cy="61862"/>
            </a:xfrm>
            <a:custGeom>
              <a:avLst/>
              <a:gdLst>
                <a:gd name="connsiteX0" fmla="*/ 6186 w 494893"/>
                <a:gd name="connsiteY0" fmla="*/ 88996 h 61861"/>
                <a:gd name="connsiteX1" fmla="*/ 0 w 494893"/>
                <a:gd name="connsiteY1" fmla="*/ 79717 h 61861"/>
                <a:gd name="connsiteX2" fmla="*/ 516545 w 494893"/>
                <a:gd name="connsiteY2" fmla="*/ 45693 h 61861"/>
                <a:gd name="connsiteX3" fmla="*/ 513452 w 494893"/>
                <a:gd name="connsiteY3" fmla="*/ 54972 h 61861"/>
                <a:gd name="connsiteX4" fmla="*/ 6186 w 494893"/>
                <a:gd name="connsiteY4" fmla="*/ 8899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6186" y="88996"/>
                  </a:moveTo>
                  <a:lnTo>
                    <a:pt x="0" y="79717"/>
                  </a:lnTo>
                  <a:cubicBezTo>
                    <a:pt x="163933" y="-13076"/>
                    <a:pt x="352612" y="-25448"/>
                    <a:pt x="516545" y="45693"/>
                  </a:cubicBezTo>
                  <a:lnTo>
                    <a:pt x="513452" y="54972"/>
                  </a:lnTo>
                  <a:cubicBezTo>
                    <a:pt x="352612" y="-13076"/>
                    <a:pt x="167027" y="-703"/>
                    <a:pt x="6186" y="88996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201F421-A8DC-48CC-956E-A214B7A7A4CF}"/>
                </a:ext>
              </a:extLst>
            </p:cNvPr>
            <p:cNvSpPr/>
            <p:nvPr/>
          </p:nvSpPr>
          <p:spPr>
            <a:xfrm flipH="1">
              <a:off x="11523894" y="5474835"/>
              <a:ext cx="494893" cy="61862"/>
            </a:xfrm>
            <a:custGeom>
              <a:avLst/>
              <a:gdLst>
                <a:gd name="connsiteX0" fmla="*/ 6186 w 494893"/>
                <a:gd name="connsiteY0" fmla="*/ 80977 h 61861"/>
                <a:gd name="connsiteX1" fmla="*/ 0 w 494893"/>
                <a:gd name="connsiteY1" fmla="*/ 71698 h 61861"/>
                <a:gd name="connsiteX2" fmla="*/ 516545 w 494893"/>
                <a:gd name="connsiteY2" fmla="*/ 50046 h 61861"/>
                <a:gd name="connsiteX3" fmla="*/ 510359 w 494893"/>
                <a:gd name="connsiteY3" fmla="*/ 59325 h 61861"/>
                <a:gd name="connsiteX4" fmla="*/ 6186 w 494893"/>
                <a:gd name="connsiteY4" fmla="*/ 80977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6186" y="80977"/>
                  </a:moveTo>
                  <a:lnTo>
                    <a:pt x="0" y="71698"/>
                  </a:lnTo>
                  <a:cubicBezTo>
                    <a:pt x="163933" y="-14908"/>
                    <a:pt x="352612" y="-24188"/>
                    <a:pt x="516545" y="50046"/>
                  </a:cubicBezTo>
                  <a:lnTo>
                    <a:pt x="510359" y="59325"/>
                  </a:lnTo>
                  <a:cubicBezTo>
                    <a:pt x="352612" y="-11815"/>
                    <a:pt x="167027" y="-5629"/>
                    <a:pt x="6186" y="8097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EC3DA6C-8291-43C0-8ABB-16900B3AB494}"/>
                </a:ext>
              </a:extLst>
            </p:cNvPr>
            <p:cNvSpPr/>
            <p:nvPr/>
          </p:nvSpPr>
          <p:spPr>
            <a:xfrm flipH="1">
              <a:off x="11523894" y="5333447"/>
              <a:ext cx="494893" cy="61862"/>
            </a:xfrm>
            <a:custGeom>
              <a:avLst/>
              <a:gdLst>
                <a:gd name="connsiteX0" fmla="*/ 6186 w 494893"/>
                <a:gd name="connsiteY0" fmla="*/ 73897 h 61861"/>
                <a:gd name="connsiteX1" fmla="*/ 0 w 494893"/>
                <a:gd name="connsiteY1" fmla="*/ 64617 h 61861"/>
                <a:gd name="connsiteX2" fmla="*/ 516545 w 494893"/>
                <a:gd name="connsiteY2" fmla="*/ 58431 h 61861"/>
                <a:gd name="connsiteX3" fmla="*/ 510359 w 494893"/>
                <a:gd name="connsiteY3" fmla="*/ 67710 h 61861"/>
                <a:gd name="connsiteX4" fmla="*/ 6186 w 494893"/>
                <a:gd name="connsiteY4" fmla="*/ 73897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6186" y="73897"/>
                  </a:moveTo>
                  <a:lnTo>
                    <a:pt x="0" y="64617"/>
                  </a:lnTo>
                  <a:cubicBezTo>
                    <a:pt x="163933" y="-18896"/>
                    <a:pt x="352612" y="-21989"/>
                    <a:pt x="516545" y="58431"/>
                  </a:cubicBezTo>
                  <a:lnTo>
                    <a:pt x="510359" y="67710"/>
                  </a:lnTo>
                  <a:cubicBezTo>
                    <a:pt x="352612" y="-9617"/>
                    <a:pt x="167027" y="-6524"/>
                    <a:pt x="6186" y="73897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A58316DE-F2CA-48CB-926E-6900C5478906}"/>
                </a:ext>
              </a:extLst>
            </p:cNvPr>
            <p:cNvSpPr/>
            <p:nvPr/>
          </p:nvSpPr>
          <p:spPr>
            <a:xfrm flipH="1">
              <a:off x="11520801" y="5192352"/>
              <a:ext cx="494893" cy="61862"/>
            </a:xfrm>
            <a:custGeom>
              <a:avLst/>
              <a:gdLst>
                <a:gd name="connsiteX0" fmla="*/ 510359 w 494893"/>
                <a:gd name="connsiteY0" fmla="*/ 75803 h 61861"/>
                <a:gd name="connsiteX1" fmla="*/ 3093 w 494893"/>
                <a:gd name="connsiteY1" fmla="*/ 69617 h 61861"/>
                <a:gd name="connsiteX2" fmla="*/ 0 w 494893"/>
                <a:gd name="connsiteY2" fmla="*/ 57244 h 61861"/>
                <a:gd name="connsiteX3" fmla="*/ 516545 w 494893"/>
                <a:gd name="connsiteY3" fmla="*/ 63430 h 61861"/>
                <a:gd name="connsiteX4" fmla="*/ 510359 w 494893"/>
                <a:gd name="connsiteY4" fmla="*/ 7580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510359" y="75803"/>
                  </a:moveTo>
                  <a:cubicBezTo>
                    <a:pt x="349518" y="-4617"/>
                    <a:pt x="163933" y="-7710"/>
                    <a:pt x="3093" y="69617"/>
                  </a:cubicBezTo>
                  <a:lnTo>
                    <a:pt x="0" y="57244"/>
                  </a:lnTo>
                  <a:cubicBezTo>
                    <a:pt x="163933" y="-20083"/>
                    <a:pt x="352612" y="-20083"/>
                    <a:pt x="516545" y="63430"/>
                  </a:cubicBezTo>
                  <a:lnTo>
                    <a:pt x="510359" y="75803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383CC4B-18BF-4D30-A2D9-46BE7C411BF2}"/>
                </a:ext>
              </a:extLst>
            </p:cNvPr>
            <p:cNvSpPr/>
            <p:nvPr/>
          </p:nvSpPr>
          <p:spPr>
            <a:xfrm flipH="1">
              <a:off x="11523894" y="5053129"/>
              <a:ext cx="494893" cy="61862"/>
            </a:xfrm>
            <a:custGeom>
              <a:avLst/>
              <a:gdLst>
                <a:gd name="connsiteX0" fmla="*/ 513452 w 494893"/>
                <a:gd name="connsiteY0" fmla="*/ 82023 h 61861"/>
                <a:gd name="connsiteX1" fmla="*/ 6186 w 494893"/>
                <a:gd name="connsiteY1" fmla="*/ 60372 h 61861"/>
                <a:gd name="connsiteX2" fmla="*/ 0 w 494893"/>
                <a:gd name="connsiteY2" fmla="*/ 51093 h 61861"/>
                <a:gd name="connsiteX3" fmla="*/ 516545 w 494893"/>
                <a:gd name="connsiteY3" fmla="*/ 72744 h 61861"/>
                <a:gd name="connsiteX4" fmla="*/ 513452 w 494893"/>
                <a:gd name="connsiteY4" fmla="*/ 820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513452" y="82023"/>
                  </a:moveTo>
                  <a:cubicBezTo>
                    <a:pt x="352612" y="-4583"/>
                    <a:pt x="167027" y="-10769"/>
                    <a:pt x="6186" y="60372"/>
                  </a:cubicBezTo>
                  <a:lnTo>
                    <a:pt x="0" y="51093"/>
                  </a:lnTo>
                  <a:cubicBezTo>
                    <a:pt x="163933" y="-23141"/>
                    <a:pt x="352612" y="-16955"/>
                    <a:pt x="516545" y="72744"/>
                  </a:cubicBezTo>
                  <a:lnTo>
                    <a:pt x="513452" y="82023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994000E0-B1F1-4DB5-8A2B-AD2AEEA004DB}"/>
                </a:ext>
              </a:extLst>
            </p:cNvPr>
            <p:cNvSpPr/>
            <p:nvPr/>
          </p:nvSpPr>
          <p:spPr>
            <a:xfrm flipH="1">
              <a:off x="11520801" y="4913154"/>
              <a:ext cx="494893" cy="61862"/>
            </a:xfrm>
            <a:custGeom>
              <a:avLst/>
              <a:gdLst>
                <a:gd name="connsiteX0" fmla="*/ 510359 w 494893"/>
                <a:gd name="connsiteY0" fmla="*/ 88996 h 61861"/>
                <a:gd name="connsiteX1" fmla="*/ 3093 w 494893"/>
                <a:gd name="connsiteY1" fmla="*/ 54972 h 61861"/>
                <a:gd name="connsiteX2" fmla="*/ 0 w 494893"/>
                <a:gd name="connsiteY2" fmla="*/ 45693 h 61861"/>
                <a:gd name="connsiteX3" fmla="*/ 516545 w 494893"/>
                <a:gd name="connsiteY3" fmla="*/ 79717 h 61861"/>
                <a:gd name="connsiteX4" fmla="*/ 510359 w 494893"/>
                <a:gd name="connsiteY4" fmla="*/ 8899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61861">
                  <a:moveTo>
                    <a:pt x="510359" y="88996"/>
                  </a:moveTo>
                  <a:cubicBezTo>
                    <a:pt x="349518" y="-703"/>
                    <a:pt x="167027" y="-13076"/>
                    <a:pt x="3093" y="54972"/>
                  </a:cubicBezTo>
                  <a:lnTo>
                    <a:pt x="0" y="45693"/>
                  </a:lnTo>
                  <a:cubicBezTo>
                    <a:pt x="163933" y="-25448"/>
                    <a:pt x="352612" y="-13076"/>
                    <a:pt x="516545" y="79717"/>
                  </a:cubicBezTo>
                  <a:lnTo>
                    <a:pt x="510359" y="88996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785583A-19AA-4258-90A7-BE454F3EC067}"/>
                </a:ext>
              </a:extLst>
            </p:cNvPr>
            <p:cNvSpPr/>
            <p:nvPr/>
          </p:nvSpPr>
          <p:spPr>
            <a:xfrm flipH="1">
              <a:off x="11520801" y="4772117"/>
              <a:ext cx="494893" cy="92792"/>
            </a:xfrm>
            <a:custGeom>
              <a:avLst/>
              <a:gdLst>
                <a:gd name="connsiteX0" fmla="*/ 510359 w 494893"/>
                <a:gd name="connsiteY0" fmla="*/ 97031 h 92792"/>
                <a:gd name="connsiteX1" fmla="*/ 3093 w 494893"/>
                <a:gd name="connsiteY1" fmla="*/ 47541 h 92792"/>
                <a:gd name="connsiteX2" fmla="*/ 0 w 494893"/>
                <a:gd name="connsiteY2" fmla="*/ 38262 h 92792"/>
                <a:gd name="connsiteX3" fmla="*/ 516545 w 494893"/>
                <a:gd name="connsiteY3" fmla="*/ 87752 h 92792"/>
                <a:gd name="connsiteX4" fmla="*/ 510359 w 494893"/>
                <a:gd name="connsiteY4" fmla="*/ 97031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510359" y="97031"/>
                  </a:moveTo>
                  <a:cubicBezTo>
                    <a:pt x="349518" y="1145"/>
                    <a:pt x="167027" y="-17413"/>
                    <a:pt x="3093" y="47541"/>
                  </a:cubicBezTo>
                  <a:lnTo>
                    <a:pt x="0" y="38262"/>
                  </a:lnTo>
                  <a:cubicBezTo>
                    <a:pt x="167027" y="-26693"/>
                    <a:pt x="352612" y="-8134"/>
                    <a:pt x="516545" y="87752"/>
                  </a:cubicBezTo>
                  <a:lnTo>
                    <a:pt x="510359" y="97031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EBD54D4C-C081-4B7E-9E96-C75463E103F3}"/>
                </a:ext>
              </a:extLst>
            </p:cNvPr>
            <p:cNvSpPr/>
            <p:nvPr/>
          </p:nvSpPr>
          <p:spPr>
            <a:xfrm flipH="1">
              <a:off x="11520801" y="4628184"/>
              <a:ext cx="494893" cy="92792"/>
            </a:xfrm>
            <a:custGeom>
              <a:avLst/>
              <a:gdLst>
                <a:gd name="connsiteX0" fmla="*/ 510359 w 494893"/>
                <a:gd name="connsiteY0" fmla="*/ 107961 h 92792"/>
                <a:gd name="connsiteX1" fmla="*/ 3093 w 494893"/>
                <a:gd name="connsiteY1" fmla="*/ 46099 h 92792"/>
                <a:gd name="connsiteX2" fmla="*/ 0 w 494893"/>
                <a:gd name="connsiteY2" fmla="*/ 33727 h 92792"/>
                <a:gd name="connsiteX3" fmla="*/ 516545 w 494893"/>
                <a:gd name="connsiteY3" fmla="*/ 95588 h 92792"/>
                <a:gd name="connsiteX4" fmla="*/ 510359 w 494893"/>
                <a:gd name="connsiteY4" fmla="*/ 107961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510359" y="107961"/>
                  </a:moveTo>
                  <a:cubicBezTo>
                    <a:pt x="352612" y="8982"/>
                    <a:pt x="167027" y="-12670"/>
                    <a:pt x="3093" y="46099"/>
                  </a:cubicBezTo>
                  <a:lnTo>
                    <a:pt x="0" y="33727"/>
                  </a:lnTo>
                  <a:cubicBezTo>
                    <a:pt x="167027" y="-28135"/>
                    <a:pt x="355705" y="-3390"/>
                    <a:pt x="516545" y="95588"/>
                  </a:cubicBezTo>
                  <a:lnTo>
                    <a:pt x="510359" y="107961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3D89E74-AA0B-4378-B40C-5175CD1BF780}"/>
                </a:ext>
              </a:extLst>
            </p:cNvPr>
            <p:cNvSpPr/>
            <p:nvPr/>
          </p:nvSpPr>
          <p:spPr>
            <a:xfrm flipH="1">
              <a:off x="11520801" y="4485372"/>
              <a:ext cx="494893" cy="92792"/>
            </a:xfrm>
            <a:custGeom>
              <a:avLst/>
              <a:gdLst>
                <a:gd name="connsiteX0" fmla="*/ 510359 w 494893"/>
                <a:gd name="connsiteY0" fmla="*/ 114678 h 92792"/>
                <a:gd name="connsiteX1" fmla="*/ 3093 w 494893"/>
                <a:gd name="connsiteY1" fmla="*/ 40443 h 92792"/>
                <a:gd name="connsiteX2" fmla="*/ 0 w 494893"/>
                <a:gd name="connsiteY2" fmla="*/ 28071 h 92792"/>
                <a:gd name="connsiteX3" fmla="*/ 516545 w 494893"/>
                <a:gd name="connsiteY3" fmla="*/ 105398 h 92792"/>
                <a:gd name="connsiteX4" fmla="*/ 510359 w 494893"/>
                <a:gd name="connsiteY4" fmla="*/ 114678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92792">
                  <a:moveTo>
                    <a:pt x="510359" y="114678"/>
                  </a:moveTo>
                  <a:cubicBezTo>
                    <a:pt x="352612" y="12606"/>
                    <a:pt x="167027" y="-15232"/>
                    <a:pt x="3093" y="40443"/>
                  </a:cubicBezTo>
                  <a:lnTo>
                    <a:pt x="0" y="28071"/>
                  </a:lnTo>
                  <a:cubicBezTo>
                    <a:pt x="167027" y="-27604"/>
                    <a:pt x="355705" y="233"/>
                    <a:pt x="516545" y="105398"/>
                  </a:cubicBezTo>
                  <a:lnTo>
                    <a:pt x="510359" y="114678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B8F5D152-A21B-404C-ABA0-A0CEE0CB32B9}"/>
                </a:ext>
              </a:extLst>
            </p:cNvPr>
            <p:cNvSpPr/>
            <p:nvPr/>
          </p:nvSpPr>
          <p:spPr>
            <a:xfrm flipH="1">
              <a:off x="11520801" y="4340673"/>
              <a:ext cx="494893" cy="123723"/>
            </a:xfrm>
            <a:custGeom>
              <a:avLst/>
              <a:gdLst>
                <a:gd name="connsiteX0" fmla="*/ 510359 w 494893"/>
                <a:gd name="connsiteY0" fmla="*/ 126373 h 123723"/>
                <a:gd name="connsiteX1" fmla="*/ 3093 w 494893"/>
                <a:gd name="connsiteY1" fmla="*/ 36674 h 123723"/>
                <a:gd name="connsiteX2" fmla="*/ 0 w 494893"/>
                <a:gd name="connsiteY2" fmla="*/ 24302 h 123723"/>
                <a:gd name="connsiteX3" fmla="*/ 516545 w 494893"/>
                <a:gd name="connsiteY3" fmla="*/ 114001 h 123723"/>
                <a:gd name="connsiteX4" fmla="*/ 510359 w 494893"/>
                <a:gd name="connsiteY4" fmla="*/ 126373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510359" y="126373"/>
                  </a:moveTo>
                  <a:cubicBezTo>
                    <a:pt x="352612" y="18116"/>
                    <a:pt x="167027" y="-12815"/>
                    <a:pt x="3093" y="36674"/>
                  </a:cubicBezTo>
                  <a:lnTo>
                    <a:pt x="0" y="24302"/>
                  </a:lnTo>
                  <a:cubicBezTo>
                    <a:pt x="167027" y="-28281"/>
                    <a:pt x="355705" y="5743"/>
                    <a:pt x="516545" y="114001"/>
                  </a:cubicBezTo>
                  <a:lnTo>
                    <a:pt x="510359" y="126373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7ED08075-67D1-4708-95FB-645132D82B19}"/>
                </a:ext>
              </a:extLst>
            </p:cNvPr>
            <p:cNvSpPr/>
            <p:nvPr/>
          </p:nvSpPr>
          <p:spPr>
            <a:xfrm flipH="1">
              <a:off x="11520801" y="4200065"/>
              <a:ext cx="494893" cy="123723"/>
            </a:xfrm>
            <a:custGeom>
              <a:avLst/>
              <a:gdLst>
                <a:gd name="connsiteX0" fmla="*/ 510359 w 494893"/>
                <a:gd name="connsiteY0" fmla="*/ 133980 h 123723"/>
                <a:gd name="connsiteX1" fmla="*/ 3093 w 494893"/>
                <a:gd name="connsiteY1" fmla="*/ 31908 h 123723"/>
                <a:gd name="connsiteX2" fmla="*/ 0 w 494893"/>
                <a:gd name="connsiteY2" fmla="*/ 19535 h 123723"/>
                <a:gd name="connsiteX3" fmla="*/ 516545 w 494893"/>
                <a:gd name="connsiteY3" fmla="*/ 121607 h 123723"/>
                <a:gd name="connsiteX4" fmla="*/ 510359 w 494893"/>
                <a:gd name="connsiteY4" fmla="*/ 133980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893" h="123723">
                  <a:moveTo>
                    <a:pt x="510359" y="133980"/>
                  </a:moveTo>
                  <a:cubicBezTo>
                    <a:pt x="352612" y="22628"/>
                    <a:pt x="167027" y="-14489"/>
                    <a:pt x="3093" y="31908"/>
                  </a:cubicBezTo>
                  <a:lnTo>
                    <a:pt x="0" y="19535"/>
                  </a:lnTo>
                  <a:cubicBezTo>
                    <a:pt x="167027" y="-26861"/>
                    <a:pt x="355705" y="10256"/>
                    <a:pt x="516545" y="121607"/>
                  </a:cubicBezTo>
                  <a:lnTo>
                    <a:pt x="510359" y="133980"/>
                  </a:ln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797E4612-7114-450A-91B2-9208A256DAA6}"/>
                </a:ext>
              </a:extLst>
            </p:cNvPr>
            <p:cNvSpPr/>
            <p:nvPr/>
          </p:nvSpPr>
          <p:spPr>
            <a:xfrm flipH="1">
              <a:off x="11579569" y="4058017"/>
              <a:ext cx="433032" cy="92792"/>
            </a:xfrm>
            <a:custGeom>
              <a:avLst/>
              <a:gdLst>
                <a:gd name="connsiteX0" fmla="*/ 448497 w 433031"/>
                <a:gd name="connsiteY0" fmla="*/ 99722 h 92792"/>
                <a:gd name="connsiteX1" fmla="*/ 454683 w 433031"/>
                <a:gd name="connsiteY1" fmla="*/ 109001 h 92792"/>
                <a:gd name="connsiteX2" fmla="*/ 12372 w 433031"/>
                <a:gd name="connsiteY2" fmla="*/ 25488 h 92792"/>
                <a:gd name="connsiteX3" fmla="*/ 0 w 433031"/>
                <a:gd name="connsiteY3" fmla="*/ 28581 h 92792"/>
                <a:gd name="connsiteX4" fmla="*/ 0 w 433031"/>
                <a:gd name="connsiteY4" fmla="*/ 22395 h 92792"/>
                <a:gd name="connsiteX5" fmla="*/ 0 w 433031"/>
                <a:gd name="connsiteY5" fmla="*/ 22395 h 92792"/>
                <a:gd name="connsiteX6" fmla="*/ 0 w 433031"/>
                <a:gd name="connsiteY6" fmla="*/ 19301 h 92792"/>
                <a:gd name="connsiteX7" fmla="*/ 0 w 433031"/>
                <a:gd name="connsiteY7" fmla="*/ 16208 h 92792"/>
                <a:gd name="connsiteX8" fmla="*/ 0 w 433031"/>
                <a:gd name="connsiteY8" fmla="*/ 16208 h 92792"/>
                <a:gd name="connsiteX9" fmla="*/ 0 w 433031"/>
                <a:gd name="connsiteY9" fmla="*/ 16208 h 92792"/>
                <a:gd name="connsiteX10" fmla="*/ 445404 w 433031"/>
                <a:gd name="connsiteY10" fmla="*/ 87349 h 92792"/>
                <a:gd name="connsiteX11" fmla="*/ 448497 w 433031"/>
                <a:gd name="connsiteY11" fmla="*/ 99722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3031" h="92792">
                  <a:moveTo>
                    <a:pt x="448497" y="99722"/>
                  </a:moveTo>
                  <a:cubicBezTo>
                    <a:pt x="451590" y="102815"/>
                    <a:pt x="451590" y="105908"/>
                    <a:pt x="454683" y="109001"/>
                  </a:cubicBezTo>
                  <a:cubicBezTo>
                    <a:pt x="312401" y="22395"/>
                    <a:pt x="154654" y="-8536"/>
                    <a:pt x="12372" y="25488"/>
                  </a:cubicBezTo>
                  <a:cubicBezTo>
                    <a:pt x="9279" y="25488"/>
                    <a:pt x="6186" y="28581"/>
                    <a:pt x="0" y="28581"/>
                  </a:cubicBezTo>
                  <a:lnTo>
                    <a:pt x="0" y="22395"/>
                  </a:lnTo>
                  <a:lnTo>
                    <a:pt x="0" y="22395"/>
                  </a:lnTo>
                  <a:lnTo>
                    <a:pt x="0" y="19301"/>
                  </a:lnTo>
                  <a:lnTo>
                    <a:pt x="0" y="16208"/>
                  </a:lnTo>
                  <a:cubicBezTo>
                    <a:pt x="0" y="16208"/>
                    <a:pt x="0" y="16208"/>
                    <a:pt x="0" y="16208"/>
                  </a:cubicBezTo>
                  <a:lnTo>
                    <a:pt x="0" y="16208"/>
                  </a:lnTo>
                  <a:cubicBezTo>
                    <a:pt x="145375" y="-20909"/>
                    <a:pt x="303122" y="6929"/>
                    <a:pt x="445404" y="87349"/>
                  </a:cubicBezTo>
                  <a:cubicBezTo>
                    <a:pt x="445404" y="90442"/>
                    <a:pt x="448497" y="96629"/>
                    <a:pt x="448497" y="99722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BFFA48AA-0FB5-4C11-A464-F02B9986658E}"/>
                </a:ext>
              </a:extLst>
            </p:cNvPr>
            <p:cNvSpPr/>
            <p:nvPr/>
          </p:nvSpPr>
          <p:spPr>
            <a:xfrm flipH="1">
              <a:off x="11737316" y="3915830"/>
              <a:ext cx="278378" cy="30931"/>
            </a:xfrm>
            <a:custGeom>
              <a:avLst/>
              <a:gdLst>
                <a:gd name="connsiteX0" fmla="*/ 293843 w 278377"/>
                <a:gd name="connsiteY0" fmla="*/ 31578 h 30930"/>
                <a:gd name="connsiteX1" fmla="*/ 303122 w 278377"/>
                <a:gd name="connsiteY1" fmla="*/ 40858 h 30930"/>
                <a:gd name="connsiteX2" fmla="*/ 12372 w 278377"/>
                <a:gd name="connsiteY2" fmla="*/ 19206 h 30930"/>
                <a:gd name="connsiteX3" fmla="*/ 0 w 278377"/>
                <a:gd name="connsiteY3" fmla="*/ 22299 h 30930"/>
                <a:gd name="connsiteX4" fmla="*/ 0 w 278377"/>
                <a:gd name="connsiteY4" fmla="*/ 16113 h 30930"/>
                <a:gd name="connsiteX5" fmla="*/ 0 w 278377"/>
                <a:gd name="connsiteY5" fmla="*/ 16113 h 30930"/>
                <a:gd name="connsiteX6" fmla="*/ 0 w 278377"/>
                <a:gd name="connsiteY6" fmla="*/ 16113 h 30930"/>
                <a:gd name="connsiteX7" fmla="*/ 0 w 278377"/>
                <a:gd name="connsiteY7" fmla="*/ 13020 h 30930"/>
                <a:gd name="connsiteX8" fmla="*/ 0 w 278377"/>
                <a:gd name="connsiteY8" fmla="*/ 13020 h 30930"/>
                <a:gd name="connsiteX9" fmla="*/ 281471 w 278377"/>
                <a:gd name="connsiteY9" fmla="*/ 25392 h 30930"/>
                <a:gd name="connsiteX10" fmla="*/ 293843 w 278377"/>
                <a:gd name="connsiteY10" fmla="*/ 3157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377" h="30930">
                  <a:moveTo>
                    <a:pt x="293843" y="31578"/>
                  </a:moveTo>
                  <a:cubicBezTo>
                    <a:pt x="296936" y="34671"/>
                    <a:pt x="300029" y="37764"/>
                    <a:pt x="303122" y="40858"/>
                  </a:cubicBezTo>
                  <a:cubicBezTo>
                    <a:pt x="207237" y="9927"/>
                    <a:pt x="108258" y="647"/>
                    <a:pt x="12372" y="19206"/>
                  </a:cubicBezTo>
                  <a:lnTo>
                    <a:pt x="0" y="22299"/>
                  </a:lnTo>
                  <a:lnTo>
                    <a:pt x="0" y="16113"/>
                  </a:lnTo>
                  <a:lnTo>
                    <a:pt x="0" y="16113"/>
                  </a:lnTo>
                  <a:lnTo>
                    <a:pt x="0" y="16113"/>
                  </a:lnTo>
                  <a:lnTo>
                    <a:pt x="0" y="13020"/>
                  </a:lnTo>
                  <a:cubicBezTo>
                    <a:pt x="0" y="13020"/>
                    <a:pt x="0" y="13020"/>
                    <a:pt x="0" y="13020"/>
                  </a:cubicBezTo>
                  <a:cubicBezTo>
                    <a:pt x="89699" y="-8632"/>
                    <a:pt x="185585" y="-2446"/>
                    <a:pt x="281471" y="25392"/>
                  </a:cubicBezTo>
                  <a:cubicBezTo>
                    <a:pt x="284564" y="25392"/>
                    <a:pt x="290750" y="28485"/>
                    <a:pt x="293843" y="31578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9A8CCB82-F477-4446-8A02-22442A7DF0E3}"/>
                </a:ext>
              </a:extLst>
            </p:cNvPr>
            <p:cNvSpPr/>
            <p:nvPr/>
          </p:nvSpPr>
          <p:spPr>
            <a:xfrm flipH="1">
              <a:off x="9207174" y="4315486"/>
              <a:ext cx="278378" cy="1824919"/>
            </a:xfrm>
            <a:custGeom>
              <a:avLst/>
              <a:gdLst>
                <a:gd name="connsiteX0" fmla="*/ 0 w 278377"/>
                <a:gd name="connsiteY0" fmla="*/ 0 h 1824919"/>
                <a:gd name="connsiteX1" fmla="*/ 306215 w 278377"/>
                <a:gd name="connsiteY1" fmla="*/ 0 h 1824919"/>
                <a:gd name="connsiteX2" fmla="*/ 306215 w 278377"/>
                <a:gd name="connsiteY2" fmla="*/ 1846571 h 1824919"/>
                <a:gd name="connsiteX3" fmla="*/ 0 w 278377"/>
                <a:gd name="connsiteY3" fmla="*/ 1846571 h 1824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377" h="1824919">
                  <a:moveTo>
                    <a:pt x="0" y="0"/>
                  </a:moveTo>
                  <a:lnTo>
                    <a:pt x="306215" y="0"/>
                  </a:lnTo>
                  <a:lnTo>
                    <a:pt x="306215" y="1846571"/>
                  </a:lnTo>
                  <a:lnTo>
                    <a:pt x="0" y="1846571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5EC27764-D6F7-48ED-89BD-DD7233FD106B}"/>
                </a:ext>
              </a:extLst>
            </p:cNvPr>
            <p:cNvSpPr/>
            <p:nvPr/>
          </p:nvSpPr>
          <p:spPr>
            <a:xfrm flipH="1">
              <a:off x="8480300" y="4191762"/>
              <a:ext cx="216516" cy="1824919"/>
            </a:xfrm>
            <a:custGeom>
              <a:avLst/>
              <a:gdLst>
                <a:gd name="connsiteX0" fmla="*/ 238167 w 216515"/>
                <a:gd name="connsiteY0" fmla="*/ 1831105 h 1824919"/>
                <a:gd name="connsiteX1" fmla="*/ 0 w 216515"/>
                <a:gd name="connsiteY1" fmla="*/ 1846571 h 1824919"/>
                <a:gd name="connsiteX2" fmla="*/ 0 w 216515"/>
                <a:gd name="connsiteY2" fmla="*/ 0 h 1824919"/>
                <a:gd name="connsiteX3" fmla="*/ 238167 w 216515"/>
                <a:gd name="connsiteY3" fmla="*/ 191771 h 1824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1824919">
                  <a:moveTo>
                    <a:pt x="238167" y="1831105"/>
                  </a:moveTo>
                  <a:lnTo>
                    <a:pt x="0" y="1846571"/>
                  </a:lnTo>
                  <a:lnTo>
                    <a:pt x="0" y="0"/>
                  </a:lnTo>
                  <a:lnTo>
                    <a:pt x="238167" y="191771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601C9F1-CA05-41CC-8283-DD15ACBEB3B5}"/>
                </a:ext>
              </a:extLst>
            </p:cNvPr>
            <p:cNvSpPr/>
            <p:nvPr/>
          </p:nvSpPr>
          <p:spPr>
            <a:xfrm flipH="1">
              <a:off x="10475339" y="4111342"/>
              <a:ext cx="402101" cy="1206302"/>
            </a:xfrm>
            <a:custGeom>
              <a:avLst/>
              <a:gdLst>
                <a:gd name="connsiteX0" fmla="*/ 0 w 402100"/>
                <a:gd name="connsiteY0" fmla="*/ 0 h 1206302"/>
                <a:gd name="connsiteX1" fmla="*/ 414473 w 402100"/>
                <a:gd name="connsiteY1" fmla="*/ 0 h 1206302"/>
                <a:gd name="connsiteX2" fmla="*/ 414473 w 402100"/>
                <a:gd name="connsiteY2" fmla="*/ 1215582 h 1206302"/>
                <a:gd name="connsiteX3" fmla="*/ 0 w 402100"/>
                <a:gd name="connsiteY3" fmla="*/ 1215582 h 120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1206302">
                  <a:moveTo>
                    <a:pt x="0" y="0"/>
                  </a:moveTo>
                  <a:lnTo>
                    <a:pt x="414473" y="0"/>
                  </a:lnTo>
                  <a:lnTo>
                    <a:pt x="414473" y="1215582"/>
                  </a:lnTo>
                  <a:lnTo>
                    <a:pt x="0" y="1215582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5D4A5B7E-381F-480B-9F5B-FE0969B83D97}"/>
                </a:ext>
              </a:extLst>
            </p:cNvPr>
            <p:cNvSpPr/>
            <p:nvPr/>
          </p:nvSpPr>
          <p:spPr>
            <a:xfrm flipH="1">
              <a:off x="10515549" y="3996898"/>
              <a:ext cx="309308" cy="61862"/>
            </a:xfrm>
            <a:custGeom>
              <a:avLst/>
              <a:gdLst>
                <a:gd name="connsiteX0" fmla="*/ 0 w 309308"/>
                <a:gd name="connsiteY0" fmla="*/ 0 h 61861"/>
                <a:gd name="connsiteX1" fmla="*/ 309308 w 309308"/>
                <a:gd name="connsiteY1" fmla="*/ 0 h 61861"/>
                <a:gd name="connsiteX2" fmla="*/ 309308 w 309308"/>
                <a:gd name="connsiteY2" fmla="*/ 86606 h 61861"/>
                <a:gd name="connsiteX3" fmla="*/ 0 w 309308"/>
                <a:gd name="connsiteY3" fmla="*/ 8660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8" h="61861">
                  <a:moveTo>
                    <a:pt x="0" y="0"/>
                  </a:moveTo>
                  <a:lnTo>
                    <a:pt x="309308" y="0"/>
                  </a:lnTo>
                  <a:lnTo>
                    <a:pt x="309308" y="86606"/>
                  </a:lnTo>
                  <a:lnTo>
                    <a:pt x="0" y="86606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AD711482-C9D7-492D-8452-15EBC0CAA13A}"/>
                </a:ext>
              </a:extLst>
            </p:cNvPr>
            <p:cNvSpPr/>
            <p:nvPr/>
          </p:nvSpPr>
          <p:spPr>
            <a:xfrm flipH="1">
              <a:off x="10589783" y="3953595"/>
              <a:ext cx="185585" cy="30931"/>
            </a:xfrm>
            <a:custGeom>
              <a:avLst/>
              <a:gdLst>
                <a:gd name="connsiteX0" fmla="*/ 0 w 185585"/>
                <a:gd name="connsiteY0" fmla="*/ 0 h 30930"/>
                <a:gd name="connsiteX1" fmla="*/ 210330 w 185585"/>
                <a:gd name="connsiteY1" fmla="*/ 0 h 30930"/>
                <a:gd name="connsiteX2" fmla="*/ 210330 w 185585"/>
                <a:gd name="connsiteY2" fmla="*/ 46396 h 30930"/>
                <a:gd name="connsiteX3" fmla="*/ 0 w 185585"/>
                <a:gd name="connsiteY3" fmla="*/ 46396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585" h="30930">
                  <a:moveTo>
                    <a:pt x="0" y="0"/>
                  </a:moveTo>
                  <a:lnTo>
                    <a:pt x="210330" y="0"/>
                  </a:lnTo>
                  <a:lnTo>
                    <a:pt x="210330" y="46396"/>
                  </a:lnTo>
                  <a:lnTo>
                    <a:pt x="0" y="46396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42163161-04A5-4A28-97A1-05BB5E56A430}"/>
                </a:ext>
              </a:extLst>
            </p:cNvPr>
            <p:cNvSpPr/>
            <p:nvPr/>
          </p:nvSpPr>
          <p:spPr>
            <a:xfrm flipH="1">
              <a:off x="10509363" y="4046387"/>
              <a:ext cx="340239" cy="1299095"/>
            </a:xfrm>
            <a:custGeom>
              <a:avLst/>
              <a:gdLst>
                <a:gd name="connsiteX0" fmla="*/ 0 w 340239"/>
                <a:gd name="connsiteY0" fmla="*/ 0 h 1299094"/>
                <a:gd name="connsiteX1" fmla="*/ 355705 w 340239"/>
                <a:gd name="connsiteY1" fmla="*/ 0 h 1299094"/>
                <a:gd name="connsiteX2" fmla="*/ 355705 w 340239"/>
                <a:gd name="connsiteY2" fmla="*/ 1308374 h 1299094"/>
                <a:gd name="connsiteX3" fmla="*/ 0 w 340239"/>
                <a:gd name="connsiteY3" fmla="*/ 1308374 h 129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239" h="1299094">
                  <a:moveTo>
                    <a:pt x="0" y="0"/>
                  </a:moveTo>
                  <a:lnTo>
                    <a:pt x="355705" y="0"/>
                  </a:lnTo>
                  <a:lnTo>
                    <a:pt x="355705" y="1308374"/>
                  </a:lnTo>
                  <a:lnTo>
                    <a:pt x="0" y="1308374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EE36AC3E-6F2C-4176-8269-407FDCC96AFA}"/>
                </a:ext>
              </a:extLst>
            </p:cNvPr>
            <p:cNvSpPr/>
            <p:nvPr/>
          </p:nvSpPr>
          <p:spPr>
            <a:xfrm flipH="1">
              <a:off x="11567197" y="4934102"/>
              <a:ext cx="154654" cy="1886781"/>
            </a:xfrm>
            <a:custGeom>
              <a:avLst/>
              <a:gdLst>
                <a:gd name="connsiteX0" fmla="*/ 167027 w 154654"/>
                <a:gd name="connsiteY0" fmla="*/ 0 h 1886780"/>
                <a:gd name="connsiteX1" fmla="*/ 167027 w 154654"/>
                <a:gd name="connsiteY1" fmla="*/ 1855850 h 1886780"/>
                <a:gd name="connsiteX2" fmla="*/ 0 w 154654"/>
                <a:gd name="connsiteY2" fmla="*/ 1914618 h 1886780"/>
                <a:gd name="connsiteX3" fmla="*/ 0 w 154654"/>
                <a:gd name="connsiteY3" fmla="*/ 58769 h 188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886780">
                  <a:moveTo>
                    <a:pt x="167027" y="0"/>
                  </a:moveTo>
                  <a:lnTo>
                    <a:pt x="167027" y="1855850"/>
                  </a:lnTo>
                  <a:lnTo>
                    <a:pt x="0" y="1914618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28639E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592A1BA1-B9EE-4E63-B5FC-E195B1234D8A}"/>
                </a:ext>
              </a:extLst>
            </p:cNvPr>
            <p:cNvSpPr/>
            <p:nvPr/>
          </p:nvSpPr>
          <p:spPr>
            <a:xfrm flipH="1">
              <a:off x="11573383" y="4927916"/>
              <a:ext cx="154654" cy="1917712"/>
            </a:xfrm>
            <a:custGeom>
              <a:avLst/>
              <a:gdLst>
                <a:gd name="connsiteX0" fmla="*/ 0 w 154654"/>
                <a:gd name="connsiteY0" fmla="*/ 1926991 h 1917711"/>
                <a:gd name="connsiteX1" fmla="*/ 0 w 154654"/>
                <a:gd name="connsiteY1" fmla="*/ 61862 h 1917711"/>
                <a:gd name="connsiteX2" fmla="*/ 179399 w 154654"/>
                <a:gd name="connsiteY2" fmla="*/ 0 h 1917711"/>
                <a:gd name="connsiteX3" fmla="*/ 179399 w 154654"/>
                <a:gd name="connsiteY3" fmla="*/ 1868222 h 1917711"/>
                <a:gd name="connsiteX4" fmla="*/ 0 w 154654"/>
                <a:gd name="connsiteY4" fmla="*/ 1926991 h 1917711"/>
                <a:gd name="connsiteX5" fmla="*/ 12372 w 154654"/>
                <a:gd name="connsiteY5" fmla="*/ 68048 h 1917711"/>
                <a:gd name="connsiteX6" fmla="*/ 12372 w 154654"/>
                <a:gd name="connsiteY6" fmla="*/ 1911526 h 1917711"/>
                <a:gd name="connsiteX7" fmla="*/ 167026 w 154654"/>
                <a:gd name="connsiteY7" fmla="*/ 1858943 h 1917711"/>
                <a:gd name="connsiteX8" fmla="*/ 167026 w 154654"/>
                <a:gd name="connsiteY8" fmla="*/ 15465 h 1917711"/>
                <a:gd name="connsiteX9" fmla="*/ 12372 w 154654"/>
                <a:gd name="connsiteY9" fmla="*/ 68048 h 191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4654" h="1917711">
                  <a:moveTo>
                    <a:pt x="0" y="1926991"/>
                  </a:moveTo>
                  <a:lnTo>
                    <a:pt x="0" y="61862"/>
                  </a:lnTo>
                  <a:lnTo>
                    <a:pt x="179399" y="0"/>
                  </a:lnTo>
                  <a:lnTo>
                    <a:pt x="179399" y="1868222"/>
                  </a:lnTo>
                  <a:lnTo>
                    <a:pt x="0" y="1926991"/>
                  </a:lnTo>
                  <a:close/>
                  <a:moveTo>
                    <a:pt x="12372" y="68048"/>
                  </a:moveTo>
                  <a:lnTo>
                    <a:pt x="12372" y="1911526"/>
                  </a:lnTo>
                  <a:lnTo>
                    <a:pt x="167026" y="1858943"/>
                  </a:lnTo>
                  <a:lnTo>
                    <a:pt x="167026" y="15465"/>
                  </a:lnTo>
                  <a:lnTo>
                    <a:pt x="12372" y="68048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17E39AD5-772F-4850-B2D0-80E15C340FD1}"/>
                </a:ext>
              </a:extLst>
            </p:cNvPr>
            <p:cNvSpPr/>
            <p:nvPr/>
          </p:nvSpPr>
          <p:spPr>
            <a:xfrm flipH="1">
              <a:off x="11567197" y="672499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D8B42A3-A721-4447-8813-B2D1B2C88AD1}"/>
                </a:ext>
              </a:extLst>
            </p:cNvPr>
            <p:cNvSpPr/>
            <p:nvPr/>
          </p:nvSpPr>
          <p:spPr>
            <a:xfrm flipH="1">
              <a:off x="11567430" y="6721153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A612533-636C-45E8-A2EA-B8C77AAD5E71}"/>
                </a:ext>
              </a:extLst>
            </p:cNvPr>
            <p:cNvSpPr/>
            <p:nvPr/>
          </p:nvSpPr>
          <p:spPr>
            <a:xfrm flipH="1">
              <a:off x="11567197" y="666313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03CBCB9-9BA0-4962-8573-ED8AEA14A17C}"/>
                </a:ext>
              </a:extLst>
            </p:cNvPr>
            <p:cNvSpPr/>
            <p:nvPr/>
          </p:nvSpPr>
          <p:spPr>
            <a:xfrm flipH="1">
              <a:off x="11567827" y="665626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FE83D429-D809-4991-99DB-6B144F6F5113}"/>
                </a:ext>
              </a:extLst>
            </p:cNvPr>
            <p:cNvSpPr/>
            <p:nvPr/>
          </p:nvSpPr>
          <p:spPr>
            <a:xfrm flipH="1">
              <a:off x="11567197" y="659818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2A06DFC-D142-4460-A798-D8ACA3BC0C29}"/>
                </a:ext>
              </a:extLst>
            </p:cNvPr>
            <p:cNvSpPr/>
            <p:nvPr/>
          </p:nvSpPr>
          <p:spPr>
            <a:xfrm flipH="1">
              <a:off x="11567217" y="659429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5FD505CB-6F93-4F6F-8264-3F29F23F4D5B}"/>
                </a:ext>
              </a:extLst>
            </p:cNvPr>
            <p:cNvSpPr/>
            <p:nvPr/>
          </p:nvSpPr>
          <p:spPr>
            <a:xfrm flipH="1">
              <a:off x="11567197" y="653322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342A780-DEDB-435B-A098-937A2A1505AF}"/>
                </a:ext>
              </a:extLst>
            </p:cNvPr>
            <p:cNvSpPr/>
            <p:nvPr/>
          </p:nvSpPr>
          <p:spPr>
            <a:xfrm flipH="1">
              <a:off x="11567446" y="6529445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80 w 154654"/>
                <a:gd name="connsiteY1" fmla="*/ 0 h 61861"/>
                <a:gd name="connsiteX2" fmla="*/ 170714 w 154654"/>
                <a:gd name="connsiteY2" fmla="*/ 11697 h 61861"/>
                <a:gd name="connsiteX3" fmla="*/ 4035 w 154654"/>
                <a:gd name="connsiteY3" fmla="*/ 6919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80" y="0"/>
                  </a:lnTo>
                  <a:lnTo>
                    <a:pt x="170714" y="11697"/>
                  </a:lnTo>
                  <a:lnTo>
                    <a:pt x="4035" y="6919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37361B04-4CE4-4F3E-A327-450D1953EEFC}"/>
                </a:ext>
              </a:extLst>
            </p:cNvPr>
            <p:cNvSpPr/>
            <p:nvPr/>
          </p:nvSpPr>
          <p:spPr>
            <a:xfrm flipH="1">
              <a:off x="11567197" y="647136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D4C702A5-1EA4-45E4-B956-ED0FE348C1A4}"/>
                </a:ext>
              </a:extLst>
            </p:cNvPr>
            <p:cNvSpPr/>
            <p:nvPr/>
          </p:nvSpPr>
          <p:spPr>
            <a:xfrm flipH="1">
              <a:off x="11566999" y="646743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2EE3C85F-88F4-4DC8-A459-32B613C19742}"/>
                </a:ext>
              </a:extLst>
            </p:cNvPr>
            <p:cNvSpPr/>
            <p:nvPr/>
          </p:nvSpPr>
          <p:spPr>
            <a:xfrm flipH="1">
              <a:off x="11567197" y="640641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BBCBFF4D-A339-48EB-82CD-F7EAFB4B166C}"/>
                </a:ext>
              </a:extLst>
            </p:cNvPr>
            <p:cNvSpPr/>
            <p:nvPr/>
          </p:nvSpPr>
          <p:spPr>
            <a:xfrm flipH="1">
              <a:off x="11567396" y="6402547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770F24F8-4089-4A5C-BEEF-0E40676321E0}"/>
                </a:ext>
              </a:extLst>
            </p:cNvPr>
            <p:cNvSpPr/>
            <p:nvPr/>
          </p:nvSpPr>
          <p:spPr>
            <a:xfrm flipH="1">
              <a:off x="11567197" y="634454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04AE0860-9498-4B88-9609-4231111000B2}"/>
                </a:ext>
              </a:extLst>
            </p:cNvPr>
            <p:cNvSpPr/>
            <p:nvPr/>
          </p:nvSpPr>
          <p:spPr>
            <a:xfrm flipH="1">
              <a:off x="11567792" y="633766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7CDEC3B0-98A0-4276-8D9B-8B9D482958B3}"/>
                </a:ext>
              </a:extLst>
            </p:cNvPr>
            <p:cNvSpPr/>
            <p:nvPr/>
          </p:nvSpPr>
          <p:spPr>
            <a:xfrm flipH="1">
              <a:off x="11567197" y="6279594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48E25FB4-B6D5-467C-8DC5-39E3AB13F486}"/>
                </a:ext>
              </a:extLst>
            </p:cNvPr>
            <p:cNvSpPr/>
            <p:nvPr/>
          </p:nvSpPr>
          <p:spPr>
            <a:xfrm flipH="1">
              <a:off x="11567317" y="6275549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8D2E924B-1E23-47E7-A93F-6E11792247E6}"/>
                </a:ext>
              </a:extLst>
            </p:cNvPr>
            <p:cNvSpPr/>
            <p:nvPr/>
          </p:nvSpPr>
          <p:spPr>
            <a:xfrm flipH="1">
              <a:off x="11567197" y="621463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CEE29685-4D35-4D61-8ED4-89D20E8D02DF}"/>
                </a:ext>
              </a:extLst>
            </p:cNvPr>
            <p:cNvSpPr/>
            <p:nvPr/>
          </p:nvSpPr>
          <p:spPr>
            <a:xfrm flipH="1">
              <a:off x="11567577" y="621080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6D93B905-3FFD-457C-891C-9353C528CC74}"/>
                </a:ext>
              </a:extLst>
            </p:cNvPr>
            <p:cNvSpPr/>
            <p:nvPr/>
          </p:nvSpPr>
          <p:spPr>
            <a:xfrm flipH="1">
              <a:off x="11567197" y="615277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12E11A0C-CBF5-440F-B099-01BFEEADFC04}"/>
                </a:ext>
              </a:extLst>
            </p:cNvPr>
            <p:cNvSpPr/>
            <p:nvPr/>
          </p:nvSpPr>
          <p:spPr>
            <a:xfrm flipH="1">
              <a:off x="11566961" y="614883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282275B0-8CE4-422A-8988-847F23C81622}"/>
                </a:ext>
              </a:extLst>
            </p:cNvPr>
            <p:cNvSpPr/>
            <p:nvPr/>
          </p:nvSpPr>
          <p:spPr>
            <a:xfrm flipH="1">
              <a:off x="11567197" y="608782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39D0916E-7BD9-4FDF-B53F-F73B6E5A3660}"/>
                </a:ext>
              </a:extLst>
            </p:cNvPr>
            <p:cNvSpPr/>
            <p:nvPr/>
          </p:nvSpPr>
          <p:spPr>
            <a:xfrm flipH="1">
              <a:off x="11567361" y="608394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E5AD93D0-1D9D-4541-98D0-8D73546337DC}"/>
                </a:ext>
              </a:extLst>
            </p:cNvPr>
            <p:cNvSpPr/>
            <p:nvPr/>
          </p:nvSpPr>
          <p:spPr>
            <a:xfrm flipH="1">
              <a:off x="11567197" y="602596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B38A3AA-C5DE-45F3-9235-EC39CEBE2B67}"/>
                </a:ext>
              </a:extLst>
            </p:cNvPr>
            <p:cNvSpPr/>
            <p:nvPr/>
          </p:nvSpPr>
          <p:spPr>
            <a:xfrm flipH="1">
              <a:off x="11567755" y="601905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37DD6EA4-FC4A-4991-9013-1AEF9AF22855}"/>
                </a:ext>
              </a:extLst>
            </p:cNvPr>
            <p:cNvSpPr/>
            <p:nvPr/>
          </p:nvSpPr>
          <p:spPr>
            <a:xfrm flipH="1">
              <a:off x="11567197" y="596100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EA8CBFFA-E4A1-486B-AB5D-B1BB6C9FD631}"/>
                </a:ext>
              </a:extLst>
            </p:cNvPr>
            <p:cNvSpPr/>
            <p:nvPr/>
          </p:nvSpPr>
          <p:spPr>
            <a:xfrm flipH="1">
              <a:off x="11567143" y="5957087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F1A3CDCD-93EA-4038-83C7-12DCCC8A7531}"/>
                </a:ext>
              </a:extLst>
            </p:cNvPr>
            <p:cNvSpPr/>
            <p:nvPr/>
          </p:nvSpPr>
          <p:spPr>
            <a:xfrm flipH="1">
              <a:off x="11567197" y="589605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10388AE-B32E-411B-BDB6-3AAC1BA4F3E8}"/>
                </a:ext>
              </a:extLst>
            </p:cNvPr>
            <p:cNvSpPr/>
            <p:nvPr/>
          </p:nvSpPr>
          <p:spPr>
            <a:xfrm flipH="1">
              <a:off x="11567539" y="5892196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B7F3AAE9-B30B-4695-A459-52E740BE4C0D}"/>
                </a:ext>
              </a:extLst>
            </p:cNvPr>
            <p:cNvSpPr/>
            <p:nvPr/>
          </p:nvSpPr>
          <p:spPr>
            <a:xfrm flipH="1">
              <a:off x="11567197" y="583419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A52D19E3-7B47-443C-B984-972F840730F6}"/>
                </a:ext>
              </a:extLst>
            </p:cNvPr>
            <p:cNvSpPr/>
            <p:nvPr/>
          </p:nvSpPr>
          <p:spPr>
            <a:xfrm flipH="1">
              <a:off x="11566930" y="5830229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153120F2-531A-4F69-9DED-FBC2FBBF2744}"/>
                </a:ext>
              </a:extLst>
            </p:cNvPr>
            <p:cNvSpPr/>
            <p:nvPr/>
          </p:nvSpPr>
          <p:spPr>
            <a:xfrm flipH="1">
              <a:off x="11567197" y="5769235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99109F8D-0A6F-443A-8C57-B2B09A23E4F9}"/>
                </a:ext>
              </a:extLst>
            </p:cNvPr>
            <p:cNvSpPr/>
            <p:nvPr/>
          </p:nvSpPr>
          <p:spPr>
            <a:xfrm flipH="1">
              <a:off x="11567324" y="576533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13C27643-84C2-4897-BAC6-BB6D8D2162C7}"/>
                </a:ext>
              </a:extLst>
            </p:cNvPr>
            <p:cNvSpPr/>
            <p:nvPr/>
          </p:nvSpPr>
          <p:spPr>
            <a:xfrm flipH="1">
              <a:off x="11567197" y="570428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CCC295B9-4812-483E-B89A-FC04E3CAE3F4}"/>
                </a:ext>
              </a:extLst>
            </p:cNvPr>
            <p:cNvSpPr/>
            <p:nvPr/>
          </p:nvSpPr>
          <p:spPr>
            <a:xfrm flipH="1">
              <a:off x="11567721" y="570044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526EC796-6E05-4DC0-85C5-CFB58004F4AA}"/>
                </a:ext>
              </a:extLst>
            </p:cNvPr>
            <p:cNvSpPr/>
            <p:nvPr/>
          </p:nvSpPr>
          <p:spPr>
            <a:xfrm flipH="1">
              <a:off x="11567197" y="564241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43230B6F-84AD-4B93-86AB-F28565D7B022}"/>
                </a:ext>
              </a:extLst>
            </p:cNvPr>
            <p:cNvSpPr/>
            <p:nvPr/>
          </p:nvSpPr>
          <p:spPr>
            <a:xfrm flipH="1">
              <a:off x="11567162" y="5638428"/>
              <a:ext cx="154654" cy="61862"/>
            </a:xfrm>
            <a:custGeom>
              <a:avLst/>
              <a:gdLst>
                <a:gd name="connsiteX0" fmla="*/ 0 w 154654"/>
                <a:gd name="connsiteY0" fmla="*/ 57511 h 61861"/>
                <a:gd name="connsiteX1" fmla="*/ 166662 w 154654"/>
                <a:gd name="connsiteY1" fmla="*/ 0 h 61861"/>
                <a:gd name="connsiteX2" fmla="*/ 170698 w 154654"/>
                <a:gd name="connsiteY2" fmla="*/ 11696 h 61861"/>
                <a:gd name="connsiteX3" fmla="*/ 4036 w 154654"/>
                <a:gd name="connsiteY3" fmla="*/ 69207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11"/>
                  </a:moveTo>
                  <a:lnTo>
                    <a:pt x="166662" y="0"/>
                  </a:lnTo>
                  <a:lnTo>
                    <a:pt x="170698" y="11696"/>
                  </a:lnTo>
                  <a:lnTo>
                    <a:pt x="4036" y="69207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82456E20-234A-4875-9E07-D2DDC069EC7A}"/>
                </a:ext>
              </a:extLst>
            </p:cNvPr>
            <p:cNvSpPr/>
            <p:nvPr/>
          </p:nvSpPr>
          <p:spPr>
            <a:xfrm flipH="1">
              <a:off x="11567197" y="557746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6DFD5049-0574-4181-90C5-6DA541165623}"/>
                </a:ext>
              </a:extLst>
            </p:cNvPr>
            <p:cNvSpPr/>
            <p:nvPr/>
          </p:nvSpPr>
          <p:spPr>
            <a:xfrm flipH="1">
              <a:off x="11567505" y="557359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CA394EB8-BDC9-4C9D-A3E3-095AC4D074B1}"/>
                </a:ext>
              </a:extLst>
            </p:cNvPr>
            <p:cNvSpPr/>
            <p:nvPr/>
          </p:nvSpPr>
          <p:spPr>
            <a:xfrm flipH="1">
              <a:off x="11567197" y="551560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1F595CBC-A5C1-4650-A07A-648DAF4F8A0C}"/>
                </a:ext>
              </a:extLst>
            </p:cNvPr>
            <p:cNvSpPr/>
            <p:nvPr/>
          </p:nvSpPr>
          <p:spPr>
            <a:xfrm flipH="1">
              <a:off x="11566893" y="551162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D6BD059A-94FD-43F0-A082-A7155B36E8E0}"/>
                </a:ext>
              </a:extLst>
            </p:cNvPr>
            <p:cNvSpPr/>
            <p:nvPr/>
          </p:nvSpPr>
          <p:spPr>
            <a:xfrm flipH="1">
              <a:off x="11307378" y="67280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1F77DFC6-ADD1-403E-AAEC-0B85C8417B79}"/>
                </a:ext>
              </a:extLst>
            </p:cNvPr>
            <p:cNvSpPr/>
            <p:nvPr/>
          </p:nvSpPr>
          <p:spPr>
            <a:xfrm flipH="1">
              <a:off x="11307378" y="672190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94F2C216-DFD9-44CF-BD0E-4B6A5B384171}"/>
                </a:ext>
              </a:extLst>
            </p:cNvPr>
            <p:cNvSpPr/>
            <p:nvPr/>
          </p:nvSpPr>
          <p:spPr>
            <a:xfrm flipH="1">
              <a:off x="11307378" y="666313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E1E7E75D-1A0D-4481-8C1A-B85B6BF8BFC3}"/>
                </a:ext>
              </a:extLst>
            </p:cNvPr>
            <p:cNvSpPr/>
            <p:nvPr/>
          </p:nvSpPr>
          <p:spPr>
            <a:xfrm flipH="1">
              <a:off x="11307378" y="665695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088D45CD-CF4B-458D-B677-AAAFE732A9F0}"/>
                </a:ext>
              </a:extLst>
            </p:cNvPr>
            <p:cNvSpPr/>
            <p:nvPr/>
          </p:nvSpPr>
          <p:spPr>
            <a:xfrm flipH="1">
              <a:off x="11307378" y="659818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DFF0DCFC-199B-4B5C-A1B8-52A8D4BE3B91}"/>
                </a:ext>
              </a:extLst>
            </p:cNvPr>
            <p:cNvSpPr/>
            <p:nvPr/>
          </p:nvSpPr>
          <p:spPr>
            <a:xfrm flipH="1">
              <a:off x="11307378" y="659508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297B7D4D-36B3-42D7-8811-EFC7E8B73673}"/>
                </a:ext>
              </a:extLst>
            </p:cNvPr>
            <p:cNvSpPr/>
            <p:nvPr/>
          </p:nvSpPr>
          <p:spPr>
            <a:xfrm flipH="1">
              <a:off x="11307378" y="653631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1C38EB3F-482F-49A3-BA5E-1CC56EC8A908}"/>
                </a:ext>
              </a:extLst>
            </p:cNvPr>
            <p:cNvSpPr/>
            <p:nvPr/>
          </p:nvSpPr>
          <p:spPr>
            <a:xfrm flipH="1">
              <a:off x="11307378" y="653013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593B35F0-38B6-44D3-B47F-408BB04D4CF3}"/>
                </a:ext>
              </a:extLst>
            </p:cNvPr>
            <p:cNvSpPr/>
            <p:nvPr/>
          </p:nvSpPr>
          <p:spPr>
            <a:xfrm flipH="1">
              <a:off x="11307378" y="647136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020EF488-7A60-4E8F-8CF8-CE1CF1C5CEB9}"/>
                </a:ext>
              </a:extLst>
            </p:cNvPr>
            <p:cNvSpPr/>
            <p:nvPr/>
          </p:nvSpPr>
          <p:spPr>
            <a:xfrm flipH="1">
              <a:off x="11307378" y="64651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6965E37F-A0EE-4D33-A53E-EA85EC4C9BD1}"/>
                </a:ext>
              </a:extLst>
            </p:cNvPr>
            <p:cNvSpPr/>
            <p:nvPr/>
          </p:nvSpPr>
          <p:spPr>
            <a:xfrm flipH="1">
              <a:off x="11307378" y="64095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454DDBAF-C3A5-4EDA-B576-5AB481FCB34B}"/>
                </a:ext>
              </a:extLst>
            </p:cNvPr>
            <p:cNvSpPr/>
            <p:nvPr/>
          </p:nvSpPr>
          <p:spPr>
            <a:xfrm flipH="1">
              <a:off x="11307378" y="640331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AC876B78-565B-4F7A-90B7-CD40C1B61FEC}"/>
                </a:ext>
              </a:extLst>
            </p:cNvPr>
            <p:cNvSpPr/>
            <p:nvPr/>
          </p:nvSpPr>
          <p:spPr>
            <a:xfrm flipH="1">
              <a:off x="11307378" y="634454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E09369CC-A3BA-406D-A0C4-D78045F3D906}"/>
                </a:ext>
              </a:extLst>
            </p:cNvPr>
            <p:cNvSpPr/>
            <p:nvPr/>
          </p:nvSpPr>
          <p:spPr>
            <a:xfrm flipH="1">
              <a:off x="11307378" y="633836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8076C4D1-409C-4034-8052-085F41252870}"/>
                </a:ext>
              </a:extLst>
            </p:cNvPr>
            <p:cNvSpPr/>
            <p:nvPr/>
          </p:nvSpPr>
          <p:spPr>
            <a:xfrm flipH="1">
              <a:off x="11307378" y="627959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86819462-623B-4A48-9D18-A89F14D8D349}"/>
                </a:ext>
              </a:extLst>
            </p:cNvPr>
            <p:cNvSpPr/>
            <p:nvPr/>
          </p:nvSpPr>
          <p:spPr>
            <a:xfrm flipH="1">
              <a:off x="11307378" y="627650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32F9E1A4-D937-4A8F-8D60-A404F3E803ED}"/>
                </a:ext>
              </a:extLst>
            </p:cNvPr>
            <p:cNvSpPr/>
            <p:nvPr/>
          </p:nvSpPr>
          <p:spPr>
            <a:xfrm flipH="1">
              <a:off x="11307378" y="62177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EB21725D-FA03-436A-A3B2-A11732A55F3A}"/>
                </a:ext>
              </a:extLst>
            </p:cNvPr>
            <p:cNvSpPr/>
            <p:nvPr/>
          </p:nvSpPr>
          <p:spPr>
            <a:xfrm flipH="1">
              <a:off x="11307378" y="62115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35BB188B-AADF-4C2C-81C0-4E123D490121}"/>
                </a:ext>
              </a:extLst>
            </p:cNvPr>
            <p:cNvSpPr/>
            <p:nvPr/>
          </p:nvSpPr>
          <p:spPr>
            <a:xfrm flipH="1">
              <a:off x="11307378" y="615277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72EF9B05-DD69-424B-A2D9-CDA204CFA617}"/>
                </a:ext>
              </a:extLst>
            </p:cNvPr>
            <p:cNvSpPr/>
            <p:nvPr/>
          </p:nvSpPr>
          <p:spPr>
            <a:xfrm flipH="1">
              <a:off x="11307378" y="61465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E828774C-02C6-42CE-B022-53A15FF35441}"/>
                </a:ext>
              </a:extLst>
            </p:cNvPr>
            <p:cNvSpPr/>
            <p:nvPr/>
          </p:nvSpPr>
          <p:spPr>
            <a:xfrm flipH="1">
              <a:off x="11307378" y="609091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6C412ACF-D409-473A-A53C-C76CF37B64E5}"/>
                </a:ext>
              </a:extLst>
            </p:cNvPr>
            <p:cNvSpPr/>
            <p:nvPr/>
          </p:nvSpPr>
          <p:spPr>
            <a:xfrm flipH="1">
              <a:off x="11307378" y="608472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F61D2388-723C-431A-958A-155CC22381A2}"/>
                </a:ext>
              </a:extLst>
            </p:cNvPr>
            <p:cNvSpPr/>
            <p:nvPr/>
          </p:nvSpPr>
          <p:spPr>
            <a:xfrm flipH="1">
              <a:off x="11307378" y="602596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960C1812-4BBB-4521-9FCD-C053DC578E07}"/>
                </a:ext>
              </a:extLst>
            </p:cNvPr>
            <p:cNvSpPr/>
            <p:nvPr/>
          </p:nvSpPr>
          <p:spPr>
            <a:xfrm flipH="1">
              <a:off x="11307378" y="601977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A53B3A76-BE14-4416-8A27-0EAA2CCA7C8D}"/>
                </a:ext>
              </a:extLst>
            </p:cNvPr>
            <p:cNvSpPr/>
            <p:nvPr/>
          </p:nvSpPr>
          <p:spPr>
            <a:xfrm flipH="1">
              <a:off x="11307378" y="596100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7DDB2246-FCB6-4C56-B100-790EA235B5FB}"/>
                </a:ext>
              </a:extLst>
            </p:cNvPr>
            <p:cNvSpPr/>
            <p:nvPr/>
          </p:nvSpPr>
          <p:spPr>
            <a:xfrm flipH="1">
              <a:off x="11307378" y="595482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AC7A403D-1A4D-4207-8B39-20EAB39C999E}"/>
                </a:ext>
              </a:extLst>
            </p:cNvPr>
            <p:cNvSpPr/>
            <p:nvPr/>
          </p:nvSpPr>
          <p:spPr>
            <a:xfrm flipH="1">
              <a:off x="11307378" y="589914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78016D3A-F9C7-4B31-8307-B07F85004BBB}"/>
                </a:ext>
              </a:extLst>
            </p:cNvPr>
            <p:cNvSpPr/>
            <p:nvPr/>
          </p:nvSpPr>
          <p:spPr>
            <a:xfrm flipH="1">
              <a:off x="11307378" y="589295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830137B6-D4C4-422F-9DA8-7737A9888843}"/>
                </a:ext>
              </a:extLst>
            </p:cNvPr>
            <p:cNvSpPr/>
            <p:nvPr/>
          </p:nvSpPr>
          <p:spPr>
            <a:xfrm flipH="1">
              <a:off x="11307378" y="583419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86CFD434-76DB-423F-9A2C-1E795D4E5B3D}"/>
                </a:ext>
              </a:extLst>
            </p:cNvPr>
            <p:cNvSpPr/>
            <p:nvPr/>
          </p:nvSpPr>
          <p:spPr>
            <a:xfrm flipH="1">
              <a:off x="11307378" y="58280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0FCA70CD-6F66-464C-A2C8-B14F2B028B63}"/>
                </a:ext>
              </a:extLst>
            </p:cNvPr>
            <p:cNvSpPr/>
            <p:nvPr/>
          </p:nvSpPr>
          <p:spPr>
            <a:xfrm flipH="1">
              <a:off x="11307378" y="57723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80DF5C46-F3AD-491F-A5FA-3C4286D8BB0D}"/>
                </a:ext>
              </a:extLst>
            </p:cNvPr>
            <p:cNvSpPr/>
            <p:nvPr/>
          </p:nvSpPr>
          <p:spPr>
            <a:xfrm flipH="1">
              <a:off x="11307378" y="57661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887C248E-05C0-434E-9C4E-A0C57F0EF7F6}"/>
                </a:ext>
              </a:extLst>
            </p:cNvPr>
            <p:cNvSpPr/>
            <p:nvPr/>
          </p:nvSpPr>
          <p:spPr>
            <a:xfrm flipH="1">
              <a:off x="11307378" y="570737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E800B040-6FF8-4F49-B78A-408A695598B5}"/>
                </a:ext>
              </a:extLst>
            </p:cNvPr>
            <p:cNvSpPr/>
            <p:nvPr/>
          </p:nvSpPr>
          <p:spPr>
            <a:xfrm flipH="1">
              <a:off x="11307378" y="57011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589A1C9D-291E-47BD-8FFC-D26B204AF619}"/>
                </a:ext>
              </a:extLst>
            </p:cNvPr>
            <p:cNvSpPr/>
            <p:nvPr/>
          </p:nvSpPr>
          <p:spPr>
            <a:xfrm flipH="1">
              <a:off x="11307378" y="564241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29CA21D6-D0D7-4416-84D7-C859F96EA565}"/>
                </a:ext>
              </a:extLst>
            </p:cNvPr>
            <p:cNvSpPr/>
            <p:nvPr/>
          </p:nvSpPr>
          <p:spPr>
            <a:xfrm flipH="1">
              <a:off x="11307378" y="56362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B241FD8F-64DE-4C6F-9604-B863F30D14EC}"/>
                </a:ext>
              </a:extLst>
            </p:cNvPr>
            <p:cNvSpPr/>
            <p:nvPr/>
          </p:nvSpPr>
          <p:spPr>
            <a:xfrm flipH="1">
              <a:off x="11307378" y="55805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4ADF07E9-E2B7-4F50-91B5-2D89727CED90}"/>
                </a:ext>
              </a:extLst>
            </p:cNvPr>
            <p:cNvSpPr/>
            <p:nvPr/>
          </p:nvSpPr>
          <p:spPr>
            <a:xfrm flipH="1">
              <a:off x="11307378" y="557437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660DD4BC-67D8-4D7F-8372-72B9C1DEB3E8}"/>
                </a:ext>
              </a:extLst>
            </p:cNvPr>
            <p:cNvSpPr/>
            <p:nvPr/>
          </p:nvSpPr>
          <p:spPr>
            <a:xfrm flipH="1">
              <a:off x="11307378" y="551560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2DD3FCE2-5802-47A2-B48A-CB4FF4123DAD}"/>
                </a:ext>
              </a:extLst>
            </p:cNvPr>
            <p:cNvSpPr/>
            <p:nvPr/>
          </p:nvSpPr>
          <p:spPr>
            <a:xfrm flipH="1">
              <a:off x="11307378" y="550941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A1143AEC-A0A3-4049-A76F-EF7B3951CEC5}"/>
                </a:ext>
              </a:extLst>
            </p:cNvPr>
            <p:cNvSpPr/>
            <p:nvPr/>
          </p:nvSpPr>
          <p:spPr>
            <a:xfrm flipH="1">
              <a:off x="11567197" y="620845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78EE5F5E-D7C7-43D7-91FB-048223F59D22}"/>
                </a:ext>
              </a:extLst>
            </p:cNvPr>
            <p:cNvSpPr/>
            <p:nvPr/>
          </p:nvSpPr>
          <p:spPr>
            <a:xfrm flipH="1">
              <a:off x="11567272" y="620456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E2ECA3B6-1BA3-46DB-B58E-9483E90767EC}"/>
                </a:ext>
              </a:extLst>
            </p:cNvPr>
            <p:cNvSpPr/>
            <p:nvPr/>
          </p:nvSpPr>
          <p:spPr>
            <a:xfrm flipH="1">
              <a:off x="11567197" y="614349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37045484-ECED-4A82-AED2-607043500477}"/>
                </a:ext>
              </a:extLst>
            </p:cNvPr>
            <p:cNvSpPr/>
            <p:nvPr/>
          </p:nvSpPr>
          <p:spPr>
            <a:xfrm flipH="1">
              <a:off x="11567669" y="6139674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DA967171-506C-4F97-B293-4DE381F1354D}"/>
                </a:ext>
              </a:extLst>
            </p:cNvPr>
            <p:cNvSpPr/>
            <p:nvPr/>
          </p:nvSpPr>
          <p:spPr>
            <a:xfrm flipH="1">
              <a:off x="11567197" y="608163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CDB64E2D-9024-4445-8E87-1C22FB2EB51C}"/>
                </a:ext>
              </a:extLst>
            </p:cNvPr>
            <p:cNvSpPr/>
            <p:nvPr/>
          </p:nvSpPr>
          <p:spPr>
            <a:xfrm flipH="1">
              <a:off x="11567057" y="6077707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C1B6A564-BD54-4928-8BC5-2AAE1A6B0EE5}"/>
                </a:ext>
              </a:extLst>
            </p:cNvPr>
            <p:cNvSpPr/>
            <p:nvPr/>
          </p:nvSpPr>
          <p:spPr>
            <a:xfrm flipH="1">
              <a:off x="11567197" y="6016681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835F8956-52C0-4642-9605-0C41F9BB64BE}"/>
                </a:ext>
              </a:extLst>
            </p:cNvPr>
            <p:cNvSpPr/>
            <p:nvPr/>
          </p:nvSpPr>
          <p:spPr>
            <a:xfrm flipH="1">
              <a:off x="11567312" y="6012848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79 w 154654"/>
                <a:gd name="connsiteY1" fmla="*/ 0 h 61861"/>
                <a:gd name="connsiteX2" fmla="*/ 170714 w 154654"/>
                <a:gd name="connsiteY2" fmla="*/ 11697 h 61861"/>
                <a:gd name="connsiteX3" fmla="*/ 4035 w 154654"/>
                <a:gd name="connsiteY3" fmla="*/ 6919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79" y="0"/>
                  </a:lnTo>
                  <a:lnTo>
                    <a:pt x="170714" y="11697"/>
                  </a:lnTo>
                  <a:lnTo>
                    <a:pt x="4035" y="6919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5C9F4D66-6C7D-49B3-B80E-6F5502FA843B}"/>
                </a:ext>
              </a:extLst>
            </p:cNvPr>
            <p:cNvSpPr/>
            <p:nvPr/>
          </p:nvSpPr>
          <p:spPr>
            <a:xfrm flipH="1">
              <a:off x="11567197" y="5954820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13965EF0-E968-4FBB-8406-D6D636943495}"/>
                </a:ext>
              </a:extLst>
            </p:cNvPr>
            <p:cNvSpPr/>
            <p:nvPr/>
          </p:nvSpPr>
          <p:spPr>
            <a:xfrm flipH="1">
              <a:off x="11567851" y="5947926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E5BFA32B-EE31-433B-BC4A-E294D3011E72}"/>
                </a:ext>
              </a:extLst>
            </p:cNvPr>
            <p:cNvSpPr/>
            <p:nvPr/>
          </p:nvSpPr>
          <p:spPr>
            <a:xfrm flipH="1">
              <a:off x="11567197" y="588986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BFD2FF3C-2C8A-4A7F-BE04-BCC3AA11AA98}"/>
                </a:ext>
              </a:extLst>
            </p:cNvPr>
            <p:cNvSpPr/>
            <p:nvPr/>
          </p:nvSpPr>
          <p:spPr>
            <a:xfrm flipH="1">
              <a:off x="11567235" y="588595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EE9B6C24-3162-4313-A5FD-91817494C60F}"/>
                </a:ext>
              </a:extLst>
            </p:cNvPr>
            <p:cNvSpPr/>
            <p:nvPr/>
          </p:nvSpPr>
          <p:spPr>
            <a:xfrm flipH="1">
              <a:off x="11567197" y="582491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D128DB78-C998-45B6-B711-56D058E5EF13}"/>
                </a:ext>
              </a:extLst>
            </p:cNvPr>
            <p:cNvSpPr/>
            <p:nvPr/>
          </p:nvSpPr>
          <p:spPr>
            <a:xfrm flipH="1">
              <a:off x="11567635" y="582106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7AC29EE3-A54F-4506-B440-8A6BC3329FA6}"/>
                </a:ext>
              </a:extLst>
            </p:cNvPr>
            <p:cNvSpPr/>
            <p:nvPr/>
          </p:nvSpPr>
          <p:spPr>
            <a:xfrm flipH="1">
              <a:off x="11567197" y="576304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6FF55563-7B05-4A32-890C-2DF3A5460CBB}"/>
                </a:ext>
              </a:extLst>
            </p:cNvPr>
            <p:cNvSpPr/>
            <p:nvPr/>
          </p:nvSpPr>
          <p:spPr>
            <a:xfrm flipH="1">
              <a:off x="11567023" y="575910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5BE5743F-6794-45CB-B6FF-2DF1F36DFD13}"/>
                </a:ext>
              </a:extLst>
            </p:cNvPr>
            <p:cNvSpPr/>
            <p:nvPr/>
          </p:nvSpPr>
          <p:spPr>
            <a:xfrm flipH="1">
              <a:off x="11567197" y="569809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BD01F760-B2D3-45D0-A5A8-DBC485C73467}"/>
                </a:ext>
              </a:extLst>
            </p:cNvPr>
            <p:cNvSpPr/>
            <p:nvPr/>
          </p:nvSpPr>
          <p:spPr>
            <a:xfrm flipH="1">
              <a:off x="11567416" y="569421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E8F84147-115C-4D1C-9498-5A9A860F139D}"/>
                </a:ext>
              </a:extLst>
            </p:cNvPr>
            <p:cNvSpPr/>
            <p:nvPr/>
          </p:nvSpPr>
          <p:spPr>
            <a:xfrm flipH="1">
              <a:off x="11567197" y="563623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7A447A3E-8124-4C39-8EDC-B47C2419F57F}"/>
                </a:ext>
              </a:extLst>
            </p:cNvPr>
            <p:cNvSpPr/>
            <p:nvPr/>
          </p:nvSpPr>
          <p:spPr>
            <a:xfrm flipH="1">
              <a:off x="11567813" y="5629320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E74A2F0D-02B2-4A53-941A-30D005B50C10}"/>
                </a:ext>
              </a:extLst>
            </p:cNvPr>
            <p:cNvSpPr/>
            <p:nvPr/>
          </p:nvSpPr>
          <p:spPr>
            <a:xfrm flipH="1">
              <a:off x="11567197" y="557127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3530EC2D-B8BE-41F2-9246-A75673E9AC94}"/>
                </a:ext>
              </a:extLst>
            </p:cNvPr>
            <p:cNvSpPr/>
            <p:nvPr/>
          </p:nvSpPr>
          <p:spPr>
            <a:xfrm flipH="1">
              <a:off x="11567204" y="5567356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C48EFB5D-FF81-4084-B7C8-9452596EF8AD}"/>
                </a:ext>
              </a:extLst>
            </p:cNvPr>
            <p:cNvSpPr/>
            <p:nvPr/>
          </p:nvSpPr>
          <p:spPr>
            <a:xfrm flipH="1">
              <a:off x="11567197" y="5506323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FA6D2E1B-90C6-46C9-9627-270D98CD6A25}"/>
                </a:ext>
              </a:extLst>
            </p:cNvPr>
            <p:cNvSpPr/>
            <p:nvPr/>
          </p:nvSpPr>
          <p:spPr>
            <a:xfrm flipH="1">
              <a:off x="11567598" y="550246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D58ADA7C-7D8F-4F11-B38D-C268FFC9CBAA}"/>
                </a:ext>
              </a:extLst>
            </p:cNvPr>
            <p:cNvSpPr/>
            <p:nvPr/>
          </p:nvSpPr>
          <p:spPr>
            <a:xfrm flipH="1">
              <a:off x="11567197" y="5444461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7521BAE5-8644-49A2-857C-AFD825D30DD2}"/>
                </a:ext>
              </a:extLst>
            </p:cNvPr>
            <p:cNvSpPr/>
            <p:nvPr/>
          </p:nvSpPr>
          <p:spPr>
            <a:xfrm flipH="1">
              <a:off x="11566985" y="544049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718592C9-1D84-41D5-AE4A-4064B87FF5A8}"/>
                </a:ext>
              </a:extLst>
            </p:cNvPr>
            <p:cNvSpPr/>
            <p:nvPr/>
          </p:nvSpPr>
          <p:spPr>
            <a:xfrm flipH="1">
              <a:off x="11567197" y="5379506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373D35A8-A629-4396-8E28-7A51F12CC77F}"/>
                </a:ext>
              </a:extLst>
            </p:cNvPr>
            <p:cNvSpPr/>
            <p:nvPr/>
          </p:nvSpPr>
          <p:spPr>
            <a:xfrm flipH="1">
              <a:off x="11567379" y="537560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E26B35B8-5DE5-4E19-958D-948220626462}"/>
                </a:ext>
              </a:extLst>
            </p:cNvPr>
            <p:cNvSpPr/>
            <p:nvPr/>
          </p:nvSpPr>
          <p:spPr>
            <a:xfrm flipH="1">
              <a:off x="11567197" y="531764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E5654B29-B084-4928-9420-0FA299980816}"/>
                </a:ext>
              </a:extLst>
            </p:cNvPr>
            <p:cNvSpPr/>
            <p:nvPr/>
          </p:nvSpPr>
          <p:spPr>
            <a:xfrm flipH="1">
              <a:off x="11567779" y="5310717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BAE9EAFF-7B25-4ED4-8AF9-750FD4D013D1}"/>
                </a:ext>
              </a:extLst>
            </p:cNvPr>
            <p:cNvSpPr/>
            <p:nvPr/>
          </p:nvSpPr>
          <p:spPr>
            <a:xfrm flipH="1">
              <a:off x="11567197" y="525269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A91F131F-7D4D-472F-ABB5-5C95ACC1E26B}"/>
                </a:ext>
              </a:extLst>
            </p:cNvPr>
            <p:cNvSpPr/>
            <p:nvPr/>
          </p:nvSpPr>
          <p:spPr>
            <a:xfrm flipH="1">
              <a:off x="11567166" y="524875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01FA2E4E-3B2C-4C1F-80FA-EF8C6A48C1FF}"/>
                </a:ext>
              </a:extLst>
            </p:cNvPr>
            <p:cNvSpPr/>
            <p:nvPr/>
          </p:nvSpPr>
          <p:spPr>
            <a:xfrm flipH="1">
              <a:off x="11567197" y="518773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2117C740-12BE-4E9E-AE6A-4CA427EC8C3B}"/>
                </a:ext>
              </a:extLst>
            </p:cNvPr>
            <p:cNvSpPr/>
            <p:nvPr/>
          </p:nvSpPr>
          <p:spPr>
            <a:xfrm flipH="1">
              <a:off x="11567560" y="518385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B9FC3567-B0E2-4A25-B02D-CEDAD3138BE4}"/>
                </a:ext>
              </a:extLst>
            </p:cNvPr>
            <p:cNvSpPr/>
            <p:nvPr/>
          </p:nvSpPr>
          <p:spPr>
            <a:xfrm flipH="1">
              <a:off x="11567197" y="512587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86AC431A-E543-44FF-BE7B-D25C0C60312D}"/>
                </a:ext>
              </a:extLst>
            </p:cNvPr>
            <p:cNvSpPr/>
            <p:nvPr/>
          </p:nvSpPr>
          <p:spPr>
            <a:xfrm flipH="1">
              <a:off x="11566948" y="5121893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5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5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A7554845-4C37-4154-B683-ADB306AF41F4}"/>
                </a:ext>
              </a:extLst>
            </p:cNvPr>
            <p:cNvSpPr/>
            <p:nvPr/>
          </p:nvSpPr>
          <p:spPr>
            <a:xfrm flipH="1">
              <a:off x="11567197" y="506091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0EBC9135-0F5D-433A-8848-D2FF9EA38BFA}"/>
                </a:ext>
              </a:extLst>
            </p:cNvPr>
            <p:cNvSpPr/>
            <p:nvPr/>
          </p:nvSpPr>
          <p:spPr>
            <a:xfrm flipH="1">
              <a:off x="11567348" y="505700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ABD1E70A-96BD-4001-89B6-4994219D9D1D}"/>
                </a:ext>
              </a:extLst>
            </p:cNvPr>
            <p:cNvSpPr/>
            <p:nvPr/>
          </p:nvSpPr>
          <p:spPr>
            <a:xfrm flipH="1">
              <a:off x="11567197" y="499905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BAE2C91C-92FC-4163-90D2-ADBD8799BAED}"/>
                </a:ext>
              </a:extLst>
            </p:cNvPr>
            <p:cNvSpPr/>
            <p:nvPr/>
          </p:nvSpPr>
          <p:spPr>
            <a:xfrm flipH="1">
              <a:off x="11567741" y="499211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FB138BC3-C18D-4B36-A81C-3DB1EC018513}"/>
                </a:ext>
              </a:extLst>
            </p:cNvPr>
            <p:cNvSpPr/>
            <p:nvPr/>
          </p:nvSpPr>
          <p:spPr>
            <a:xfrm flipH="1">
              <a:off x="11307378" y="4934102"/>
              <a:ext cx="247447" cy="1855850"/>
            </a:xfrm>
            <a:custGeom>
              <a:avLst/>
              <a:gdLst>
                <a:gd name="connsiteX0" fmla="*/ 0 w 247446"/>
                <a:gd name="connsiteY0" fmla="*/ 0 h 1855849"/>
                <a:gd name="connsiteX1" fmla="*/ 0 w 247446"/>
                <a:gd name="connsiteY1" fmla="*/ 516545 h 1855849"/>
                <a:gd name="connsiteX2" fmla="*/ 0 w 247446"/>
                <a:gd name="connsiteY2" fmla="*/ 1339305 h 1855849"/>
                <a:gd name="connsiteX3" fmla="*/ 0 w 247446"/>
                <a:gd name="connsiteY3" fmla="*/ 1855850 h 1855849"/>
                <a:gd name="connsiteX4" fmla="*/ 259819 w 247446"/>
                <a:gd name="connsiteY4" fmla="*/ 1855850 h 1855849"/>
                <a:gd name="connsiteX5" fmla="*/ 259819 w 247446"/>
                <a:gd name="connsiteY5" fmla="*/ 1339305 h 1855849"/>
                <a:gd name="connsiteX6" fmla="*/ 259819 w 247446"/>
                <a:gd name="connsiteY6" fmla="*/ 516545 h 1855849"/>
                <a:gd name="connsiteX7" fmla="*/ 259819 w 247446"/>
                <a:gd name="connsiteY7" fmla="*/ 0 h 18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446" h="1855849">
                  <a:moveTo>
                    <a:pt x="0" y="0"/>
                  </a:moveTo>
                  <a:lnTo>
                    <a:pt x="0" y="516545"/>
                  </a:lnTo>
                  <a:lnTo>
                    <a:pt x="0" y="1339305"/>
                  </a:lnTo>
                  <a:lnTo>
                    <a:pt x="0" y="1855850"/>
                  </a:lnTo>
                  <a:lnTo>
                    <a:pt x="259819" y="1855850"/>
                  </a:lnTo>
                  <a:lnTo>
                    <a:pt x="259819" y="1339305"/>
                  </a:lnTo>
                  <a:lnTo>
                    <a:pt x="259819" y="516545"/>
                  </a:lnTo>
                  <a:lnTo>
                    <a:pt x="259819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74E9C527-8422-4B56-B036-27956B67F7AC}"/>
                </a:ext>
              </a:extLst>
            </p:cNvPr>
            <p:cNvSpPr/>
            <p:nvPr/>
          </p:nvSpPr>
          <p:spPr>
            <a:xfrm flipH="1">
              <a:off x="11310471" y="4927916"/>
              <a:ext cx="247447" cy="1855850"/>
            </a:xfrm>
            <a:custGeom>
              <a:avLst/>
              <a:gdLst>
                <a:gd name="connsiteX0" fmla="*/ 269098 w 247446"/>
                <a:gd name="connsiteY0" fmla="*/ 1868222 h 1855849"/>
                <a:gd name="connsiteX1" fmla="*/ 0 w 247446"/>
                <a:gd name="connsiteY1" fmla="*/ 1868222 h 1855849"/>
                <a:gd name="connsiteX2" fmla="*/ 0 w 247446"/>
                <a:gd name="connsiteY2" fmla="*/ 0 h 1855849"/>
                <a:gd name="connsiteX3" fmla="*/ 269098 w 247446"/>
                <a:gd name="connsiteY3" fmla="*/ 0 h 1855849"/>
                <a:gd name="connsiteX4" fmla="*/ 269098 w 247446"/>
                <a:gd name="connsiteY4" fmla="*/ 1868222 h 1855849"/>
                <a:gd name="connsiteX5" fmla="*/ 9279 w 247446"/>
                <a:gd name="connsiteY5" fmla="*/ 1855850 h 1855849"/>
                <a:gd name="connsiteX6" fmla="*/ 256726 w 247446"/>
                <a:gd name="connsiteY6" fmla="*/ 1855850 h 1855849"/>
                <a:gd name="connsiteX7" fmla="*/ 256726 w 247446"/>
                <a:gd name="connsiteY7" fmla="*/ 12372 h 1855849"/>
                <a:gd name="connsiteX8" fmla="*/ 9279 w 247446"/>
                <a:gd name="connsiteY8" fmla="*/ 12372 h 1855849"/>
                <a:gd name="connsiteX9" fmla="*/ 9279 w 247446"/>
                <a:gd name="connsiteY9" fmla="*/ 1855850 h 18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446" h="1855849">
                  <a:moveTo>
                    <a:pt x="269098" y="1868222"/>
                  </a:moveTo>
                  <a:lnTo>
                    <a:pt x="0" y="1868222"/>
                  </a:lnTo>
                  <a:lnTo>
                    <a:pt x="0" y="0"/>
                  </a:lnTo>
                  <a:lnTo>
                    <a:pt x="269098" y="0"/>
                  </a:lnTo>
                  <a:lnTo>
                    <a:pt x="269098" y="1868222"/>
                  </a:lnTo>
                  <a:close/>
                  <a:moveTo>
                    <a:pt x="9279" y="1855850"/>
                  </a:moveTo>
                  <a:lnTo>
                    <a:pt x="256726" y="1855850"/>
                  </a:lnTo>
                  <a:lnTo>
                    <a:pt x="256726" y="12372"/>
                  </a:lnTo>
                  <a:lnTo>
                    <a:pt x="9279" y="12372"/>
                  </a:lnTo>
                  <a:lnTo>
                    <a:pt x="9279" y="1855850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7CFB268F-0B19-4479-AA0F-ACB684A63F9B}"/>
                </a:ext>
              </a:extLst>
            </p:cNvPr>
            <p:cNvSpPr/>
            <p:nvPr/>
          </p:nvSpPr>
          <p:spPr>
            <a:xfrm flipH="1">
              <a:off x="11307378" y="620845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DCF5B8E7-A1EE-40FB-92B3-8CD07C344901}"/>
                </a:ext>
              </a:extLst>
            </p:cNvPr>
            <p:cNvSpPr/>
            <p:nvPr/>
          </p:nvSpPr>
          <p:spPr>
            <a:xfrm flipH="1">
              <a:off x="11307378" y="620535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DDE1324B-E6C1-489B-8AC9-13DC3E3A9A94}"/>
                </a:ext>
              </a:extLst>
            </p:cNvPr>
            <p:cNvSpPr/>
            <p:nvPr/>
          </p:nvSpPr>
          <p:spPr>
            <a:xfrm flipH="1">
              <a:off x="11307378" y="61465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00E72F97-BF11-461E-A2DE-A15C1C052B7B}"/>
                </a:ext>
              </a:extLst>
            </p:cNvPr>
            <p:cNvSpPr/>
            <p:nvPr/>
          </p:nvSpPr>
          <p:spPr>
            <a:xfrm flipH="1">
              <a:off x="11307378" y="614040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1B2472BC-E0A9-444D-BDC4-7F6583C9AB52}"/>
                </a:ext>
              </a:extLst>
            </p:cNvPr>
            <p:cNvSpPr/>
            <p:nvPr/>
          </p:nvSpPr>
          <p:spPr>
            <a:xfrm flipH="1">
              <a:off x="11307378" y="608163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21DFFDE2-E901-45AA-8D22-7BEA87FB5C0A}"/>
                </a:ext>
              </a:extLst>
            </p:cNvPr>
            <p:cNvSpPr/>
            <p:nvPr/>
          </p:nvSpPr>
          <p:spPr>
            <a:xfrm flipH="1">
              <a:off x="11307378" y="607545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691ECFAD-C13D-4D6B-AB1A-4484A9666221}"/>
                </a:ext>
              </a:extLst>
            </p:cNvPr>
            <p:cNvSpPr/>
            <p:nvPr/>
          </p:nvSpPr>
          <p:spPr>
            <a:xfrm flipH="1">
              <a:off x="11307378" y="60197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67A21443-A9B7-4817-B4B5-EA94CB7CA3CF}"/>
                </a:ext>
              </a:extLst>
            </p:cNvPr>
            <p:cNvSpPr/>
            <p:nvPr/>
          </p:nvSpPr>
          <p:spPr>
            <a:xfrm flipH="1">
              <a:off x="11307378" y="601358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EF30909C-8B88-49E7-B473-BE1B0CC7F869}"/>
                </a:ext>
              </a:extLst>
            </p:cNvPr>
            <p:cNvSpPr/>
            <p:nvPr/>
          </p:nvSpPr>
          <p:spPr>
            <a:xfrm flipH="1">
              <a:off x="11307378" y="595482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BF09BB8F-76E4-4148-B595-DAA8AA960C9D}"/>
                </a:ext>
              </a:extLst>
            </p:cNvPr>
            <p:cNvSpPr/>
            <p:nvPr/>
          </p:nvSpPr>
          <p:spPr>
            <a:xfrm flipH="1">
              <a:off x="11307378" y="594863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91215E73-3C4B-4662-AAC3-C48F6E3478DC}"/>
                </a:ext>
              </a:extLst>
            </p:cNvPr>
            <p:cNvSpPr/>
            <p:nvPr/>
          </p:nvSpPr>
          <p:spPr>
            <a:xfrm flipH="1">
              <a:off x="11307378" y="588986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BA5B00D9-31B5-40E5-8062-E6970A890BAF}"/>
                </a:ext>
              </a:extLst>
            </p:cNvPr>
            <p:cNvSpPr/>
            <p:nvPr/>
          </p:nvSpPr>
          <p:spPr>
            <a:xfrm flipH="1">
              <a:off x="11307378" y="588677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4A3FE796-D754-4337-9E31-DCD1156B5251}"/>
                </a:ext>
              </a:extLst>
            </p:cNvPr>
            <p:cNvSpPr/>
            <p:nvPr/>
          </p:nvSpPr>
          <p:spPr>
            <a:xfrm flipH="1">
              <a:off x="11307378" y="58280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3D32216E-5BE9-49C8-B303-7F6B4D72F077}"/>
                </a:ext>
              </a:extLst>
            </p:cNvPr>
            <p:cNvSpPr/>
            <p:nvPr/>
          </p:nvSpPr>
          <p:spPr>
            <a:xfrm flipH="1">
              <a:off x="11307378" y="582181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870361DF-EB80-4080-9F83-AC6B66BD7B51}"/>
                </a:ext>
              </a:extLst>
            </p:cNvPr>
            <p:cNvSpPr/>
            <p:nvPr/>
          </p:nvSpPr>
          <p:spPr>
            <a:xfrm flipH="1">
              <a:off x="11307378" y="576304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7DBDB2F8-8F5C-4613-86B8-2BC351668EA9}"/>
                </a:ext>
              </a:extLst>
            </p:cNvPr>
            <p:cNvSpPr/>
            <p:nvPr/>
          </p:nvSpPr>
          <p:spPr>
            <a:xfrm flipH="1">
              <a:off x="11307378" y="575686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188BFA3C-7F8B-4FA0-A199-52220FF7598E}"/>
                </a:ext>
              </a:extLst>
            </p:cNvPr>
            <p:cNvSpPr/>
            <p:nvPr/>
          </p:nvSpPr>
          <p:spPr>
            <a:xfrm flipH="1">
              <a:off x="11307378" y="57011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85AB1114-B71C-4602-86CB-3F4E75440C2E}"/>
                </a:ext>
              </a:extLst>
            </p:cNvPr>
            <p:cNvSpPr/>
            <p:nvPr/>
          </p:nvSpPr>
          <p:spPr>
            <a:xfrm flipH="1">
              <a:off x="11307378" y="569500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E4722480-CAC8-42B2-B21B-B6BD881A71A5}"/>
                </a:ext>
              </a:extLst>
            </p:cNvPr>
            <p:cNvSpPr/>
            <p:nvPr/>
          </p:nvSpPr>
          <p:spPr>
            <a:xfrm flipH="1">
              <a:off x="11307378" y="56362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6FBBDBE5-2301-4498-8A54-BC1B6474FAC6}"/>
                </a:ext>
              </a:extLst>
            </p:cNvPr>
            <p:cNvSpPr/>
            <p:nvPr/>
          </p:nvSpPr>
          <p:spPr>
            <a:xfrm flipH="1">
              <a:off x="11307378" y="56300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66DEABD7-461A-489B-8B94-575A0F745DBA}"/>
                </a:ext>
              </a:extLst>
            </p:cNvPr>
            <p:cNvSpPr/>
            <p:nvPr/>
          </p:nvSpPr>
          <p:spPr>
            <a:xfrm flipH="1">
              <a:off x="11307378" y="557127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C1A19474-B02A-41A4-B13B-F46769979F00}"/>
                </a:ext>
              </a:extLst>
            </p:cNvPr>
            <p:cNvSpPr/>
            <p:nvPr/>
          </p:nvSpPr>
          <p:spPr>
            <a:xfrm flipH="1">
              <a:off x="11307378" y="556818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2C139404-2416-40B2-9766-5249B58BD538}"/>
                </a:ext>
              </a:extLst>
            </p:cNvPr>
            <p:cNvSpPr/>
            <p:nvPr/>
          </p:nvSpPr>
          <p:spPr>
            <a:xfrm flipH="1">
              <a:off x="11307378" y="550941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A51B7472-976B-4DD3-9756-24DC738E2A86}"/>
                </a:ext>
              </a:extLst>
            </p:cNvPr>
            <p:cNvSpPr/>
            <p:nvPr/>
          </p:nvSpPr>
          <p:spPr>
            <a:xfrm flipH="1">
              <a:off x="11307378" y="550323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FEF80CF8-E415-4A60-9CB7-3BDCA27E6136}"/>
                </a:ext>
              </a:extLst>
            </p:cNvPr>
            <p:cNvSpPr/>
            <p:nvPr/>
          </p:nvSpPr>
          <p:spPr>
            <a:xfrm flipH="1">
              <a:off x="11307378" y="544446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542A9B70-2AEA-4736-86B2-4F746E258FB4}"/>
                </a:ext>
              </a:extLst>
            </p:cNvPr>
            <p:cNvSpPr/>
            <p:nvPr/>
          </p:nvSpPr>
          <p:spPr>
            <a:xfrm flipH="1">
              <a:off x="11307378" y="54382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F7CF526F-13C7-458D-92EB-6675879C43E4}"/>
                </a:ext>
              </a:extLst>
            </p:cNvPr>
            <p:cNvSpPr/>
            <p:nvPr/>
          </p:nvSpPr>
          <p:spPr>
            <a:xfrm flipH="1">
              <a:off x="11307378" y="53825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9974396F-34F1-401B-AE12-FE6F2029CFC3}"/>
                </a:ext>
              </a:extLst>
            </p:cNvPr>
            <p:cNvSpPr/>
            <p:nvPr/>
          </p:nvSpPr>
          <p:spPr>
            <a:xfrm flipH="1">
              <a:off x="11307378" y="537641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61AC8748-458B-4125-A892-010B89F9739E}"/>
                </a:ext>
              </a:extLst>
            </p:cNvPr>
            <p:cNvSpPr/>
            <p:nvPr/>
          </p:nvSpPr>
          <p:spPr>
            <a:xfrm flipH="1">
              <a:off x="11307378" y="531764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9C40D992-6A0F-4037-BDDB-867848FCD260}"/>
                </a:ext>
              </a:extLst>
            </p:cNvPr>
            <p:cNvSpPr/>
            <p:nvPr/>
          </p:nvSpPr>
          <p:spPr>
            <a:xfrm flipH="1">
              <a:off x="11307378" y="531145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7E92404C-62C6-414E-9CEF-647755A32E84}"/>
                </a:ext>
              </a:extLst>
            </p:cNvPr>
            <p:cNvSpPr/>
            <p:nvPr/>
          </p:nvSpPr>
          <p:spPr>
            <a:xfrm flipH="1">
              <a:off x="11307378" y="525269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BD20963A-C3C0-47D3-9BFB-ABA79BA2DF46}"/>
                </a:ext>
              </a:extLst>
            </p:cNvPr>
            <p:cNvSpPr/>
            <p:nvPr/>
          </p:nvSpPr>
          <p:spPr>
            <a:xfrm flipH="1">
              <a:off x="11307378" y="524650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D5DC4EE1-1551-430D-BCA6-2A821E4ADE4F}"/>
                </a:ext>
              </a:extLst>
            </p:cNvPr>
            <p:cNvSpPr/>
            <p:nvPr/>
          </p:nvSpPr>
          <p:spPr>
            <a:xfrm flipH="1">
              <a:off x="11307378" y="51908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BA636917-ED71-4963-B84F-EA3345C59D87}"/>
                </a:ext>
              </a:extLst>
            </p:cNvPr>
            <p:cNvSpPr/>
            <p:nvPr/>
          </p:nvSpPr>
          <p:spPr>
            <a:xfrm flipH="1">
              <a:off x="11307378" y="51846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907E7443-584C-42F0-93EB-392D2AB1A7AA}"/>
                </a:ext>
              </a:extLst>
            </p:cNvPr>
            <p:cNvSpPr/>
            <p:nvPr/>
          </p:nvSpPr>
          <p:spPr>
            <a:xfrm flipH="1">
              <a:off x="11307378" y="512587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9BB2BBA3-ED7A-497C-9167-2F0856B5EDA6}"/>
                </a:ext>
              </a:extLst>
            </p:cNvPr>
            <p:cNvSpPr/>
            <p:nvPr/>
          </p:nvSpPr>
          <p:spPr>
            <a:xfrm flipH="1">
              <a:off x="11307378" y="51196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099B13D4-30F5-4F53-BE7D-2714073E2037}"/>
                </a:ext>
              </a:extLst>
            </p:cNvPr>
            <p:cNvSpPr/>
            <p:nvPr/>
          </p:nvSpPr>
          <p:spPr>
            <a:xfrm flipH="1">
              <a:off x="11307378" y="506401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E9874CBC-C11E-48AD-B95C-98D2867EB9F0}"/>
                </a:ext>
              </a:extLst>
            </p:cNvPr>
            <p:cNvSpPr/>
            <p:nvPr/>
          </p:nvSpPr>
          <p:spPr>
            <a:xfrm flipH="1">
              <a:off x="11307378" y="505782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F7FFC2EC-6D34-41B3-A4DF-FCAA144511C8}"/>
                </a:ext>
              </a:extLst>
            </p:cNvPr>
            <p:cNvSpPr/>
            <p:nvPr/>
          </p:nvSpPr>
          <p:spPr>
            <a:xfrm flipH="1">
              <a:off x="11307378" y="49990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39C3D03C-9BD4-40C5-862B-C9DF3412BD11}"/>
                </a:ext>
              </a:extLst>
            </p:cNvPr>
            <p:cNvSpPr/>
            <p:nvPr/>
          </p:nvSpPr>
          <p:spPr>
            <a:xfrm flipH="1">
              <a:off x="11307378" y="499287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FFFAF1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ACBA36DD-1190-430F-8911-184295426E30}"/>
                </a:ext>
              </a:extLst>
            </p:cNvPr>
            <p:cNvSpPr/>
            <p:nvPr/>
          </p:nvSpPr>
          <p:spPr>
            <a:xfrm flipH="1">
              <a:off x="11817737" y="5490857"/>
              <a:ext cx="154654" cy="1360957"/>
            </a:xfrm>
            <a:custGeom>
              <a:avLst/>
              <a:gdLst>
                <a:gd name="connsiteX0" fmla="*/ 0 w 154654"/>
                <a:gd name="connsiteY0" fmla="*/ 58768 h 1360956"/>
                <a:gd name="connsiteX1" fmla="*/ 163933 w 154654"/>
                <a:gd name="connsiteY1" fmla="*/ 0 h 1360956"/>
                <a:gd name="connsiteX2" fmla="*/ 163933 w 154654"/>
                <a:gd name="connsiteY2" fmla="*/ 1339305 h 1360956"/>
                <a:gd name="connsiteX3" fmla="*/ 0 w 154654"/>
                <a:gd name="connsiteY3" fmla="*/ 1364050 h 136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360956">
                  <a:moveTo>
                    <a:pt x="0" y="58768"/>
                  </a:moveTo>
                  <a:lnTo>
                    <a:pt x="163933" y="0"/>
                  </a:lnTo>
                  <a:lnTo>
                    <a:pt x="163933" y="1339305"/>
                  </a:lnTo>
                  <a:lnTo>
                    <a:pt x="0" y="136405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9404C060-2D28-4242-8348-912365D99544}"/>
                </a:ext>
              </a:extLst>
            </p:cNvPr>
            <p:cNvSpPr/>
            <p:nvPr/>
          </p:nvSpPr>
          <p:spPr>
            <a:xfrm flipH="1">
              <a:off x="11817737" y="676520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EB945B15-7986-4EFF-B44F-BD7F0B3C0FE5}"/>
                </a:ext>
              </a:extLst>
            </p:cNvPr>
            <p:cNvSpPr/>
            <p:nvPr/>
          </p:nvSpPr>
          <p:spPr>
            <a:xfrm flipH="1">
              <a:off x="11820938" y="676163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5BB830B2-F822-4308-8B87-E217B5E99A37}"/>
                </a:ext>
              </a:extLst>
            </p:cNvPr>
            <p:cNvSpPr/>
            <p:nvPr/>
          </p:nvSpPr>
          <p:spPr>
            <a:xfrm flipH="1">
              <a:off x="11817737" y="670025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432DBB76-BFC3-4A5E-9985-EA0BFA5F850B}"/>
                </a:ext>
              </a:extLst>
            </p:cNvPr>
            <p:cNvSpPr/>
            <p:nvPr/>
          </p:nvSpPr>
          <p:spPr>
            <a:xfrm flipH="1">
              <a:off x="11821335" y="6696740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0F2BEB93-6EC6-40BA-920D-794E9829DC53}"/>
                </a:ext>
              </a:extLst>
            </p:cNvPr>
            <p:cNvSpPr/>
            <p:nvPr/>
          </p:nvSpPr>
          <p:spPr>
            <a:xfrm flipH="1">
              <a:off x="11817737" y="663839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61BF4975-5425-4940-B085-916D273DE0A2}"/>
                </a:ext>
              </a:extLst>
            </p:cNvPr>
            <p:cNvSpPr/>
            <p:nvPr/>
          </p:nvSpPr>
          <p:spPr>
            <a:xfrm flipH="1">
              <a:off x="11820719" y="6634773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22422CAE-2042-4829-888F-1992BE242E00}"/>
                </a:ext>
              </a:extLst>
            </p:cNvPr>
            <p:cNvSpPr/>
            <p:nvPr/>
          </p:nvSpPr>
          <p:spPr>
            <a:xfrm flipH="1">
              <a:off x="11817737" y="6573436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08EAC464-A432-4FDF-B08D-2A0D4A185620}"/>
                </a:ext>
              </a:extLst>
            </p:cNvPr>
            <p:cNvSpPr/>
            <p:nvPr/>
          </p:nvSpPr>
          <p:spPr>
            <a:xfrm flipH="1">
              <a:off x="11821119" y="656988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B4F05A76-E5E0-4725-AAD5-2811966C4818}"/>
                </a:ext>
              </a:extLst>
            </p:cNvPr>
            <p:cNvSpPr/>
            <p:nvPr/>
          </p:nvSpPr>
          <p:spPr>
            <a:xfrm flipH="1">
              <a:off x="11817737" y="6511575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B70BA960-6E49-4837-96E1-559CA98A160B}"/>
                </a:ext>
              </a:extLst>
            </p:cNvPr>
            <p:cNvSpPr/>
            <p:nvPr/>
          </p:nvSpPr>
          <p:spPr>
            <a:xfrm flipH="1">
              <a:off x="11820507" y="650791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D26A5A53-680B-4496-A594-E85091CAE657}"/>
                </a:ext>
              </a:extLst>
            </p:cNvPr>
            <p:cNvSpPr/>
            <p:nvPr/>
          </p:nvSpPr>
          <p:spPr>
            <a:xfrm flipH="1">
              <a:off x="11817737" y="644662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321BEF93-7F4E-4DFE-8E0A-E9CFDC2E524F}"/>
                </a:ext>
              </a:extLst>
            </p:cNvPr>
            <p:cNvSpPr/>
            <p:nvPr/>
          </p:nvSpPr>
          <p:spPr>
            <a:xfrm flipH="1">
              <a:off x="11820901" y="6443028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E88FC0A5-D7E3-425C-BDEE-3F53799722A7}"/>
                </a:ext>
              </a:extLst>
            </p:cNvPr>
            <p:cNvSpPr/>
            <p:nvPr/>
          </p:nvSpPr>
          <p:spPr>
            <a:xfrm flipH="1">
              <a:off x="11817737" y="638166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60FA09DD-56A1-4851-A5DC-07C7C537BE41}"/>
                </a:ext>
              </a:extLst>
            </p:cNvPr>
            <p:cNvSpPr/>
            <p:nvPr/>
          </p:nvSpPr>
          <p:spPr>
            <a:xfrm flipH="1">
              <a:off x="11821424" y="6377980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62F64C09-59BC-4253-99C5-96FDE0353FBA}"/>
                </a:ext>
              </a:extLst>
            </p:cNvPr>
            <p:cNvSpPr/>
            <p:nvPr/>
          </p:nvSpPr>
          <p:spPr>
            <a:xfrm flipH="1">
              <a:off x="11817737" y="6319803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AD1F8508-9FE7-4C03-9ED0-55B12F721FAB}"/>
                </a:ext>
              </a:extLst>
            </p:cNvPr>
            <p:cNvSpPr/>
            <p:nvPr/>
          </p:nvSpPr>
          <p:spPr>
            <a:xfrm flipH="1">
              <a:off x="11820688" y="631617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F3441220-E2F0-4C97-9AFB-FC3EBBAAE3EE}"/>
                </a:ext>
              </a:extLst>
            </p:cNvPr>
            <p:cNvSpPr/>
            <p:nvPr/>
          </p:nvSpPr>
          <p:spPr>
            <a:xfrm flipH="1">
              <a:off x="11817737" y="625484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0721A328-25D3-46CE-B60C-04F7836F628E}"/>
                </a:ext>
              </a:extLst>
            </p:cNvPr>
            <p:cNvSpPr/>
            <p:nvPr/>
          </p:nvSpPr>
          <p:spPr>
            <a:xfrm flipH="1">
              <a:off x="11821082" y="625128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826F46F8-3B02-4269-B501-51DD0514CB0D}"/>
                </a:ext>
              </a:extLst>
            </p:cNvPr>
            <p:cNvSpPr/>
            <p:nvPr/>
          </p:nvSpPr>
          <p:spPr>
            <a:xfrm flipH="1">
              <a:off x="11817737" y="6192987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9181CB6A-CF15-468E-A1EF-A9BEED69D9A3}"/>
                </a:ext>
              </a:extLst>
            </p:cNvPr>
            <p:cNvSpPr/>
            <p:nvPr/>
          </p:nvSpPr>
          <p:spPr>
            <a:xfrm flipH="1">
              <a:off x="11821479" y="6186389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8F34CBAC-035E-4FCC-ABA9-E60E2FA36BCC}"/>
                </a:ext>
              </a:extLst>
            </p:cNvPr>
            <p:cNvSpPr/>
            <p:nvPr/>
          </p:nvSpPr>
          <p:spPr>
            <a:xfrm flipH="1">
              <a:off x="11817737" y="612803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30CE9B94-213E-4B52-ADDA-20B0DEC70D2C}"/>
                </a:ext>
              </a:extLst>
            </p:cNvPr>
            <p:cNvSpPr/>
            <p:nvPr/>
          </p:nvSpPr>
          <p:spPr>
            <a:xfrm flipH="1">
              <a:off x="11820982" y="6124280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875D667B-1548-46E9-9E67-75951D9FDE2B}"/>
                </a:ext>
              </a:extLst>
            </p:cNvPr>
            <p:cNvSpPr/>
            <p:nvPr/>
          </p:nvSpPr>
          <p:spPr>
            <a:xfrm flipH="1">
              <a:off x="11817737" y="6063078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59C010DB-2E89-40D7-AB6D-7623245C4D78}"/>
                </a:ext>
              </a:extLst>
            </p:cNvPr>
            <p:cNvSpPr/>
            <p:nvPr/>
          </p:nvSpPr>
          <p:spPr>
            <a:xfrm flipH="1">
              <a:off x="11821260" y="6059531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B4EF536D-24E6-4461-AFEC-C7DC7CE8E6ED}"/>
                </a:ext>
              </a:extLst>
            </p:cNvPr>
            <p:cNvSpPr/>
            <p:nvPr/>
          </p:nvSpPr>
          <p:spPr>
            <a:xfrm flipH="1">
              <a:off x="11817737" y="6001216"/>
              <a:ext cx="154654" cy="30931"/>
            </a:xfrm>
            <a:custGeom>
              <a:avLst/>
              <a:gdLst>
                <a:gd name="connsiteX0" fmla="*/ 0 w 154654"/>
                <a:gd name="connsiteY0" fmla="*/ 58768 h 30930"/>
                <a:gd name="connsiteX1" fmla="*/ 167027 w 154654"/>
                <a:gd name="connsiteY1" fmla="*/ 0 h 30930"/>
                <a:gd name="connsiteX2" fmla="*/ 0 w 154654"/>
                <a:gd name="connsiteY2" fmla="*/ 58768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8"/>
                  </a:moveTo>
                  <a:lnTo>
                    <a:pt x="167027" y="0"/>
                  </a:lnTo>
                  <a:lnTo>
                    <a:pt x="0" y="5876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CAD54D0C-7001-4622-8C95-6B8A821B665A}"/>
                </a:ext>
              </a:extLst>
            </p:cNvPr>
            <p:cNvSpPr/>
            <p:nvPr/>
          </p:nvSpPr>
          <p:spPr>
            <a:xfrm flipH="1">
              <a:off x="11820651" y="5997565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EF333793-A8F8-45F4-B980-753402C427AD}"/>
                </a:ext>
              </a:extLst>
            </p:cNvPr>
            <p:cNvSpPr/>
            <p:nvPr/>
          </p:nvSpPr>
          <p:spPr>
            <a:xfrm flipH="1">
              <a:off x="11817737" y="5936261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C897CEE1-DA7B-483F-8A10-AF49EBF8DC0E}"/>
                </a:ext>
              </a:extLst>
            </p:cNvPr>
            <p:cNvSpPr/>
            <p:nvPr/>
          </p:nvSpPr>
          <p:spPr>
            <a:xfrm flipH="1">
              <a:off x="11821045" y="5932674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D0D2E4FB-8865-46CA-8836-8C893422FD0A}"/>
                </a:ext>
              </a:extLst>
            </p:cNvPr>
            <p:cNvSpPr/>
            <p:nvPr/>
          </p:nvSpPr>
          <p:spPr>
            <a:xfrm flipH="1">
              <a:off x="11817737" y="5874399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48B7648F-F618-4E13-B13F-A08274995C35}"/>
                </a:ext>
              </a:extLst>
            </p:cNvPr>
            <p:cNvSpPr/>
            <p:nvPr/>
          </p:nvSpPr>
          <p:spPr>
            <a:xfrm flipH="1">
              <a:off x="11821549" y="5867657"/>
              <a:ext cx="154654" cy="61862"/>
            </a:xfrm>
            <a:custGeom>
              <a:avLst/>
              <a:gdLst>
                <a:gd name="connsiteX0" fmla="*/ 0 w 154654"/>
                <a:gd name="connsiteY0" fmla="*/ 57493 h 61861"/>
                <a:gd name="connsiteX1" fmla="*/ 166662 w 154654"/>
                <a:gd name="connsiteY1" fmla="*/ 0 h 61861"/>
                <a:gd name="connsiteX2" fmla="*/ 170696 w 154654"/>
                <a:gd name="connsiteY2" fmla="*/ 11696 h 61861"/>
                <a:gd name="connsiteX3" fmla="*/ 4035 w 154654"/>
                <a:gd name="connsiteY3" fmla="*/ 6918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493"/>
                  </a:moveTo>
                  <a:lnTo>
                    <a:pt x="166662" y="0"/>
                  </a:lnTo>
                  <a:lnTo>
                    <a:pt x="170696" y="11696"/>
                  </a:lnTo>
                  <a:lnTo>
                    <a:pt x="4035" y="6918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6145F58D-65BB-4877-8A36-41BA5AF70E0F}"/>
                </a:ext>
              </a:extLst>
            </p:cNvPr>
            <p:cNvSpPr/>
            <p:nvPr/>
          </p:nvSpPr>
          <p:spPr>
            <a:xfrm flipH="1">
              <a:off x="11817737" y="5809445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A32A8F04-1E1D-4593-AC00-B7FD22F26635}"/>
                </a:ext>
              </a:extLst>
            </p:cNvPr>
            <p:cNvSpPr/>
            <p:nvPr/>
          </p:nvSpPr>
          <p:spPr>
            <a:xfrm flipH="1">
              <a:off x="11820829" y="5805816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C89CCDBE-AD95-4712-816F-990E561EB1E8}"/>
                </a:ext>
              </a:extLst>
            </p:cNvPr>
            <p:cNvSpPr/>
            <p:nvPr/>
          </p:nvSpPr>
          <p:spPr>
            <a:xfrm flipH="1">
              <a:off x="11817737" y="5744490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2" name="任意多边形: 形状 281">
              <a:extLst>
                <a:ext uri="{FF2B5EF4-FFF2-40B4-BE49-F238E27FC236}">
                  <a16:creationId xmlns:a16="http://schemas.microsoft.com/office/drawing/2014/main" id="{364922F3-15FC-4BB1-B311-2C5709D37747}"/>
                </a:ext>
              </a:extLst>
            </p:cNvPr>
            <p:cNvSpPr/>
            <p:nvPr/>
          </p:nvSpPr>
          <p:spPr>
            <a:xfrm flipH="1">
              <a:off x="11821226" y="5740929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D7F18211-10F7-418C-B69E-AA6E07F48935}"/>
                </a:ext>
              </a:extLst>
            </p:cNvPr>
            <p:cNvSpPr/>
            <p:nvPr/>
          </p:nvSpPr>
          <p:spPr>
            <a:xfrm flipH="1">
              <a:off x="11817737" y="5682628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9800255C-F589-4BCF-AD49-93E74D952A77}"/>
                </a:ext>
              </a:extLst>
            </p:cNvPr>
            <p:cNvSpPr/>
            <p:nvPr/>
          </p:nvSpPr>
          <p:spPr>
            <a:xfrm flipH="1">
              <a:off x="11820613" y="5678962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F830AC17-4EBC-43A3-9FD4-AF05F9A65770}"/>
                </a:ext>
              </a:extLst>
            </p:cNvPr>
            <p:cNvSpPr/>
            <p:nvPr/>
          </p:nvSpPr>
          <p:spPr>
            <a:xfrm flipH="1">
              <a:off x="11817737" y="5617674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660E78D4-D98D-424A-90DD-EE2246206E8F}"/>
                </a:ext>
              </a:extLst>
            </p:cNvPr>
            <p:cNvSpPr/>
            <p:nvPr/>
          </p:nvSpPr>
          <p:spPr>
            <a:xfrm flipH="1">
              <a:off x="11821010" y="5614071"/>
              <a:ext cx="154654" cy="61862"/>
            </a:xfrm>
            <a:custGeom>
              <a:avLst/>
              <a:gdLst>
                <a:gd name="connsiteX0" fmla="*/ 0 w 154654"/>
                <a:gd name="connsiteY0" fmla="*/ 57528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8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E04E630A-1FF3-4449-A844-21CCAEF1B59E}"/>
                </a:ext>
              </a:extLst>
            </p:cNvPr>
            <p:cNvSpPr/>
            <p:nvPr/>
          </p:nvSpPr>
          <p:spPr>
            <a:xfrm flipH="1">
              <a:off x="11817737" y="5555812"/>
              <a:ext cx="154654" cy="30931"/>
            </a:xfrm>
            <a:custGeom>
              <a:avLst/>
              <a:gdLst>
                <a:gd name="connsiteX0" fmla="*/ 0 w 154654"/>
                <a:gd name="connsiteY0" fmla="*/ 58769 h 30930"/>
                <a:gd name="connsiteX1" fmla="*/ 167027 w 154654"/>
                <a:gd name="connsiteY1" fmla="*/ 0 h 30930"/>
                <a:gd name="connsiteX2" fmla="*/ 0 w 154654"/>
                <a:gd name="connsiteY2" fmla="*/ 5876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8769"/>
                  </a:moveTo>
                  <a:lnTo>
                    <a:pt x="167027" y="0"/>
                  </a:lnTo>
                  <a:lnTo>
                    <a:pt x="0" y="5876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3BAE9846-1B08-4D91-80F3-DE8D61C278A4}"/>
                </a:ext>
              </a:extLst>
            </p:cNvPr>
            <p:cNvSpPr/>
            <p:nvPr/>
          </p:nvSpPr>
          <p:spPr>
            <a:xfrm flipH="1">
              <a:off x="11821404" y="5549180"/>
              <a:ext cx="154654" cy="61862"/>
            </a:xfrm>
            <a:custGeom>
              <a:avLst/>
              <a:gdLst>
                <a:gd name="connsiteX0" fmla="*/ 0 w 154654"/>
                <a:gd name="connsiteY0" fmla="*/ 57529 h 61861"/>
                <a:gd name="connsiteX1" fmla="*/ 166662 w 154654"/>
                <a:gd name="connsiteY1" fmla="*/ 0 h 61861"/>
                <a:gd name="connsiteX2" fmla="*/ 170699 w 154654"/>
                <a:gd name="connsiteY2" fmla="*/ 11696 h 61861"/>
                <a:gd name="connsiteX3" fmla="*/ 4037 w 154654"/>
                <a:gd name="connsiteY3" fmla="*/ 6922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7529"/>
                  </a:moveTo>
                  <a:lnTo>
                    <a:pt x="166662" y="0"/>
                  </a:lnTo>
                  <a:lnTo>
                    <a:pt x="170699" y="11696"/>
                  </a:lnTo>
                  <a:lnTo>
                    <a:pt x="4037" y="692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9" name="任意多边形: 形状 288">
              <a:extLst>
                <a:ext uri="{FF2B5EF4-FFF2-40B4-BE49-F238E27FC236}">
                  <a16:creationId xmlns:a16="http://schemas.microsoft.com/office/drawing/2014/main" id="{AABE9FA4-87C7-4E7D-8B65-F317E43C8A67}"/>
                </a:ext>
              </a:extLst>
            </p:cNvPr>
            <p:cNvSpPr/>
            <p:nvPr/>
          </p:nvSpPr>
          <p:spPr>
            <a:xfrm flipH="1">
              <a:off x="11561011" y="5490857"/>
              <a:ext cx="247447" cy="1330026"/>
            </a:xfrm>
            <a:custGeom>
              <a:avLst/>
              <a:gdLst>
                <a:gd name="connsiteX0" fmla="*/ 0 w 247446"/>
                <a:gd name="connsiteY0" fmla="*/ 0 h 1330025"/>
                <a:gd name="connsiteX1" fmla="*/ 259819 w 247446"/>
                <a:gd name="connsiteY1" fmla="*/ 0 h 1330025"/>
                <a:gd name="connsiteX2" fmla="*/ 259819 w 247446"/>
                <a:gd name="connsiteY2" fmla="*/ 1339305 h 1330025"/>
                <a:gd name="connsiteX3" fmla="*/ 0 w 247446"/>
                <a:gd name="connsiteY3" fmla="*/ 1339305 h 133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1330025">
                  <a:moveTo>
                    <a:pt x="0" y="0"/>
                  </a:moveTo>
                  <a:lnTo>
                    <a:pt x="259819" y="0"/>
                  </a:lnTo>
                  <a:lnTo>
                    <a:pt x="259819" y="1339305"/>
                  </a:lnTo>
                  <a:lnTo>
                    <a:pt x="0" y="1339305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30222C8C-DC45-4066-8F1E-BE7B9F17907E}"/>
                </a:ext>
              </a:extLst>
            </p:cNvPr>
            <p:cNvSpPr/>
            <p:nvPr/>
          </p:nvSpPr>
          <p:spPr>
            <a:xfrm flipH="1">
              <a:off x="11561011" y="676830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1" name="任意多边形: 形状 290">
              <a:extLst>
                <a:ext uri="{FF2B5EF4-FFF2-40B4-BE49-F238E27FC236}">
                  <a16:creationId xmlns:a16="http://schemas.microsoft.com/office/drawing/2014/main" id="{EDA121DF-0E0F-4A37-926A-04193F3D90E7}"/>
                </a:ext>
              </a:extLst>
            </p:cNvPr>
            <p:cNvSpPr/>
            <p:nvPr/>
          </p:nvSpPr>
          <p:spPr>
            <a:xfrm flipH="1">
              <a:off x="11561011" y="676211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B133A973-B2CE-4A3B-9306-413704E3B0EA}"/>
                </a:ext>
              </a:extLst>
            </p:cNvPr>
            <p:cNvSpPr/>
            <p:nvPr/>
          </p:nvSpPr>
          <p:spPr>
            <a:xfrm flipH="1">
              <a:off x="11561011" y="67033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607EFF1F-FFAC-4699-807F-0E40B39B0915}"/>
                </a:ext>
              </a:extLst>
            </p:cNvPr>
            <p:cNvSpPr/>
            <p:nvPr/>
          </p:nvSpPr>
          <p:spPr>
            <a:xfrm flipH="1">
              <a:off x="11561011" y="669716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D2A11D6F-5592-4124-9025-BA9AA0331329}"/>
                </a:ext>
              </a:extLst>
            </p:cNvPr>
            <p:cNvSpPr/>
            <p:nvPr/>
          </p:nvSpPr>
          <p:spPr>
            <a:xfrm flipH="1">
              <a:off x="11561011" y="663839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DE837749-A112-4835-AD0D-092BB2CBAC9D}"/>
                </a:ext>
              </a:extLst>
            </p:cNvPr>
            <p:cNvSpPr/>
            <p:nvPr/>
          </p:nvSpPr>
          <p:spPr>
            <a:xfrm flipH="1">
              <a:off x="11561011" y="663220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E455DBB2-7E66-4D55-B5B1-96D2351542E1}"/>
                </a:ext>
              </a:extLst>
            </p:cNvPr>
            <p:cNvSpPr/>
            <p:nvPr/>
          </p:nvSpPr>
          <p:spPr>
            <a:xfrm flipH="1">
              <a:off x="11561011" y="657652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8EAC86F6-3C7A-4619-9C36-4978890B0978}"/>
                </a:ext>
              </a:extLst>
            </p:cNvPr>
            <p:cNvSpPr/>
            <p:nvPr/>
          </p:nvSpPr>
          <p:spPr>
            <a:xfrm flipH="1">
              <a:off x="11561011" y="65703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A3E1D5D3-B18D-43AD-B3B8-BCC5DFD7B9B9}"/>
                </a:ext>
              </a:extLst>
            </p:cNvPr>
            <p:cNvSpPr/>
            <p:nvPr/>
          </p:nvSpPr>
          <p:spPr>
            <a:xfrm flipH="1">
              <a:off x="11561011" y="65115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58D92A05-62DC-4A0F-A52A-ACC0AF006F69}"/>
                </a:ext>
              </a:extLst>
            </p:cNvPr>
            <p:cNvSpPr/>
            <p:nvPr/>
          </p:nvSpPr>
          <p:spPr>
            <a:xfrm flipH="1">
              <a:off x="11561011" y="65053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CF0B7D87-5018-4C92-BDD5-45AC528D995D}"/>
                </a:ext>
              </a:extLst>
            </p:cNvPr>
            <p:cNvSpPr/>
            <p:nvPr/>
          </p:nvSpPr>
          <p:spPr>
            <a:xfrm flipH="1">
              <a:off x="11561011" y="644662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7BE53497-7BF0-4A0D-AFB0-622F4FFDD4F2}"/>
                </a:ext>
              </a:extLst>
            </p:cNvPr>
            <p:cNvSpPr/>
            <p:nvPr/>
          </p:nvSpPr>
          <p:spPr>
            <a:xfrm flipH="1">
              <a:off x="11561011" y="644352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D3F2E97E-C0E1-4699-9284-7497D2EC41EE}"/>
                </a:ext>
              </a:extLst>
            </p:cNvPr>
            <p:cNvSpPr/>
            <p:nvPr/>
          </p:nvSpPr>
          <p:spPr>
            <a:xfrm flipH="1">
              <a:off x="11561011" y="638475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B39A5E61-6A27-48C6-80C4-A6DBDE26DA99}"/>
                </a:ext>
              </a:extLst>
            </p:cNvPr>
            <p:cNvSpPr/>
            <p:nvPr/>
          </p:nvSpPr>
          <p:spPr>
            <a:xfrm flipH="1">
              <a:off x="11561011" y="637857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7F997636-B4BB-4D89-BD19-E44E0B49534F}"/>
                </a:ext>
              </a:extLst>
            </p:cNvPr>
            <p:cNvSpPr/>
            <p:nvPr/>
          </p:nvSpPr>
          <p:spPr>
            <a:xfrm flipH="1">
              <a:off x="11561011" y="631980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F9D8EBD2-3919-40B3-BE3D-889FF2978AF9}"/>
                </a:ext>
              </a:extLst>
            </p:cNvPr>
            <p:cNvSpPr/>
            <p:nvPr/>
          </p:nvSpPr>
          <p:spPr>
            <a:xfrm flipH="1">
              <a:off x="11561011" y="631361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4B3B331E-62B4-47AB-BE53-F354B5A3B2D5}"/>
                </a:ext>
              </a:extLst>
            </p:cNvPr>
            <p:cNvSpPr/>
            <p:nvPr/>
          </p:nvSpPr>
          <p:spPr>
            <a:xfrm flipH="1">
              <a:off x="11561011" y="62579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8BDA98C1-2B55-44D5-8B65-18CB44CE0567}"/>
                </a:ext>
              </a:extLst>
            </p:cNvPr>
            <p:cNvSpPr/>
            <p:nvPr/>
          </p:nvSpPr>
          <p:spPr>
            <a:xfrm flipH="1">
              <a:off x="11561011" y="625175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672534B5-3414-4B4A-8876-672AA44499D6}"/>
                </a:ext>
              </a:extLst>
            </p:cNvPr>
            <p:cNvSpPr/>
            <p:nvPr/>
          </p:nvSpPr>
          <p:spPr>
            <a:xfrm flipH="1">
              <a:off x="11561011" y="619298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BC360A4A-1455-48E2-94D0-230DD3AE525C}"/>
                </a:ext>
              </a:extLst>
            </p:cNvPr>
            <p:cNvSpPr/>
            <p:nvPr/>
          </p:nvSpPr>
          <p:spPr>
            <a:xfrm flipH="1">
              <a:off x="11561011" y="618680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01B9432D-D6A5-4C3B-B18B-1BBCF0615451}"/>
                </a:ext>
              </a:extLst>
            </p:cNvPr>
            <p:cNvSpPr/>
            <p:nvPr/>
          </p:nvSpPr>
          <p:spPr>
            <a:xfrm flipH="1">
              <a:off x="11561011" y="61280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6861ABA9-FE39-4E3D-B8A7-9FDE6A8C4FCD}"/>
                </a:ext>
              </a:extLst>
            </p:cNvPr>
            <p:cNvSpPr/>
            <p:nvPr/>
          </p:nvSpPr>
          <p:spPr>
            <a:xfrm flipH="1">
              <a:off x="11561011" y="612493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F977357E-C26D-4885-AA7D-6356D76DA03A}"/>
                </a:ext>
              </a:extLst>
            </p:cNvPr>
            <p:cNvSpPr/>
            <p:nvPr/>
          </p:nvSpPr>
          <p:spPr>
            <a:xfrm flipH="1">
              <a:off x="11561011" y="606617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C4ABAB90-5E2F-479F-82BC-B232E8EED5A4}"/>
                </a:ext>
              </a:extLst>
            </p:cNvPr>
            <p:cNvSpPr/>
            <p:nvPr/>
          </p:nvSpPr>
          <p:spPr>
            <a:xfrm flipH="1">
              <a:off x="11561011" y="605998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7FBC8F39-56A5-436A-904D-BD94C8C6FD1F}"/>
                </a:ext>
              </a:extLst>
            </p:cNvPr>
            <p:cNvSpPr/>
            <p:nvPr/>
          </p:nvSpPr>
          <p:spPr>
            <a:xfrm flipH="1">
              <a:off x="11561011" y="600121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81F51018-524F-4FE9-8515-A014FB7F0FF3}"/>
                </a:ext>
              </a:extLst>
            </p:cNvPr>
            <p:cNvSpPr/>
            <p:nvPr/>
          </p:nvSpPr>
          <p:spPr>
            <a:xfrm flipH="1">
              <a:off x="11561011" y="599503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93E5D76B-9E5D-4BFD-8329-EC572C2D91EE}"/>
                </a:ext>
              </a:extLst>
            </p:cNvPr>
            <p:cNvSpPr/>
            <p:nvPr/>
          </p:nvSpPr>
          <p:spPr>
            <a:xfrm flipH="1">
              <a:off x="11561011" y="593935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75CD3379-6C79-4EC2-B0C2-BDEF2907125B}"/>
                </a:ext>
              </a:extLst>
            </p:cNvPr>
            <p:cNvSpPr/>
            <p:nvPr/>
          </p:nvSpPr>
          <p:spPr>
            <a:xfrm flipH="1">
              <a:off x="11561011" y="593316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ECEA2D06-FD2F-4941-AB6C-1980D3DCACA0}"/>
                </a:ext>
              </a:extLst>
            </p:cNvPr>
            <p:cNvSpPr/>
            <p:nvPr/>
          </p:nvSpPr>
          <p:spPr>
            <a:xfrm flipH="1">
              <a:off x="11561011" y="58743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93A31574-A886-4C44-ADE5-9A1E4D44D2A8}"/>
                </a:ext>
              </a:extLst>
            </p:cNvPr>
            <p:cNvSpPr/>
            <p:nvPr/>
          </p:nvSpPr>
          <p:spPr>
            <a:xfrm flipH="1">
              <a:off x="11561011" y="586821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30CED45D-4A04-4B7A-AA04-318A868DA850}"/>
                </a:ext>
              </a:extLst>
            </p:cNvPr>
            <p:cNvSpPr/>
            <p:nvPr/>
          </p:nvSpPr>
          <p:spPr>
            <a:xfrm flipH="1">
              <a:off x="11561011" y="580944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E694CAFC-83E3-4E86-94AB-1F795877FEFF}"/>
                </a:ext>
              </a:extLst>
            </p:cNvPr>
            <p:cNvSpPr/>
            <p:nvPr/>
          </p:nvSpPr>
          <p:spPr>
            <a:xfrm flipH="1">
              <a:off x="11561011" y="580635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02CC2932-70FA-442B-AFB2-015194445B4F}"/>
                </a:ext>
              </a:extLst>
            </p:cNvPr>
            <p:cNvSpPr/>
            <p:nvPr/>
          </p:nvSpPr>
          <p:spPr>
            <a:xfrm flipH="1">
              <a:off x="11561011" y="574758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0C6E5E48-228C-4F72-9BCB-4C1CE087F5A7}"/>
                </a:ext>
              </a:extLst>
            </p:cNvPr>
            <p:cNvSpPr/>
            <p:nvPr/>
          </p:nvSpPr>
          <p:spPr>
            <a:xfrm flipH="1">
              <a:off x="11561011" y="574139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C3D37D82-DF73-4EA0-95F3-C8F0F689FBA5}"/>
                </a:ext>
              </a:extLst>
            </p:cNvPr>
            <p:cNvSpPr/>
            <p:nvPr/>
          </p:nvSpPr>
          <p:spPr>
            <a:xfrm flipH="1">
              <a:off x="11561011" y="56826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B9653026-5A3C-4AB4-A1DB-232995EECDC0}"/>
                </a:ext>
              </a:extLst>
            </p:cNvPr>
            <p:cNvSpPr/>
            <p:nvPr/>
          </p:nvSpPr>
          <p:spPr>
            <a:xfrm flipH="1">
              <a:off x="11561011" y="56764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C63DA4C7-EC4A-4AA1-B216-CF4588C3FC58}"/>
                </a:ext>
              </a:extLst>
            </p:cNvPr>
            <p:cNvSpPr/>
            <p:nvPr/>
          </p:nvSpPr>
          <p:spPr>
            <a:xfrm flipH="1">
              <a:off x="11561011" y="562076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09E2546E-DB85-4711-924D-EFEE3C9DEF44}"/>
                </a:ext>
              </a:extLst>
            </p:cNvPr>
            <p:cNvSpPr/>
            <p:nvPr/>
          </p:nvSpPr>
          <p:spPr>
            <a:xfrm flipH="1">
              <a:off x="11561011" y="561458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DD59F3AE-8E58-4BF7-AB5A-E0D4BB98ECA8}"/>
                </a:ext>
              </a:extLst>
            </p:cNvPr>
            <p:cNvSpPr/>
            <p:nvPr/>
          </p:nvSpPr>
          <p:spPr>
            <a:xfrm flipH="1">
              <a:off x="11561011" y="555581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28E6C521-1718-4A21-966B-749E2C7B692C}"/>
                </a:ext>
              </a:extLst>
            </p:cNvPr>
            <p:cNvSpPr/>
            <p:nvPr/>
          </p:nvSpPr>
          <p:spPr>
            <a:xfrm flipH="1">
              <a:off x="11561011" y="554962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59819 w 247446"/>
                <a:gd name="connsiteY1" fmla="*/ 0 h 0"/>
                <a:gd name="connsiteX2" fmla="*/ 259819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59819" y="0"/>
                  </a:lnTo>
                  <a:lnTo>
                    <a:pt x="259819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D78D539D-DDA2-402C-9E6C-9AA4C02E3ECB}"/>
                </a:ext>
              </a:extLst>
            </p:cNvPr>
            <p:cNvSpPr/>
            <p:nvPr/>
          </p:nvSpPr>
          <p:spPr>
            <a:xfrm flipH="1">
              <a:off x="11820830" y="3897919"/>
              <a:ext cx="30931" cy="30931"/>
            </a:xfrm>
            <a:custGeom>
              <a:avLst/>
              <a:gdLst>
                <a:gd name="connsiteX0" fmla="*/ 12372 w 0"/>
                <a:gd name="connsiteY0" fmla="*/ 0 h 0"/>
                <a:gd name="connsiteX1" fmla="*/ 12372 w 0"/>
                <a:gd name="connsiteY1" fmla="*/ 3093 h 0"/>
                <a:gd name="connsiteX2" fmla="*/ 6186 w 0"/>
                <a:gd name="connsiteY2" fmla="*/ 0 h 0"/>
                <a:gd name="connsiteX3" fmla="*/ 0 w 0"/>
                <a:gd name="connsiteY3" fmla="*/ 0 h 0"/>
                <a:gd name="connsiteX4" fmla="*/ 12372 w 0"/>
                <a:gd name="connsiteY4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>
                  <a:moveTo>
                    <a:pt x="12372" y="0"/>
                  </a:moveTo>
                  <a:lnTo>
                    <a:pt x="12372" y="3093"/>
                  </a:lnTo>
                  <a:cubicBezTo>
                    <a:pt x="9279" y="3093"/>
                    <a:pt x="9279" y="3093"/>
                    <a:pt x="6186" y="0"/>
                  </a:cubicBezTo>
                  <a:cubicBezTo>
                    <a:pt x="3093" y="0"/>
                    <a:pt x="0" y="0"/>
                    <a:pt x="0" y="0"/>
                  </a:cubicBezTo>
                  <a:lnTo>
                    <a:pt x="12372" y="0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A3BBA208-669F-4B43-91B5-DD2F01DAB164}"/>
                </a:ext>
              </a:extLst>
            </p:cNvPr>
            <p:cNvSpPr/>
            <p:nvPr/>
          </p:nvSpPr>
          <p:spPr>
            <a:xfrm flipH="1">
              <a:off x="11805364" y="3897919"/>
              <a:ext cx="30931" cy="30931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3093 h 0"/>
                <a:gd name="connsiteX2" fmla="*/ 0 w 0"/>
                <a:gd name="connsiteY2" fmla="*/ 3093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3093"/>
                  </a:lnTo>
                  <a:lnTo>
                    <a:pt x="0" y="3093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51061473-84ED-4A89-80AC-C59156F95EAB}"/>
                </a:ext>
              </a:extLst>
            </p:cNvPr>
            <p:cNvSpPr/>
            <p:nvPr/>
          </p:nvSpPr>
          <p:spPr>
            <a:xfrm flipH="1">
              <a:off x="9804140" y="4080411"/>
              <a:ext cx="680478" cy="1732127"/>
            </a:xfrm>
            <a:custGeom>
              <a:avLst/>
              <a:gdLst>
                <a:gd name="connsiteX0" fmla="*/ 0 w 680478"/>
                <a:gd name="connsiteY0" fmla="*/ 0 h 1732126"/>
                <a:gd name="connsiteX1" fmla="*/ 689758 w 680478"/>
                <a:gd name="connsiteY1" fmla="*/ 0 h 1732126"/>
                <a:gd name="connsiteX2" fmla="*/ 689758 w 680478"/>
                <a:gd name="connsiteY2" fmla="*/ 1756871 h 1732126"/>
                <a:gd name="connsiteX3" fmla="*/ 0 w 680478"/>
                <a:gd name="connsiteY3" fmla="*/ 1756871 h 1732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1732126">
                  <a:moveTo>
                    <a:pt x="0" y="0"/>
                  </a:moveTo>
                  <a:lnTo>
                    <a:pt x="689758" y="0"/>
                  </a:lnTo>
                  <a:lnTo>
                    <a:pt x="689758" y="1756871"/>
                  </a:lnTo>
                  <a:lnTo>
                    <a:pt x="0" y="1756871"/>
                  </a:lnTo>
                  <a:close/>
                </a:path>
              </a:pathLst>
            </a:custGeom>
            <a:solidFill>
              <a:srgbClr val="FBF2E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EB925569-49A4-443E-AE19-26C3C1884DFE}"/>
                </a:ext>
              </a:extLst>
            </p:cNvPr>
            <p:cNvSpPr/>
            <p:nvPr/>
          </p:nvSpPr>
          <p:spPr>
            <a:xfrm flipH="1">
              <a:off x="9841256" y="4300020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593872 w 587685"/>
                <a:gd name="connsiteY1" fmla="*/ 0 h 61861"/>
                <a:gd name="connsiteX2" fmla="*/ 593872 w 587685"/>
                <a:gd name="connsiteY2" fmla="*/ 74234 h 61861"/>
                <a:gd name="connsiteX3" fmla="*/ 0 w 587685"/>
                <a:gd name="connsiteY3" fmla="*/ 7423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593872" y="0"/>
                  </a:lnTo>
                  <a:lnTo>
                    <a:pt x="593872" y="74234"/>
                  </a:lnTo>
                  <a:lnTo>
                    <a:pt x="0" y="7423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2FB58A4B-D2A2-447D-9FA6-6B6942ED50D1}"/>
                </a:ext>
              </a:extLst>
            </p:cNvPr>
            <p:cNvSpPr/>
            <p:nvPr/>
          </p:nvSpPr>
          <p:spPr>
            <a:xfrm flipH="1">
              <a:off x="10243357" y="4225786"/>
              <a:ext cx="185585" cy="30931"/>
            </a:xfrm>
            <a:custGeom>
              <a:avLst/>
              <a:gdLst>
                <a:gd name="connsiteX0" fmla="*/ 0 w 185585"/>
                <a:gd name="connsiteY0" fmla="*/ 0 h 30930"/>
                <a:gd name="connsiteX1" fmla="*/ 188678 w 185585"/>
                <a:gd name="connsiteY1" fmla="*/ 0 h 30930"/>
                <a:gd name="connsiteX2" fmla="*/ 188678 w 185585"/>
                <a:gd name="connsiteY2" fmla="*/ 43303 h 30930"/>
                <a:gd name="connsiteX3" fmla="*/ 0 w 185585"/>
                <a:gd name="connsiteY3" fmla="*/ 43303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5585" h="30930">
                  <a:moveTo>
                    <a:pt x="0" y="0"/>
                  </a:moveTo>
                  <a:lnTo>
                    <a:pt x="188678" y="0"/>
                  </a:lnTo>
                  <a:lnTo>
                    <a:pt x="188678" y="43303"/>
                  </a:lnTo>
                  <a:lnTo>
                    <a:pt x="0" y="43303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5" name="任意多边形: 形状 334">
              <a:extLst>
                <a:ext uri="{FF2B5EF4-FFF2-40B4-BE49-F238E27FC236}">
                  <a16:creationId xmlns:a16="http://schemas.microsoft.com/office/drawing/2014/main" id="{F784CB74-72D4-49A3-A5A8-F960222C71A4}"/>
                </a:ext>
              </a:extLst>
            </p:cNvPr>
            <p:cNvSpPr/>
            <p:nvPr/>
          </p:nvSpPr>
          <p:spPr>
            <a:xfrm flipH="1">
              <a:off x="9841256" y="4436116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FE219E5E-90AB-4795-AF56-B8B4A8F17736}"/>
                </a:ext>
              </a:extLst>
            </p:cNvPr>
            <p:cNvSpPr/>
            <p:nvPr/>
          </p:nvSpPr>
          <p:spPr>
            <a:xfrm flipH="1">
              <a:off x="9875280" y="4142273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9279 h 0"/>
                <a:gd name="connsiteX3" fmla="*/ 0 w 587685"/>
                <a:gd name="connsiteY3" fmla="*/ 927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9279"/>
                  </a:lnTo>
                  <a:lnTo>
                    <a:pt x="0" y="927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E72042CD-69B6-42A1-A402-3FA9465D574D}"/>
                </a:ext>
              </a:extLst>
            </p:cNvPr>
            <p:cNvSpPr/>
            <p:nvPr/>
          </p:nvSpPr>
          <p:spPr>
            <a:xfrm flipH="1">
              <a:off x="9841256" y="4507257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4C844B79-4B2D-45C8-9A72-E2D39549B435}"/>
                </a:ext>
              </a:extLst>
            </p:cNvPr>
            <p:cNvSpPr/>
            <p:nvPr/>
          </p:nvSpPr>
          <p:spPr>
            <a:xfrm flipH="1">
              <a:off x="9841256" y="4578398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1AF31525-0160-4A8C-B8D5-4070C7EDFF8F}"/>
                </a:ext>
              </a:extLst>
            </p:cNvPr>
            <p:cNvSpPr/>
            <p:nvPr/>
          </p:nvSpPr>
          <p:spPr>
            <a:xfrm flipH="1">
              <a:off x="9841256" y="4649539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4C71FFB9-6563-4B99-AE99-BCE98B7A6E27}"/>
                </a:ext>
              </a:extLst>
            </p:cNvPr>
            <p:cNvSpPr/>
            <p:nvPr/>
          </p:nvSpPr>
          <p:spPr>
            <a:xfrm flipH="1">
              <a:off x="9841256" y="4720680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1" name="任意多边形: 形状 340">
              <a:extLst>
                <a:ext uri="{FF2B5EF4-FFF2-40B4-BE49-F238E27FC236}">
                  <a16:creationId xmlns:a16="http://schemas.microsoft.com/office/drawing/2014/main" id="{E066B992-1172-4774-9A22-836B11375AF1}"/>
                </a:ext>
              </a:extLst>
            </p:cNvPr>
            <p:cNvSpPr/>
            <p:nvPr/>
          </p:nvSpPr>
          <p:spPr>
            <a:xfrm flipH="1">
              <a:off x="9841256" y="4791820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2" name="任意多边形: 形状 341">
              <a:extLst>
                <a:ext uri="{FF2B5EF4-FFF2-40B4-BE49-F238E27FC236}">
                  <a16:creationId xmlns:a16="http://schemas.microsoft.com/office/drawing/2014/main" id="{3BBEB376-F9BB-49E2-8F76-1A0AB8A1492A}"/>
                </a:ext>
              </a:extLst>
            </p:cNvPr>
            <p:cNvSpPr/>
            <p:nvPr/>
          </p:nvSpPr>
          <p:spPr>
            <a:xfrm flipH="1">
              <a:off x="9841256" y="4862961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026E6C25-56FD-4359-BDED-7DBF7F435713}"/>
                </a:ext>
              </a:extLst>
            </p:cNvPr>
            <p:cNvSpPr/>
            <p:nvPr/>
          </p:nvSpPr>
          <p:spPr>
            <a:xfrm flipH="1">
              <a:off x="9841256" y="4934102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53EE90ED-D8E5-4736-95D7-414506471AFF}"/>
                </a:ext>
              </a:extLst>
            </p:cNvPr>
            <p:cNvSpPr/>
            <p:nvPr/>
          </p:nvSpPr>
          <p:spPr>
            <a:xfrm flipH="1">
              <a:off x="9841256" y="5005243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A2044CD8-155B-4993-ABDC-46249F6A6534}"/>
                </a:ext>
              </a:extLst>
            </p:cNvPr>
            <p:cNvSpPr/>
            <p:nvPr/>
          </p:nvSpPr>
          <p:spPr>
            <a:xfrm flipH="1">
              <a:off x="9841256" y="5076384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6" name="任意多边形: 形状 345">
              <a:extLst>
                <a:ext uri="{FF2B5EF4-FFF2-40B4-BE49-F238E27FC236}">
                  <a16:creationId xmlns:a16="http://schemas.microsoft.com/office/drawing/2014/main" id="{011FC85F-529F-49BE-8886-9F4761D66E59}"/>
                </a:ext>
              </a:extLst>
            </p:cNvPr>
            <p:cNvSpPr/>
            <p:nvPr/>
          </p:nvSpPr>
          <p:spPr>
            <a:xfrm flipH="1">
              <a:off x="9841256" y="5144432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7" name="任意多边形: 形状 346">
              <a:extLst>
                <a:ext uri="{FF2B5EF4-FFF2-40B4-BE49-F238E27FC236}">
                  <a16:creationId xmlns:a16="http://schemas.microsoft.com/office/drawing/2014/main" id="{FB6442A7-E870-478D-B421-FC6C66F83722}"/>
                </a:ext>
              </a:extLst>
            </p:cNvPr>
            <p:cNvSpPr/>
            <p:nvPr/>
          </p:nvSpPr>
          <p:spPr>
            <a:xfrm flipH="1">
              <a:off x="9841256" y="5215573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8" name="任意多边形: 形状 347">
              <a:extLst>
                <a:ext uri="{FF2B5EF4-FFF2-40B4-BE49-F238E27FC236}">
                  <a16:creationId xmlns:a16="http://schemas.microsoft.com/office/drawing/2014/main" id="{50B60BE5-B4B4-41CC-A2C7-D0C1D402028F}"/>
                </a:ext>
              </a:extLst>
            </p:cNvPr>
            <p:cNvSpPr/>
            <p:nvPr/>
          </p:nvSpPr>
          <p:spPr>
            <a:xfrm flipH="1">
              <a:off x="9841256" y="5286714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9" name="任意多边形: 形状 348">
              <a:extLst>
                <a:ext uri="{FF2B5EF4-FFF2-40B4-BE49-F238E27FC236}">
                  <a16:creationId xmlns:a16="http://schemas.microsoft.com/office/drawing/2014/main" id="{C9C95092-517A-4006-88A1-8CB85DA22E8A}"/>
                </a:ext>
              </a:extLst>
            </p:cNvPr>
            <p:cNvSpPr/>
            <p:nvPr/>
          </p:nvSpPr>
          <p:spPr>
            <a:xfrm flipH="1">
              <a:off x="9841256" y="5357855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0" name="任意多边形: 形状 349">
              <a:extLst>
                <a:ext uri="{FF2B5EF4-FFF2-40B4-BE49-F238E27FC236}">
                  <a16:creationId xmlns:a16="http://schemas.microsoft.com/office/drawing/2014/main" id="{C616C11B-BC13-4D3D-8886-959CCB0F7FCA}"/>
                </a:ext>
              </a:extLst>
            </p:cNvPr>
            <p:cNvSpPr/>
            <p:nvPr/>
          </p:nvSpPr>
          <p:spPr>
            <a:xfrm flipH="1">
              <a:off x="9841256" y="5428996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1" name="任意多边形: 形状 350">
              <a:extLst>
                <a:ext uri="{FF2B5EF4-FFF2-40B4-BE49-F238E27FC236}">
                  <a16:creationId xmlns:a16="http://schemas.microsoft.com/office/drawing/2014/main" id="{BA090BD5-7279-43EC-9933-66136B4D13EE}"/>
                </a:ext>
              </a:extLst>
            </p:cNvPr>
            <p:cNvSpPr/>
            <p:nvPr/>
          </p:nvSpPr>
          <p:spPr>
            <a:xfrm flipH="1">
              <a:off x="9841256" y="5500136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2" name="任意多边形: 形状 351">
              <a:extLst>
                <a:ext uri="{FF2B5EF4-FFF2-40B4-BE49-F238E27FC236}">
                  <a16:creationId xmlns:a16="http://schemas.microsoft.com/office/drawing/2014/main" id="{CE7BD491-9744-4BFB-99A2-8BC139FB73F3}"/>
                </a:ext>
              </a:extLst>
            </p:cNvPr>
            <p:cNvSpPr/>
            <p:nvPr/>
          </p:nvSpPr>
          <p:spPr>
            <a:xfrm flipH="1">
              <a:off x="9841256" y="5571277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3" name="任意多边形: 形状 352">
              <a:extLst>
                <a:ext uri="{FF2B5EF4-FFF2-40B4-BE49-F238E27FC236}">
                  <a16:creationId xmlns:a16="http://schemas.microsoft.com/office/drawing/2014/main" id="{A248ADF2-621A-4514-8908-C5C662D8E402}"/>
                </a:ext>
              </a:extLst>
            </p:cNvPr>
            <p:cNvSpPr/>
            <p:nvPr/>
          </p:nvSpPr>
          <p:spPr>
            <a:xfrm flipH="1">
              <a:off x="9841256" y="5642418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4" name="任意多边形: 形状 353">
              <a:extLst>
                <a:ext uri="{FF2B5EF4-FFF2-40B4-BE49-F238E27FC236}">
                  <a16:creationId xmlns:a16="http://schemas.microsoft.com/office/drawing/2014/main" id="{59564EF0-615D-48DE-8C83-8C06B7795D1E}"/>
                </a:ext>
              </a:extLst>
            </p:cNvPr>
            <p:cNvSpPr/>
            <p:nvPr/>
          </p:nvSpPr>
          <p:spPr>
            <a:xfrm flipH="1">
              <a:off x="9841256" y="5713559"/>
              <a:ext cx="587686" cy="30931"/>
            </a:xfrm>
            <a:custGeom>
              <a:avLst/>
              <a:gdLst>
                <a:gd name="connsiteX0" fmla="*/ 0 w 587685"/>
                <a:gd name="connsiteY0" fmla="*/ 0 h 0"/>
                <a:gd name="connsiteX1" fmla="*/ 593872 w 587685"/>
                <a:gd name="connsiteY1" fmla="*/ 0 h 0"/>
                <a:gd name="connsiteX2" fmla="*/ 593872 w 587685"/>
                <a:gd name="connsiteY2" fmla="*/ 27838 h 0"/>
                <a:gd name="connsiteX3" fmla="*/ 0 w 587685"/>
                <a:gd name="connsiteY3" fmla="*/ 2783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>
                  <a:moveTo>
                    <a:pt x="0" y="0"/>
                  </a:moveTo>
                  <a:lnTo>
                    <a:pt x="593872" y="0"/>
                  </a:lnTo>
                  <a:lnTo>
                    <a:pt x="593872" y="27838"/>
                  </a:lnTo>
                  <a:lnTo>
                    <a:pt x="0" y="27838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5" name="任意多边形: 形状 354">
              <a:extLst>
                <a:ext uri="{FF2B5EF4-FFF2-40B4-BE49-F238E27FC236}">
                  <a16:creationId xmlns:a16="http://schemas.microsoft.com/office/drawing/2014/main" id="{68536B82-7FFE-4F34-993F-9211171C1AFC}"/>
                </a:ext>
              </a:extLst>
            </p:cNvPr>
            <p:cNvSpPr/>
            <p:nvPr/>
          </p:nvSpPr>
          <p:spPr>
            <a:xfrm flipH="1">
              <a:off x="10237171" y="4030922"/>
              <a:ext cx="30931" cy="1855850"/>
            </a:xfrm>
            <a:custGeom>
              <a:avLst/>
              <a:gdLst>
                <a:gd name="connsiteX0" fmla="*/ 0 w 30930"/>
                <a:gd name="connsiteY0" fmla="*/ 0 h 1855849"/>
                <a:gd name="connsiteX1" fmla="*/ 30931 w 30930"/>
                <a:gd name="connsiteY1" fmla="*/ 0 h 1855849"/>
                <a:gd name="connsiteX2" fmla="*/ 30931 w 30930"/>
                <a:gd name="connsiteY2" fmla="*/ 1862036 h 1855849"/>
                <a:gd name="connsiteX3" fmla="*/ 0 w 30930"/>
                <a:gd name="connsiteY3" fmla="*/ 1862036 h 1855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855849">
                  <a:moveTo>
                    <a:pt x="0" y="0"/>
                  </a:moveTo>
                  <a:lnTo>
                    <a:pt x="30931" y="0"/>
                  </a:lnTo>
                  <a:lnTo>
                    <a:pt x="30931" y="1862036"/>
                  </a:lnTo>
                  <a:lnTo>
                    <a:pt x="0" y="1862036"/>
                  </a:lnTo>
                  <a:close/>
                </a:path>
              </a:pathLst>
            </a:custGeom>
            <a:solidFill>
              <a:srgbClr val="FFE2D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6" name="任意多边形: 形状 355">
              <a:extLst>
                <a:ext uri="{FF2B5EF4-FFF2-40B4-BE49-F238E27FC236}">
                  <a16:creationId xmlns:a16="http://schemas.microsoft.com/office/drawing/2014/main" id="{2C48F268-9D11-4B8A-A30F-4240416D5A94}"/>
                </a:ext>
              </a:extLst>
            </p:cNvPr>
            <p:cNvSpPr/>
            <p:nvPr/>
          </p:nvSpPr>
          <p:spPr>
            <a:xfrm flipH="1">
              <a:off x="10008283" y="3993805"/>
              <a:ext cx="30931" cy="1917712"/>
            </a:xfrm>
            <a:custGeom>
              <a:avLst/>
              <a:gdLst>
                <a:gd name="connsiteX0" fmla="*/ 0 w 0"/>
                <a:gd name="connsiteY0" fmla="*/ 0 h 1917711"/>
                <a:gd name="connsiteX1" fmla="*/ 27838 w 0"/>
                <a:gd name="connsiteY1" fmla="*/ 0 h 1917711"/>
                <a:gd name="connsiteX2" fmla="*/ 27838 w 0"/>
                <a:gd name="connsiteY2" fmla="*/ 1933177 h 1917711"/>
                <a:gd name="connsiteX3" fmla="*/ 0 w 0"/>
                <a:gd name="connsiteY3" fmla="*/ 1933177 h 191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917711">
                  <a:moveTo>
                    <a:pt x="0" y="0"/>
                  </a:moveTo>
                  <a:lnTo>
                    <a:pt x="27838" y="0"/>
                  </a:lnTo>
                  <a:lnTo>
                    <a:pt x="27838" y="1933177"/>
                  </a:lnTo>
                  <a:lnTo>
                    <a:pt x="0" y="1933177"/>
                  </a:lnTo>
                  <a:close/>
                </a:path>
              </a:pathLst>
            </a:custGeom>
            <a:solidFill>
              <a:srgbClr val="FFE2D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7" name="任意多边形: 形状 356">
              <a:extLst>
                <a:ext uri="{FF2B5EF4-FFF2-40B4-BE49-F238E27FC236}">
                  <a16:creationId xmlns:a16="http://schemas.microsoft.com/office/drawing/2014/main" id="{83480E4B-0D7A-4727-BA6E-43D74C6B67F7}"/>
                </a:ext>
              </a:extLst>
            </p:cNvPr>
            <p:cNvSpPr/>
            <p:nvPr/>
          </p:nvSpPr>
          <p:spPr>
            <a:xfrm flipH="1">
              <a:off x="11180562" y="5416623"/>
              <a:ext cx="154654" cy="1206302"/>
            </a:xfrm>
            <a:custGeom>
              <a:avLst/>
              <a:gdLst>
                <a:gd name="connsiteX0" fmla="*/ 170120 w 154654"/>
                <a:gd name="connsiteY0" fmla="*/ 1206303 h 1206302"/>
                <a:gd name="connsiteX1" fmla="*/ 0 w 154654"/>
                <a:gd name="connsiteY1" fmla="*/ 1206303 h 1206302"/>
                <a:gd name="connsiteX2" fmla="*/ 0 w 154654"/>
                <a:gd name="connsiteY2" fmla="*/ 108258 h 1206302"/>
                <a:gd name="connsiteX3" fmla="*/ 170120 w 154654"/>
                <a:gd name="connsiteY3" fmla="*/ 0 h 120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206302">
                  <a:moveTo>
                    <a:pt x="170120" y="1206303"/>
                  </a:moveTo>
                  <a:lnTo>
                    <a:pt x="0" y="1206303"/>
                  </a:lnTo>
                  <a:lnTo>
                    <a:pt x="0" y="108258"/>
                  </a:lnTo>
                  <a:lnTo>
                    <a:pt x="170120" y="0"/>
                  </a:lnTo>
                  <a:close/>
                </a:path>
              </a:pathLst>
            </a:custGeom>
            <a:solidFill>
              <a:srgbClr val="004A5B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8" name="任意多边形: 形状 357">
              <a:extLst>
                <a:ext uri="{FF2B5EF4-FFF2-40B4-BE49-F238E27FC236}">
                  <a16:creationId xmlns:a16="http://schemas.microsoft.com/office/drawing/2014/main" id="{9632FAC3-A3A5-4035-BF3C-5230AFECCA58}"/>
                </a:ext>
              </a:extLst>
            </p:cNvPr>
            <p:cNvSpPr/>
            <p:nvPr/>
          </p:nvSpPr>
          <p:spPr>
            <a:xfrm flipH="1">
              <a:off x="11010442" y="5416623"/>
              <a:ext cx="154654" cy="1206302"/>
            </a:xfrm>
            <a:custGeom>
              <a:avLst/>
              <a:gdLst>
                <a:gd name="connsiteX0" fmla="*/ 0 w 154654"/>
                <a:gd name="connsiteY0" fmla="*/ 0 h 1206302"/>
                <a:gd name="connsiteX1" fmla="*/ 173213 w 154654"/>
                <a:gd name="connsiteY1" fmla="*/ 0 h 1206302"/>
                <a:gd name="connsiteX2" fmla="*/ 173213 w 154654"/>
                <a:gd name="connsiteY2" fmla="*/ 1224861 h 1206302"/>
                <a:gd name="connsiteX3" fmla="*/ 0 w 154654"/>
                <a:gd name="connsiteY3" fmla="*/ 1224861 h 120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206302">
                  <a:moveTo>
                    <a:pt x="0" y="0"/>
                  </a:moveTo>
                  <a:lnTo>
                    <a:pt x="173213" y="0"/>
                  </a:lnTo>
                  <a:lnTo>
                    <a:pt x="173213" y="1224861"/>
                  </a:lnTo>
                  <a:lnTo>
                    <a:pt x="0" y="1224861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9" name="任意多边形: 形状 358">
              <a:extLst>
                <a:ext uri="{FF2B5EF4-FFF2-40B4-BE49-F238E27FC236}">
                  <a16:creationId xmlns:a16="http://schemas.microsoft.com/office/drawing/2014/main" id="{4C76442C-762F-4013-A6BC-075D33D4F4E4}"/>
                </a:ext>
              </a:extLst>
            </p:cNvPr>
            <p:cNvSpPr/>
            <p:nvPr/>
          </p:nvSpPr>
          <p:spPr>
            <a:xfrm flipH="1">
              <a:off x="9615461" y="5048546"/>
              <a:ext cx="618617" cy="309308"/>
            </a:xfrm>
            <a:custGeom>
              <a:avLst/>
              <a:gdLst>
                <a:gd name="connsiteX0" fmla="*/ 210330 w 618616"/>
                <a:gd name="connsiteY0" fmla="*/ 0 h 309308"/>
                <a:gd name="connsiteX1" fmla="*/ 0 w 618616"/>
                <a:gd name="connsiteY1" fmla="*/ 287657 h 309308"/>
                <a:gd name="connsiteX2" fmla="*/ 637175 w 618616"/>
                <a:gd name="connsiteY2" fmla="*/ 321681 h 309308"/>
                <a:gd name="connsiteX3" fmla="*/ 429939 w 618616"/>
                <a:gd name="connsiteY3" fmla="*/ 18558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6" h="309308">
                  <a:moveTo>
                    <a:pt x="210330" y="0"/>
                  </a:moveTo>
                  <a:lnTo>
                    <a:pt x="0" y="287657"/>
                  </a:lnTo>
                  <a:lnTo>
                    <a:pt x="637175" y="321681"/>
                  </a:lnTo>
                  <a:lnTo>
                    <a:pt x="429939" y="18558"/>
                  </a:lnTo>
                  <a:close/>
                </a:path>
              </a:pathLst>
            </a:custGeom>
            <a:solidFill>
              <a:srgbClr val="004A5B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0" name="任意多边形: 形状 359">
              <a:extLst>
                <a:ext uri="{FF2B5EF4-FFF2-40B4-BE49-F238E27FC236}">
                  <a16:creationId xmlns:a16="http://schemas.microsoft.com/office/drawing/2014/main" id="{94B12586-1BB4-4E7D-AE6E-D395D6A78E3A}"/>
                </a:ext>
              </a:extLst>
            </p:cNvPr>
            <p:cNvSpPr/>
            <p:nvPr/>
          </p:nvSpPr>
          <p:spPr>
            <a:xfrm flipH="1">
              <a:off x="9915490" y="5231038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1" name="任意多边形: 形状 360">
              <a:extLst>
                <a:ext uri="{FF2B5EF4-FFF2-40B4-BE49-F238E27FC236}">
                  <a16:creationId xmlns:a16="http://schemas.microsoft.com/office/drawing/2014/main" id="{870B8DFB-7864-4FF7-B9D6-115330CA620C}"/>
                </a:ext>
              </a:extLst>
            </p:cNvPr>
            <p:cNvSpPr/>
            <p:nvPr/>
          </p:nvSpPr>
          <p:spPr>
            <a:xfrm flipH="1">
              <a:off x="10023748" y="5246504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2" name="任意多边形: 形状 361">
              <a:extLst>
                <a:ext uri="{FF2B5EF4-FFF2-40B4-BE49-F238E27FC236}">
                  <a16:creationId xmlns:a16="http://schemas.microsoft.com/office/drawing/2014/main" id="{55A1E4B5-7C39-4790-923B-5124DBE706B9}"/>
                </a:ext>
              </a:extLst>
            </p:cNvPr>
            <p:cNvSpPr/>
            <p:nvPr/>
          </p:nvSpPr>
          <p:spPr>
            <a:xfrm flipH="1">
              <a:off x="10116541" y="5295993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3" name="任意多边形: 形状 362">
              <a:extLst>
                <a:ext uri="{FF2B5EF4-FFF2-40B4-BE49-F238E27FC236}">
                  <a16:creationId xmlns:a16="http://schemas.microsoft.com/office/drawing/2014/main" id="{679691A9-95E1-451D-917E-E779E61E47A3}"/>
                </a:ext>
              </a:extLst>
            </p:cNvPr>
            <p:cNvSpPr/>
            <p:nvPr/>
          </p:nvSpPr>
          <p:spPr>
            <a:xfrm flipH="1">
              <a:off x="10193868" y="5311458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4" name="任意多边形: 形状 363">
              <a:extLst>
                <a:ext uri="{FF2B5EF4-FFF2-40B4-BE49-F238E27FC236}">
                  <a16:creationId xmlns:a16="http://schemas.microsoft.com/office/drawing/2014/main" id="{DF412D48-9DF1-4A33-B429-AB9CC85B5D47}"/>
                </a:ext>
              </a:extLst>
            </p:cNvPr>
            <p:cNvSpPr/>
            <p:nvPr/>
          </p:nvSpPr>
          <p:spPr>
            <a:xfrm flipH="1">
              <a:off x="9615461" y="5330017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5" name="任意多边形: 形状 364">
              <a:extLst>
                <a:ext uri="{FF2B5EF4-FFF2-40B4-BE49-F238E27FC236}">
                  <a16:creationId xmlns:a16="http://schemas.microsoft.com/office/drawing/2014/main" id="{6B951691-53E0-4B9B-93E2-516FA09B6FA9}"/>
                </a:ext>
              </a:extLst>
            </p:cNvPr>
            <p:cNvSpPr/>
            <p:nvPr/>
          </p:nvSpPr>
          <p:spPr>
            <a:xfrm flipH="1">
              <a:off x="9689695" y="5271248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6" name="任意多边形: 形状 365">
              <a:extLst>
                <a:ext uri="{FF2B5EF4-FFF2-40B4-BE49-F238E27FC236}">
                  <a16:creationId xmlns:a16="http://schemas.microsoft.com/office/drawing/2014/main" id="{40296933-4410-40D6-95F1-A87086CF68A3}"/>
                </a:ext>
              </a:extLst>
            </p:cNvPr>
            <p:cNvSpPr/>
            <p:nvPr/>
          </p:nvSpPr>
          <p:spPr>
            <a:xfrm flipH="1">
              <a:off x="9763930" y="4503785"/>
              <a:ext cx="494893" cy="804202"/>
            </a:xfrm>
            <a:custGeom>
              <a:avLst/>
              <a:gdLst>
                <a:gd name="connsiteX0" fmla="*/ 0 w 494893"/>
                <a:gd name="connsiteY0" fmla="*/ 204522 h 804201"/>
                <a:gd name="connsiteX1" fmla="*/ 21652 w 494893"/>
                <a:gd name="connsiteY1" fmla="*/ 829325 h 804201"/>
                <a:gd name="connsiteX2" fmla="*/ 275284 w 494893"/>
                <a:gd name="connsiteY2" fmla="*/ 755091 h 804201"/>
                <a:gd name="connsiteX3" fmla="*/ 497986 w 494893"/>
                <a:gd name="connsiteY3" fmla="*/ 755091 h 804201"/>
                <a:gd name="connsiteX4" fmla="*/ 497986 w 494893"/>
                <a:gd name="connsiteY4" fmla="*/ 379 h 804201"/>
                <a:gd name="connsiteX5" fmla="*/ 0 w 494893"/>
                <a:gd name="connsiteY5" fmla="*/ 204522 h 80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893" h="804201">
                  <a:moveTo>
                    <a:pt x="0" y="204522"/>
                  </a:moveTo>
                  <a:lnTo>
                    <a:pt x="21652" y="829325"/>
                  </a:lnTo>
                  <a:cubicBezTo>
                    <a:pt x="21652" y="829325"/>
                    <a:pt x="201050" y="770557"/>
                    <a:pt x="275284" y="755091"/>
                  </a:cubicBezTo>
                  <a:cubicBezTo>
                    <a:pt x="349519" y="736532"/>
                    <a:pt x="497986" y="755091"/>
                    <a:pt x="497986" y="755091"/>
                  </a:cubicBezTo>
                  <a:lnTo>
                    <a:pt x="497986" y="379"/>
                  </a:lnTo>
                  <a:cubicBezTo>
                    <a:pt x="501079" y="379"/>
                    <a:pt x="179399" y="-18180"/>
                    <a:pt x="0" y="204522"/>
                  </a:cubicBez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7" name="任意多边形: 形状 366">
              <a:extLst>
                <a:ext uri="{FF2B5EF4-FFF2-40B4-BE49-F238E27FC236}">
                  <a16:creationId xmlns:a16="http://schemas.microsoft.com/office/drawing/2014/main" id="{527B1C20-AC6E-40F5-8D3D-D4F76DF7B5CE}"/>
                </a:ext>
              </a:extLst>
            </p:cNvPr>
            <p:cNvSpPr/>
            <p:nvPr/>
          </p:nvSpPr>
          <p:spPr>
            <a:xfrm flipH="1">
              <a:off x="9770116" y="4491791"/>
              <a:ext cx="494893" cy="835132"/>
            </a:xfrm>
            <a:custGeom>
              <a:avLst/>
              <a:gdLst>
                <a:gd name="connsiteX0" fmla="*/ 24745 w 494893"/>
                <a:gd name="connsiteY0" fmla="*/ 850598 h 835132"/>
                <a:gd name="connsiteX1" fmla="*/ 0 w 494893"/>
                <a:gd name="connsiteY1" fmla="*/ 213423 h 835132"/>
                <a:gd name="connsiteX2" fmla="*/ 0 w 494893"/>
                <a:gd name="connsiteY2" fmla="*/ 210330 h 835132"/>
                <a:gd name="connsiteX3" fmla="*/ 488707 w 494893"/>
                <a:gd name="connsiteY3" fmla="*/ 0 h 835132"/>
                <a:gd name="connsiteX4" fmla="*/ 504173 w 494893"/>
                <a:gd name="connsiteY4" fmla="*/ 0 h 835132"/>
                <a:gd name="connsiteX5" fmla="*/ 510359 w 494893"/>
                <a:gd name="connsiteY5" fmla="*/ 0 h 835132"/>
                <a:gd name="connsiteX6" fmla="*/ 510359 w 494893"/>
                <a:gd name="connsiteY6" fmla="*/ 770178 h 835132"/>
                <a:gd name="connsiteX7" fmla="*/ 504173 w 494893"/>
                <a:gd name="connsiteY7" fmla="*/ 770178 h 835132"/>
                <a:gd name="connsiteX8" fmla="*/ 371170 w 494893"/>
                <a:gd name="connsiteY8" fmla="*/ 763991 h 835132"/>
                <a:gd name="connsiteX9" fmla="*/ 281471 w 494893"/>
                <a:gd name="connsiteY9" fmla="*/ 770178 h 835132"/>
                <a:gd name="connsiteX10" fmla="*/ 27838 w 494893"/>
                <a:gd name="connsiteY10" fmla="*/ 844412 h 835132"/>
                <a:gd name="connsiteX11" fmla="*/ 24745 w 494893"/>
                <a:gd name="connsiteY11" fmla="*/ 850598 h 835132"/>
                <a:gd name="connsiteX12" fmla="*/ 12372 w 494893"/>
                <a:gd name="connsiteY12" fmla="*/ 219609 h 835132"/>
                <a:gd name="connsiteX13" fmla="*/ 34024 w 494893"/>
                <a:gd name="connsiteY13" fmla="*/ 835132 h 835132"/>
                <a:gd name="connsiteX14" fmla="*/ 281471 w 494893"/>
                <a:gd name="connsiteY14" fmla="*/ 763991 h 835132"/>
                <a:gd name="connsiteX15" fmla="*/ 374263 w 494893"/>
                <a:gd name="connsiteY15" fmla="*/ 754712 h 835132"/>
                <a:gd name="connsiteX16" fmla="*/ 501080 w 494893"/>
                <a:gd name="connsiteY16" fmla="*/ 760898 h 835132"/>
                <a:gd name="connsiteX17" fmla="*/ 501080 w 494893"/>
                <a:gd name="connsiteY17" fmla="*/ 15465 h 835132"/>
                <a:gd name="connsiteX18" fmla="*/ 491800 w 494893"/>
                <a:gd name="connsiteY18" fmla="*/ 15465 h 835132"/>
                <a:gd name="connsiteX19" fmla="*/ 12372 w 494893"/>
                <a:gd name="connsiteY19" fmla="*/ 219609 h 83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94893" h="835132">
                  <a:moveTo>
                    <a:pt x="24745" y="850598"/>
                  </a:moveTo>
                  <a:lnTo>
                    <a:pt x="0" y="213423"/>
                  </a:lnTo>
                  <a:lnTo>
                    <a:pt x="0" y="210330"/>
                  </a:lnTo>
                  <a:cubicBezTo>
                    <a:pt x="154654" y="15465"/>
                    <a:pt x="411380" y="0"/>
                    <a:pt x="488707" y="0"/>
                  </a:cubicBezTo>
                  <a:cubicBezTo>
                    <a:pt x="497987" y="0"/>
                    <a:pt x="504173" y="0"/>
                    <a:pt x="504173" y="0"/>
                  </a:cubicBezTo>
                  <a:lnTo>
                    <a:pt x="510359" y="0"/>
                  </a:lnTo>
                  <a:lnTo>
                    <a:pt x="510359" y="770178"/>
                  </a:lnTo>
                  <a:lnTo>
                    <a:pt x="504173" y="770178"/>
                  </a:lnTo>
                  <a:cubicBezTo>
                    <a:pt x="504173" y="770178"/>
                    <a:pt x="436125" y="763991"/>
                    <a:pt x="371170" y="763991"/>
                  </a:cubicBezTo>
                  <a:cubicBezTo>
                    <a:pt x="334053" y="763991"/>
                    <a:pt x="303122" y="767085"/>
                    <a:pt x="281471" y="770178"/>
                  </a:cubicBezTo>
                  <a:cubicBezTo>
                    <a:pt x="207237" y="785643"/>
                    <a:pt x="30931" y="844412"/>
                    <a:pt x="27838" y="844412"/>
                  </a:cubicBezTo>
                  <a:lnTo>
                    <a:pt x="24745" y="850598"/>
                  </a:lnTo>
                  <a:close/>
                  <a:moveTo>
                    <a:pt x="12372" y="219609"/>
                  </a:moveTo>
                  <a:lnTo>
                    <a:pt x="34024" y="835132"/>
                  </a:lnTo>
                  <a:cubicBezTo>
                    <a:pt x="68048" y="822760"/>
                    <a:pt x="213423" y="776364"/>
                    <a:pt x="281471" y="763991"/>
                  </a:cubicBezTo>
                  <a:cubicBezTo>
                    <a:pt x="303122" y="757805"/>
                    <a:pt x="334053" y="754712"/>
                    <a:pt x="374263" y="754712"/>
                  </a:cubicBezTo>
                  <a:cubicBezTo>
                    <a:pt x="426845" y="754712"/>
                    <a:pt x="482521" y="760898"/>
                    <a:pt x="501080" y="760898"/>
                  </a:cubicBezTo>
                  <a:lnTo>
                    <a:pt x="501080" y="15465"/>
                  </a:lnTo>
                  <a:cubicBezTo>
                    <a:pt x="497987" y="15465"/>
                    <a:pt x="494893" y="15465"/>
                    <a:pt x="491800" y="15465"/>
                  </a:cubicBezTo>
                  <a:cubicBezTo>
                    <a:pt x="417566" y="15465"/>
                    <a:pt x="163933" y="30931"/>
                    <a:pt x="12372" y="219609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8" name="任意多边形: 形状 367">
              <a:extLst>
                <a:ext uri="{FF2B5EF4-FFF2-40B4-BE49-F238E27FC236}">
                  <a16:creationId xmlns:a16="http://schemas.microsoft.com/office/drawing/2014/main" id="{8A1D5784-8F8B-4BFB-9061-98CE3048A738}"/>
                </a:ext>
              </a:extLst>
            </p:cNvPr>
            <p:cNvSpPr/>
            <p:nvPr/>
          </p:nvSpPr>
          <p:spPr>
            <a:xfrm flipH="1">
              <a:off x="9603090" y="4504164"/>
              <a:ext cx="154654" cy="866063"/>
            </a:xfrm>
            <a:custGeom>
              <a:avLst/>
              <a:gdLst>
                <a:gd name="connsiteX0" fmla="*/ 160840 w 154654"/>
                <a:gd name="connsiteY0" fmla="*/ 241260 h 866063"/>
                <a:gd name="connsiteX1" fmla="*/ 0 w 154654"/>
                <a:gd name="connsiteY1" fmla="*/ 0 h 866063"/>
                <a:gd name="connsiteX2" fmla="*/ 0 w 154654"/>
                <a:gd name="connsiteY2" fmla="*/ 757805 h 866063"/>
                <a:gd name="connsiteX3" fmla="*/ 154654 w 154654"/>
                <a:gd name="connsiteY3" fmla="*/ 887715 h 86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866063">
                  <a:moveTo>
                    <a:pt x="160840" y="241260"/>
                  </a:moveTo>
                  <a:lnTo>
                    <a:pt x="0" y="0"/>
                  </a:lnTo>
                  <a:lnTo>
                    <a:pt x="0" y="757805"/>
                  </a:lnTo>
                  <a:lnTo>
                    <a:pt x="154654" y="887715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9" name="任意多边形: 形状 368">
              <a:extLst>
                <a:ext uri="{FF2B5EF4-FFF2-40B4-BE49-F238E27FC236}">
                  <a16:creationId xmlns:a16="http://schemas.microsoft.com/office/drawing/2014/main" id="{F11BC485-209B-4466-81A2-851360520277}"/>
                </a:ext>
              </a:extLst>
            </p:cNvPr>
            <p:cNvSpPr/>
            <p:nvPr/>
          </p:nvSpPr>
          <p:spPr>
            <a:xfrm flipH="1">
              <a:off x="9615461" y="5914610"/>
              <a:ext cx="618617" cy="309308"/>
            </a:xfrm>
            <a:custGeom>
              <a:avLst/>
              <a:gdLst>
                <a:gd name="connsiteX0" fmla="*/ 210330 w 618616"/>
                <a:gd name="connsiteY0" fmla="*/ 0 h 309308"/>
                <a:gd name="connsiteX1" fmla="*/ 0 w 618616"/>
                <a:gd name="connsiteY1" fmla="*/ 287657 h 309308"/>
                <a:gd name="connsiteX2" fmla="*/ 637175 w 618616"/>
                <a:gd name="connsiteY2" fmla="*/ 321681 h 309308"/>
                <a:gd name="connsiteX3" fmla="*/ 429939 w 618616"/>
                <a:gd name="connsiteY3" fmla="*/ 15465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6" h="309308">
                  <a:moveTo>
                    <a:pt x="210330" y="0"/>
                  </a:moveTo>
                  <a:lnTo>
                    <a:pt x="0" y="287657"/>
                  </a:lnTo>
                  <a:lnTo>
                    <a:pt x="637175" y="321681"/>
                  </a:lnTo>
                  <a:lnTo>
                    <a:pt x="429939" y="15465"/>
                  </a:lnTo>
                  <a:close/>
                </a:path>
              </a:pathLst>
            </a:custGeom>
            <a:solidFill>
              <a:srgbClr val="004A5B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AAF6009E-18E4-4D25-8F58-234ECD76FAB8}"/>
                </a:ext>
              </a:extLst>
            </p:cNvPr>
            <p:cNvSpPr/>
            <p:nvPr/>
          </p:nvSpPr>
          <p:spPr>
            <a:xfrm flipH="1">
              <a:off x="9915490" y="6097102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869C976D-1553-40ED-9D69-313668E992BD}"/>
                </a:ext>
              </a:extLst>
            </p:cNvPr>
            <p:cNvSpPr/>
            <p:nvPr/>
          </p:nvSpPr>
          <p:spPr>
            <a:xfrm flipH="1">
              <a:off x="10023748" y="6112567"/>
              <a:ext cx="30931" cy="247447"/>
            </a:xfrm>
            <a:custGeom>
              <a:avLst/>
              <a:gdLst>
                <a:gd name="connsiteX0" fmla="*/ 0 w 30930"/>
                <a:gd name="connsiteY0" fmla="*/ 0 h 247446"/>
                <a:gd name="connsiteX1" fmla="*/ 37117 w 30930"/>
                <a:gd name="connsiteY1" fmla="*/ 0 h 247446"/>
                <a:gd name="connsiteX2" fmla="*/ 37117 w 30930"/>
                <a:gd name="connsiteY2" fmla="*/ 262912 h 247446"/>
                <a:gd name="connsiteX3" fmla="*/ 0 w 3093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247446">
                  <a:moveTo>
                    <a:pt x="0" y="0"/>
                  </a:moveTo>
                  <a:lnTo>
                    <a:pt x="37117" y="0"/>
                  </a:lnTo>
                  <a:lnTo>
                    <a:pt x="37117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2" name="任意多边形: 形状 371">
              <a:extLst>
                <a:ext uri="{FF2B5EF4-FFF2-40B4-BE49-F238E27FC236}">
                  <a16:creationId xmlns:a16="http://schemas.microsoft.com/office/drawing/2014/main" id="{D1F644B9-9901-42B0-9F59-F995FC3C9590}"/>
                </a:ext>
              </a:extLst>
            </p:cNvPr>
            <p:cNvSpPr/>
            <p:nvPr/>
          </p:nvSpPr>
          <p:spPr>
            <a:xfrm flipH="1">
              <a:off x="10116541" y="6162056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3" name="任意多边形: 形状 372">
              <a:extLst>
                <a:ext uri="{FF2B5EF4-FFF2-40B4-BE49-F238E27FC236}">
                  <a16:creationId xmlns:a16="http://schemas.microsoft.com/office/drawing/2014/main" id="{5F26872E-09BB-471B-AD1D-BF16EA2D1A01}"/>
                </a:ext>
              </a:extLst>
            </p:cNvPr>
            <p:cNvSpPr/>
            <p:nvPr/>
          </p:nvSpPr>
          <p:spPr>
            <a:xfrm flipH="1">
              <a:off x="10193868" y="6177522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4" name="任意多边形: 形状 373">
              <a:extLst>
                <a:ext uri="{FF2B5EF4-FFF2-40B4-BE49-F238E27FC236}">
                  <a16:creationId xmlns:a16="http://schemas.microsoft.com/office/drawing/2014/main" id="{BBC5C5DB-7524-47F2-A14A-27B97E22545B}"/>
                </a:ext>
              </a:extLst>
            </p:cNvPr>
            <p:cNvSpPr/>
            <p:nvPr/>
          </p:nvSpPr>
          <p:spPr>
            <a:xfrm flipH="1">
              <a:off x="9615461" y="6196080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5" name="任意多边形: 形状 374">
              <a:extLst>
                <a:ext uri="{FF2B5EF4-FFF2-40B4-BE49-F238E27FC236}">
                  <a16:creationId xmlns:a16="http://schemas.microsoft.com/office/drawing/2014/main" id="{86FE27EA-7CA8-43B4-B2E3-6839EDD03F6C}"/>
                </a:ext>
              </a:extLst>
            </p:cNvPr>
            <p:cNvSpPr/>
            <p:nvPr/>
          </p:nvSpPr>
          <p:spPr>
            <a:xfrm flipH="1">
              <a:off x="9689695" y="6137312"/>
              <a:ext cx="30931" cy="247447"/>
            </a:xfrm>
            <a:custGeom>
              <a:avLst/>
              <a:gdLst>
                <a:gd name="connsiteX0" fmla="*/ 0 w 0"/>
                <a:gd name="connsiteY0" fmla="*/ 0 h 247446"/>
                <a:gd name="connsiteX1" fmla="*/ 24745 w 0"/>
                <a:gd name="connsiteY1" fmla="*/ 0 h 247446"/>
                <a:gd name="connsiteX2" fmla="*/ 24745 w 0"/>
                <a:gd name="connsiteY2" fmla="*/ 262912 h 247446"/>
                <a:gd name="connsiteX3" fmla="*/ 0 w 0"/>
                <a:gd name="connsiteY3" fmla="*/ 262912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47446">
                  <a:moveTo>
                    <a:pt x="0" y="0"/>
                  </a:moveTo>
                  <a:lnTo>
                    <a:pt x="24745" y="0"/>
                  </a:lnTo>
                  <a:lnTo>
                    <a:pt x="24745" y="262912"/>
                  </a:lnTo>
                  <a:lnTo>
                    <a:pt x="0" y="262912"/>
                  </a:lnTo>
                  <a:close/>
                </a:path>
              </a:pathLst>
            </a:custGeom>
            <a:solidFill>
              <a:srgbClr val="D8CEF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6" name="任意多边形: 形状 375">
              <a:extLst>
                <a:ext uri="{FF2B5EF4-FFF2-40B4-BE49-F238E27FC236}">
                  <a16:creationId xmlns:a16="http://schemas.microsoft.com/office/drawing/2014/main" id="{AA7E3B73-EBA8-40F3-BBA0-C9AF2CED4A99}"/>
                </a:ext>
              </a:extLst>
            </p:cNvPr>
            <p:cNvSpPr/>
            <p:nvPr/>
          </p:nvSpPr>
          <p:spPr>
            <a:xfrm flipH="1">
              <a:off x="9763930" y="5366904"/>
              <a:ext cx="494893" cy="804202"/>
            </a:xfrm>
            <a:custGeom>
              <a:avLst/>
              <a:gdLst>
                <a:gd name="connsiteX0" fmla="*/ 0 w 494893"/>
                <a:gd name="connsiteY0" fmla="*/ 207466 h 804201"/>
                <a:gd name="connsiteX1" fmla="*/ 21652 w 494893"/>
                <a:gd name="connsiteY1" fmla="*/ 832269 h 804201"/>
                <a:gd name="connsiteX2" fmla="*/ 275284 w 494893"/>
                <a:gd name="connsiteY2" fmla="*/ 758035 h 804201"/>
                <a:gd name="connsiteX3" fmla="*/ 497986 w 494893"/>
                <a:gd name="connsiteY3" fmla="*/ 758035 h 804201"/>
                <a:gd name="connsiteX4" fmla="*/ 497986 w 494893"/>
                <a:gd name="connsiteY4" fmla="*/ 230 h 804201"/>
                <a:gd name="connsiteX5" fmla="*/ 0 w 494893"/>
                <a:gd name="connsiteY5" fmla="*/ 207466 h 804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94893" h="804201">
                  <a:moveTo>
                    <a:pt x="0" y="207466"/>
                  </a:moveTo>
                  <a:lnTo>
                    <a:pt x="21652" y="832269"/>
                  </a:lnTo>
                  <a:cubicBezTo>
                    <a:pt x="21652" y="832269"/>
                    <a:pt x="201050" y="773501"/>
                    <a:pt x="275284" y="758035"/>
                  </a:cubicBezTo>
                  <a:cubicBezTo>
                    <a:pt x="349519" y="739477"/>
                    <a:pt x="497986" y="758035"/>
                    <a:pt x="497986" y="758035"/>
                  </a:cubicBezTo>
                  <a:lnTo>
                    <a:pt x="497986" y="230"/>
                  </a:lnTo>
                  <a:cubicBezTo>
                    <a:pt x="501079" y="230"/>
                    <a:pt x="179399" y="-15235"/>
                    <a:pt x="0" y="207466"/>
                  </a:cubicBez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7" name="任意多边形: 形状 376">
              <a:extLst>
                <a:ext uri="{FF2B5EF4-FFF2-40B4-BE49-F238E27FC236}">
                  <a16:creationId xmlns:a16="http://schemas.microsoft.com/office/drawing/2014/main" id="{6C855A49-C5B3-45AF-9EAE-57F938C97C5B}"/>
                </a:ext>
              </a:extLst>
            </p:cNvPr>
            <p:cNvSpPr/>
            <p:nvPr/>
          </p:nvSpPr>
          <p:spPr>
            <a:xfrm flipH="1">
              <a:off x="9770116" y="5357855"/>
              <a:ext cx="494893" cy="835132"/>
            </a:xfrm>
            <a:custGeom>
              <a:avLst/>
              <a:gdLst>
                <a:gd name="connsiteX0" fmla="*/ 24745 w 494893"/>
                <a:gd name="connsiteY0" fmla="*/ 850598 h 835132"/>
                <a:gd name="connsiteX1" fmla="*/ 0 w 494893"/>
                <a:gd name="connsiteY1" fmla="*/ 213423 h 835132"/>
                <a:gd name="connsiteX2" fmla="*/ 0 w 494893"/>
                <a:gd name="connsiteY2" fmla="*/ 210330 h 835132"/>
                <a:gd name="connsiteX3" fmla="*/ 488707 w 494893"/>
                <a:gd name="connsiteY3" fmla="*/ 0 h 835132"/>
                <a:gd name="connsiteX4" fmla="*/ 504173 w 494893"/>
                <a:gd name="connsiteY4" fmla="*/ 0 h 835132"/>
                <a:gd name="connsiteX5" fmla="*/ 510359 w 494893"/>
                <a:gd name="connsiteY5" fmla="*/ 0 h 835132"/>
                <a:gd name="connsiteX6" fmla="*/ 510359 w 494893"/>
                <a:gd name="connsiteY6" fmla="*/ 770178 h 835132"/>
                <a:gd name="connsiteX7" fmla="*/ 504173 w 494893"/>
                <a:gd name="connsiteY7" fmla="*/ 770178 h 835132"/>
                <a:gd name="connsiteX8" fmla="*/ 371170 w 494893"/>
                <a:gd name="connsiteY8" fmla="*/ 763991 h 835132"/>
                <a:gd name="connsiteX9" fmla="*/ 281471 w 494893"/>
                <a:gd name="connsiteY9" fmla="*/ 770178 h 835132"/>
                <a:gd name="connsiteX10" fmla="*/ 27838 w 494893"/>
                <a:gd name="connsiteY10" fmla="*/ 844412 h 835132"/>
                <a:gd name="connsiteX11" fmla="*/ 24745 w 494893"/>
                <a:gd name="connsiteY11" fmla="*/ 850598 h 835132"/>
                <a:gd name="connsiteX12" fmla="*/ 12372 w 494893"/>
                <a:gd name="connsiteY12" fmla="*/ 219609 h 835132"/>
                <a:gd name="connsiteX13" fmla="*/ 34024 w 494893"/>
                <a:gd name="connsiteY13" fmla="*/ 835132 h 835132"/>
                <a:gd name="connsiteX14" fmla="*/ 281471 w 494893"/>
                <a:gd name="connsiteY14" fmla="*/ 763991 h 835132"/>
                <a:gd name="connsiteX15" fmla="*/ 374263 w 494893"/>
                <a:gd name="connsiteY15" fmla="*/ 754712 h 835132"/>
                <a:gd name="connsiteX16" fmla="*/ 501080 w 494893"/>
                <a:gd name="connsiteY16" fmla="*/ 760898 h 835132"/>
                <a:gd name="connsiteX17" fmla="*/ 501080 w 494893"/>
                <a:gd name="connsiteY17" fmla="*/ 15465 h 835132"/>
                <a:gd name="connsiteX18" fmla="*/ 491800 w 494893"/>
                <a:gd name="connsiteY18" fmla="*/ 15465 h 835132"/>
                <a:gd name="connsiteX19" fmla="*/ 12372 w 494893"/>
                <a:gd name="connsiteY19" fmla="*/ 219609 h 83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94893" h="835132">
                  <a:moveTo>
                    <a:pt x="24745" y="850598"/>
                  </a:moveTo>
                  <a:lnTo>
                    <a:pt x="0" y="213423"/>
                  </a:lnTo>
                  <a:lnTo>
                    <a:pt x="0" y="210330"/>
                  </a:lnTo>
                  <a:cubicBezTo>
                    <a:pt x="154654" y="15465"/>
                    <a:pt x="411380" y="0"/>
                    <a:pt x="488707" y="0"/>
                  </a:cubicBezTo>
                  <a:cubicBezTo>
                    <a:pt x="497987" y="0"/>
                    <a:pt x="504173" y="0"/>
                    <a:pt x="504173" y="0"/>
                  </a:cubicBezTo>
                  <a:lnTo>
                    <a:pt x="510359" y="0"/>
                  </a:lnTo>
                  <a:lnTo>
                    <a:pt x="510359" y="770178"/>
                  </a:lnTo>
                  <a:lnTo>
                    <a:pt x="504173" y="770178"/>
                  </a:lnTo>
                  <a:cubicBezTo>
                    <a:pt x="504173" y="770178"/>
                    <a:pt x="436125" y="763991"/>
                    <a:pt x="371170" y="763991"/>
                  </a:cubicBezTo>
                  <a:cubicBezTo>
                    <a:pt x="334053" y="763991"/>
                    <a:pt x="303122" y="767085"/>
                    <a:pt x="281471" y="770178"/>
                  </a:cubicBezTo>
                  <a:cubicBezTo>
                    <a:pt x="207237" y="785643"/>
                    <a:pt x="30931" y="844412"/>
                    <a:pt x="27838" y="844412"/>
                  </a:cubicBezTo>
                  <a:lnTo>
                    <a:pt x="24745" y="850598"/>
                  </a:lnTo>
                  <a:close/>
                  <a:moveTo>
                    <a:pt x="12372" y="219609"/>
                  </a:moveTo>
                  <a:lnTo>
                    <a:pt x="34024" y="835132"/>
                  </a:lnTo>
                  <a:cubicBezTo>
                    <a:pt x="68048" y="822760"/>
                    <a:pt x="213423" y="776364"/>
                    <a:pt x="281471" y="763991"/>
                  </a:cubicBezTo>
                  <a:cubicBezTo>
                    <a:pt x="303122" y="757805"/>
                    <a:pt x="334053" y="754712"/>
                    <a:pt x="374263" y="754712"/>
                  </a:cubicBezTo>
                  <a:cubicBezTo>
                    <a:pt x="426845" y="754712"/>
                    <a:pt x="482521" y="760898"/>
                    <a:pt x="501080" y="760898"/>
                  </a:cubicBezTo>
                  <a:lnTo>
                    <a:pt x="501080" y="15465"/>
                  </a:lnTo>
                  <a:cubicBezTo>
                    <a:pt x="497987" y="15465"/>
                    <a:pt x="494893" y="15465"/>
                    <a:pt x="491800" y="15465"/>
                  </a:cubicBezTo>
                  <a:cubicBezTo>
                    <a:pt x="417566" y="15465"/>
                    <a:pt x="163933" y="30931"/>
                    <a:pt x="12372" y="219609"/>
                  </a:cubicBezTo>
                  <a:close/>
                </a:path>
              </a:pathLst>
            </a:custGeom>
            <a:solidFill>
              <a:srgbClr val="5BBFC4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8" name="任意多边形: 形状 377">
              <a:extLst>
                <a:ext uri="{FF2B5EF4-FFF2-40B4-BE49-F238E27FC236}">
                  <a16:creationId xmlns:a16="http://schemas.microsoft.com/office/drawing/2014/main" id="{9CE7E591-4B81-451E-A031-207B912C58FC}"/>
                </a:ext>
              </a:extLst>
            </p:cNvPr>
            <p:cNvSpPr/>
            <p:nvPr/>
          </p:nvSpPr>
          <p:spPr>
            <a:xfrm flipH="1">
              <a:off x="9603090" y="5367134"/>
              <a:ext cx="154654" cy="866063"/>
            </a:xfrm>
            <a:custGeom>
              <a:avLst/>
              <a:gdLst>
                <a:gd name="connsiteX0" fmla="*/ 160840 w 154654"/>
                <a:gd name="connsiteY0" fmla="*/ 241260 h 866063"/>
                <a:gd name="connsiteX1" fmla="*/ 0 w 154654"/>
                <a:gd name="connsiteY1" fmla="*/ 0 h 866063"/>
                <a:gd name="connsiteX2" fmla="*/ 0 w 154654"/>
                <a:gd name="connsiteY2" fmla="*/ 757805 h 866063"/>
                <a:gd name="connsiteX3" fmla="*/ 154654 w 154654"/>
                <a:gd name="connsiteY3" fmla="*/ 890808 h 866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866063">
                  <a:moveTo>
                    <a:pt x="160840" y="241260"/>
                  </a:moveTo>
                  <a:lnTo>
                    <a:pt x="0" y="0"/>
                  </a:lnTo>
                  <a:lnTo>
                    <a:pt x="0" y="757805"/>
                  </a:lnTo>
                  <a:lnTo>
                    <a:pt x="154654" y="890808"/>
                  </a:lnTo>
                  <a:close/>
                </a:path>
              </a:pathLst>
            </a:custGeom>
            <a:solidFill>
              <a:srgbClr val="007C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00A1814B-C2D7-4FD6-A5D4-5AC3963F115C}"/>
                </a:ext>
              </a:extLst>
            </p:cNvPr>
            <p:cNvSpPr/>
            <p:nvPr/>
          </p:nvSpPr>
          <p:spPr>
            <a:xfrm flipH="1">
              <a:off x="8823632" y="3177231"/>
              <a:ext cx="340239" cy="927925"/>
            </a:xfrm>
            <a:custGeom>
              <a:avLst/>
              <a:gdLst>
                <a:gd name="connsiteX0" fmla="*/ 368077 w 340239"/>
                <a:gd name="connsiteY0" fmla="*/ 931018 h 927924"/>
                <a:gd name="connsiteX1" fmla="*/ 0 w 340239"/>
                <a:gd name="connsiteY1" fmla="*/ 931018 h 927924"/>
                <a:gd name="connsiteX2" fmla="*/ 0 w 340239"/>
                <a:gd name="connsiteY2" fmla="*/ 0 h 927924"/>
                <a:gd name="connsiteX3" fmla="*/ 368077 w 340239"/>
                <a:gd name="connsiteY3" fmla="*/ 157747 h 92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0239" h="927924">
                  <a:moveTo>
                    <a:pt x="368077" y="931018"/>
                  </a:moveTo>
                  <a:lnTo>
                    <a:pt x="0" y="931018"/>
                  </a:lnTo>
                  <a:lnTo>
                    <a:pt x="0" y="0"/>
                  </a:lnTo>
                  <a:lnTo>
                    <a:pt x="368077" y="157747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692CF7C7-A12B-4D1B-9058-16F34B0AB582}"/>
                </a:ext>
              </a:extLst>
            </p:cNvPr>
            <p:cNvSpPr/>
            <p:nvPr/>
          </p:nvSpPr>
          <p:spPr>
            <a:xfrm flipH="1">
              <a:off x="10555759" y="3996898"/>
              <a:ext cx="247447" cy="61862"/>
            </a:xfrm>
            <a:custGeom>
              <a:avLst/>
              <a:gdLst>
                <a:gd name="connsiteX0" fmla="*/ 0 w 247446"/>
                <a:gd name="connsiteY0" fmla="*/ 0 h 61861"/>
                <a:gd name="connsiteX1" fmla="*/ 262912 w 247446"/>
                <a:gd name="connsiteY1" fmla="*/ 0 h 61861"/>
                <a:gd name="connsiteX2" fmla="*/ 262912 w 247446"/>
                <a:gd name="connsiteY2" fmla="*/ 86606 h 61861"/>
                <a:gd name="connsiteX3" fmla="*/ 0 w 247446"/>
                <a:gd name="connsiteY3" fmla="*/ 8660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0"/>
                  </a:moveTo>
                  <a:lnTo>
                    <a:pt x="262912" y="0"/>
                  </a:lnTo>
                  <a:lnTo>
                    <a:pt x="262912" y="86606"/>
                  </a:lnTo>
                  <a:lnTo>
                    <a:pt x="0" y="86606"/>
                  </a:lnTo>
                  <a:close/>
                </a:path>
              </a:pathLst>
            </a:custGeom>
            <a:solidFill>
              <a:srgbClr val="00B3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B0E772FC-6A79-4F6F-8A4F-83EABEC341B5}"/>
                </a:ext>
              </a:extLst>
            </p:cNvPr>
            <p:cNvSpPr/>
            <p:nvPr/>
          </p:nvSpPr>
          <p:spPr>
            <a:xfrm flipH="1">
              <a:off x="8984473" y="3768010"/>
              <a:ext cx="309308" cy="2319812"/>
            </a:xfrm>
            <a:custGeom>
              <a:avLst/>
              <a:gdLst>
                <a:gd name="connsiteX0" fmla="*/ 0 w 309308"/>
                <a:gd name="connsiteY0" fmla="*/ 0 h 2319812"/>
                <a:gd name="connsiteX1" fmla="*/ 337146 w 309308"/>
                <a:gd name="connsiteY1" fmla="*/ 0 h 2319812"/>
                <a:gd name="connsiteX2" fmla="*/ 337146 w 309308"/>
                <a:gd name="connsiteY2" fmla="*/ 2347650 h 2319812"/>
                <a:gd name="connsiteX3" fmla="*/ 0 w 309308"/>
                <a:gd name="connsiteY3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8" h="2319812">
                  <a:moveTo>
                    <a:pt x="0" y="0"/>
                  </a:moveTo>
                  <a:lnTo>
                    <a:pt x="337146" y="0"/>
                  </a:lnTo>
                  <a:lnTo>
                    <a:pt x="337146" y="2347650"/>
                  </a:lnTo>
                  <a:lnTo>
                    <a:pt x="0" y="2347650"/>
                  </a:lnTo>
                  <a:close/>
                </a:path>
              </a:pathLst>
            </a:custGeom>
            <a:solidFill>
              <a:srgbClr val="E5D9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5A9AE7D1-BBBD-4F12-9923-F9D714A47724}"/>
                </a:ext>
              </a:extLst>
            </p:cNvPr>
            <p:cNvSpPr/>
            <p:nvPr/>
          </p:nvSpPr>
          <p:spPr>
            <a:xfrm flipH="1">
              <a:off x="9114382" y="3721614"/>
              <a:ext cx="185585" cy="2319812"/>
            </a:xfrm>
            <a:custGeom>
              <a:avLst/>
              <a:gdLst>
                <a:gd name="connsiteX0" fmla="*/ 188678 w 185585"/>
                <a:gd name="connsiteY0" fmla="*/ 2347650 h 2319812"/>
                <a:gd name="connsiteX1" fmla="*/ 0 w 185585"/>
                <a:gd name="connsiteY1" fmla="*/ 2347650 h 2319812"/>
                <a:gd name="connsiteX2" fmla="*/ 0 w 185585"/>
                <a:gd name="connsiteY2" fmla="*/ 0 h 2319812"/>
                <a:gd name="connsiteX3" fmla="*/ 80420 w 185585"/>
                <a:gd name="connsiteY3" fmla="*/ 550569 h 2319812"/>
                <a:gd name="connsiteX4" fmla="*/ 188678 w 185585"/>
                <a:gd name="connsiteY4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85" h="2319812">
                  <a:moveTo>
                    <a:pt x="188678" y="2347650"/>
                  </a:moveTo>
                  <a:lnTo>
                    <a:pt x="0" y="2347650"/>
                  </a:lnTo>
                  <a:lnTo>
                    <a:pt x="0" y="0"/>
                  </a:lnTo>
                  <a:cubicBezTo>
                    <a:pt x="0" y="0"/>
                    <a:pt x="46396" y="0"/>
                    <a:pt x="80420" y="550569"/>
                  </a:cubicBezTo>
                  <a:cubicBezTo>
                    <a:pt x="108258" y="1017624"/>
                    <a:pt x="170120" y="2047621"/>
                    <a:pt x="188678" y="2347650"/>
                  </a:cubicBezTo>
                  <a:close/>
                </a:path>
              </a:pathLst>
            </a:custGeom>
            <a:solidFill>
              <a:srgbClr val="B6AE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3" name="任意多边形: 形状 382">
              <a:extLst>
                <a:ext uri="{FF2B5EF4-FFF2-40B4-BE49-F238E27FC236}">
                  <a16:creationId xmlns:a16="http://schemas.microsoft.com/office/drawing/2014/main" id="{61B7A9E1-C168-45F2-B544-38DF586E2A6E}"/>
                </a:ext>
              </a:extLst>
            </p:cNvPr>
            <p:cNvSpPr/>
            <p:nvPr/>
          </p:nvSpPr>
          <p:spPr>
            <a:xfrm flipH="1">
              <a:off x="8987566" y="4114435"/>
              <a:ext cx="309308" cy="123723"/>
            </a:xfrm>
            <a:custGeom>
              <a:avLst/>
              <a:gdLst>
                <a:gd name="connsiteX0" fmla="*/ 334053 w 309308"/>
                <a:gd name="connsiteY0" fmla="*/ 105165 h 123723"/>
                <a:gd name="connsiteX1" fmla="*/ 68048 w 309308"/>
                <a:gd name="connsiteY1" fmla="*/ 105165 h 123723"/>
                <a:gd name="connsiteX2" fmla="*/ 0 w 309308"/>
                <a:gd name="connsiteY2" fmla="*/ 142282 h 123723"/>
                <a:gd name="connsiteX3" fmla="*/ 0 w 309308"/>
                <a:gd name="connsiteY3" fmla="*/ 40210 h 123723"/>
                <a:gd name="connsiteX4" fmla="*/ 64955 w 309308"/>
                <a:gd name="connsiteY4" fmla="*/ 0 h 123723"/>
                <a:gd name="connsiteX5" fmla="*/ 334053 w 309308"/>
                <a:gd name="connsiteY5" fmla="*/ 0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123723">
                  <a:moveTo>
                    <a:pt x="334053" y="105165"/>
                  </a:moveTo>
                  <a:lnTo>
                    <a:pt x="68048" y="105165"/>
                  </a:lnTo>
                  <a:lnTo>
                    <a:pt x="0" y="142282"/>
                  </a:lnTo>
                  <a:lnTo>
                    <a:pt x="0" y="40210"/>
                  </a:lnTo>
                  <a:lnTo>
                    <a:pt x="64955" y="0"/>
                  </a:lnTo>
                  <a:lnTo>
                    <a:pt x="334053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4" name="任意多边形: 形状 383">
              <a:extLst>
                <a:ext uri="{FF2B5EF4-FFF2-40B4-BE49-F238E27FC236}">
                  <a16:creationId xmlns:a16="http://schemas.microsoft.com/office/drawing/2014/main" id="{6BE6497D-69EC-45DE-AA92-F87486BA0D65}"/>
                </a:ext>
              </a:extLst>
            </p:cNvPr>
            <p:cNvSpPr/>
            <p:nvPr/>
          </p:nvSpPr>
          <p:spPr>
            <a:xfrm flipH="1">
              <a:off x="8984473" y="4250531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71141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64955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71141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64955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5" name="任意多边形: 形状 384">
              <a:extLst>
                <a:ext uri="{FF2B5EF4-FFF2-40B4-BE49-F238E27FC236}">
                  <a16:creationId xmlns:a16="http://schemas.microsoft.com/office/drawing/2014/main" id="{956D670A-37BF-459C-8211-07E9B5429ACC}"/>
                </a:ext>
              </a:extLst>
            </p:cNvPr>
            <p:cNvSpPr/>
            <p:nvPr/>
          </p:nvSpPr>
          <p:spPr>
            <a:xfrm flipH="1">
              <a:off x="8984473" y="4358789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77327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74234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77327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74234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6" name="任意多边形: 形状 385">
              <a:extLst>
                <a:ext uri="{FF2B5EF4-FFF2-40B4-BE49-F238E27FC236}">
                  <a16:creationId xmlns:a16="http://schemas.microsoft.com/office/drawing/2014/main" id="{41691D49-132C-49A3-81CC-EA489CDE69E3}"/>
                </a:ext>
              </a:extLst>
            </p:cNvPr>
            <p:cNvSpPr/>
            <p:nvPr/>
          </p:nvSpPr>
          <p:spPr>
            <a:xfrm flipH="1">
              <a:off x="8984473" y="4467047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86606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80420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86606" y="58769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80420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7" name="任意多边形: 形状 386">
              <a:extLst>
                <a:ext uri="{FF2B5EF4-FFF2-40B4-BE49-F238E27FC236}">
                  <a16:creationId xmlns:a16="http://schemas.microsoft.com/office/drawing/2014/main" id="{76877894-34C6-4640-A4FD-18CBA7EC763F}"/>
                </a:ext>
              </a:extLst>
            </p:cNvPr>
            <p:cNvSpPr/>
            <p:nvPr/>
          </p:nvSpPr>
          <p:spPr>
            <a:xfrm flipH="1">
              <a:off x="8984473" y="4575305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92793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89699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92793" y="58769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89699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8" name="任意多边形: 形状 387">
              <a:extLst>
                <a:ext uri="{FF2B5EF4-FFF2-40B4-BE49-F238E27FC236}">
                  <a16:creationId xmlns:a16="http://schemas.microsoft.com/office/drawing/2014/main" id="{82623F09-825C-4EF2-AA94-5AE73DDA5747}"/>
                </a:ext>
              </a:extLst>
            </p:cNvPr>
            <p:cNvSpPr/>
            <p:nvPr/>
          </p:nvSpPr>
          <p:spPr>
            <a:xfrm flipH="1">
              <a:off x="8984473" y="4683563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98979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95886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98979" y="58769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95886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9" name="任意多边形: 形状 388">
              <a:extLst>
                <a:ext uri="{FF2B5EF4-FFF2-40B4-BE49-F238E27FC236}">
                  <a16:creationId xmlns:a16="http://schemas.microsoft.com/office/drawing/2014/main" id="{11F52891-3D06-4EA9-B8A1-025E647247A4}"/>
                </a:ext>
              </a:extLst>
            </p:cNvPr>
            <p:cNvSpPr/>
            <p:nvPr/>
          </p:nvSpPr>
          <p:spPr>
            <a:xfrm flipH="1">
              <a:off x="8984473" y="4794913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08258 w 309308"/>
                <a:gd name="connsiteY1" fmla="*/ 55675 h 92792"/>
                <a:gd name="connsiteX2" fmla="*/ 0 w 309308"/>
                <a:gd name="connsiteY2" fmla="*/ 92792 h 92792"/>
                <a:gd name="connsiteX3" fmla="*/ 0 w 309308"/>
                <a:gd name="connsiteY3" fmla="*/ 37117 h 92792"/>
                <a:gd name="connsiteX4" fmla="*/ 105165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08258" y="55675"/>
                  </a:lnTo>
                  <a:lnTo>
                    <a:pt x="0" y="92792"/>
                  </a:lnTo>
                  <a:lnTo>
                    <a:pt x="0" y="37117"/>
                  </a:lnTo>
                  <a:lnTo>
                    <a:pt x="105165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0" name="任意多边形: 形状 389">
              <a:extLst>
                <a:ext uri="{FF2B5EF4-FFF2-40B4-BE49-F238E27FC236}">
                  <a16:creationId xmlns:a16="http://schemas.microsoft.com/office/drawing/2014/main" id="{D2084775-39D0-407A-A786-6A7D28DCD146}"/>
                </a:ext>
              </a:extLst>
            </p:cNvPr>
            <p:cNvSpPr/>
            <p:nvPr/>
          </p:nvSpPr>
          <p:spPr>
            <a:xfrm flipH="1">
              <a:off x="8984473" y="4903171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14444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11351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14444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11351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1" name="任意多边形: 形状 390">
              <a:extLst>
                <a:ext uri="{FF2B5EF4-FFF2-40B4-BE49-F238E27FC236}">
                  <a16:creationId xmlns:a16="http://schemas.microsoft.com/office/drawing/2014/main" id="{A74168A3-55F8-4DC0-8B93-113A2DCEB5A5}"/>
                </a:ext>
              </a:extLst>
            </p:cNvPr>
            <p:cNvSpPr/>
            <p:nvPr/>
          </p:nvSpPr>
          <p:spPr>
            <a:xfrm flipH="1">
              <a:off x="8984473" y="5011429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23723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20630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23723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20630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2" name="任意多边形: 形状 391">
              <a:extLst>
                <a:ext uri="{FF2B5EF4-FFF2-40B4-BE49-F238E27FC236}">
                  <a16:creationId xmlns:a16="http://schemas.microsoft.com/office/drawing/2014/main" id="{D60C3E1F-DE46-4ACC-821C-6BA2ED1E233F}"/>
                </a:ext>
              </a:extLst>
            </p:cNvPr>
            <p:cNvSpPr/>
            <p:nvPr/>
          </p:nvSpPr>
          <p:spPr>
            <a:xfrm flipH="1">
              <a:off x="8984473" y="5119687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129910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26817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129910" y="58769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26817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3" name="任意多边形: 形状 392">
              <a:extLst>
                <a:ext uri="{FF2B5EF4-FFF2-40B4-BE49-F238E27FC236}">
                  <a16:creationId xmlns:a16="http://schemas.microsoft.com/office/drawing/2014/main" id="{B85D2EF8-C389-40F7-9E28-7EDFF2C1553D}"/>
                </a:ext>
              </a:extLst>
            </p:cNvPr>
            <p:cNvSpPr/>
            <p:nvPr/>
          </p:nvSpPr>
          <p:spPr>
            <a:xfrm flipH="1">
              <a:off x="8984473" y="5227945"/>
              <a:ext cx="309308" cy="92792"/>
            </a:xfrm>
            <a:custGeom>
              <a:avLst/>
              <a:gdLst>
                <a:gd name="connsiteX0" fmla="*/ 330960 w 309308"/>
                <a:gd name="connsiteY0" fmla="*/ 58768 h 92792"/>
                <a:gd name="connsiteX1" fmla="*/ 139189 w 309308"/>
                <a:gd name="connsiteY1" fmla="*/ 58768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36096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8"/>
                  </a:moveTo>
                  <a:lnTo>
                    <a:pt x="139189" y="58768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36096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4" name="任意多边形: 形状 393">
              <a:extLst>
                <a:ext uri="{FF2B5EF4-FFF2-40B4-BE49-F238E27FC236}">
                  <a16:creationId xmlns:a16="http://schemas.microsoft.com/office/drawing/2014/main" id="{0F2D06F4-BACA-4EAB-942B-DFB79C1FAB9B}"/>
                </a:ext>
              </a:extLst>
            </p:cNvPr>
            <p:cNvSpPr/>
            <p:nvPr/>
          </p:nvSpPr>
          <p:spPr>
            <a:xfrm flipH="1">
              <a:off x="8984473" y="5336203"/>
              <a:ext cx="309308" cy="92792"/>
            </a:xfrm>
            <a:custGeom>
              <a:avLst/>
              <a:gdLst>
                <a:gd name="connsiteX0" fmla="*/ 330960 w 309308"/>
                <a:gd name="connsiteY0" fmla="*/ 58768 h 92792"/>
                <a:gd name="connsiteX1" fmla="*/ 145375 w 309308"/>
                <a:gd name="connsiteY1" fmla="*/ 58768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42282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8"/>
                  </a:moveTo>
                  <a:lnTo>
                    <a:pt x="145375" y="58768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42282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5" name="任意多边形: 形状 394">
              <a:extLst>
                <a:ext uri="{FF2B5EF4-FFF2-40B4-BE49-F238E27FC236}">
                  <a16:creationId xmlns:a16="http://schemas.microsoft.com/office/drawing/2014/main" id="{BD652AF4-D4B0-4DEE-8BA9-345FA2E8A044}"/>
                </a:ext>
              </a:extLst>
            </p:cNvPr>
            <p:cNvSpPr/>
            <p:nvPr/>
          </p:nvSpPr>
          <p:spPr>
            <a:xfrm flipH="1">
              <a:off x="8984473" y="5444461"/>
              <a:ext cx="309308" cy="92792"/>
            </a:xfrm>
            <a:custGeom>
              <a:avLst/>
              <a:gdLst>
                <a:gd name="connsiteX0" fmla="*/ 330960 w 309308"/>
                <a:gd name="connsiteY0" fmla="*/ 58768 h 92792"/>
                <a:gd name="connsiteX1" fmla="*/ 154654 w 309308"/>
                <a:gd name="connsiteY1" fmla="*/ 58768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51561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8"/>
                  </a:moveTo>
                  <a:lnTo>
                    <a:pt x="154654" y="58768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51561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6" name="任意多边形: 形状 395">
              <a:extLst>
                <a:ext uri="{FF2B5EF4-FFF2-40B4-BE49-F238E27FC236}">
                  <a16:creationId xmlns:a16="http://schemas.microsoft.com/office/drawing/2014/main" id="{483C4BE5-F736-43F7-B12F-AE747D911883}"/>
                </a:ext>
              </a:extLst>
            </p:cNvPr>
            <p:cNvSpPr/>
            <p:nvPr/>
          </p:nvSpPr>
          <p:spPr>
            <a:xfrm flipH="1">
              <a:off x="8984473" y="5555812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60840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57747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60840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57747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7" name="任意多边形: 形状 396">
              <a:extLst>
                <a:ext uri="{FF2B5EF4-FFF2-40B4-BE49-F238E27FC236}">
                  <a16:creationId xmlns:a16="http://schemas.microsoft.com/office/drawing/2014/main" id="{EDFF069C-5B71-43D8-8080-8446265B5525}"/>
                </a:ext>
              </a:extLst>
            </p:cNvPr>
            <p:cNvSpPr/>
            <p:nvPr/>
          </p:nvSpPr>
          <p:spPr>
            <a:xfrm flipH="1">
              <a:off x="8984473" y="5664070"/>
              <a:ext cx="309308" cy="92792"/>
            </a:xfrm>
            <a:custGeom>
              <a:avLst/>
              <a:gdLst>
                <a:gd name="connsiteX0" fmla="*/ 330960 w 309308"/>
                <a:gd name="connsiteY0" fmla="*/ 55675 h 92792"/>
                <a:gd name="connsiteX1" fmla="*/ 170120 w 309308"/>
                <a:gd name="connsiteY1" fmla="*/ 55675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67027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5675"/>
                  </a:moveTo>
                  <a:lnTo>
                    <a:pt x="170120" y="55675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67027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8" name="任意多边形: 形状 397">
              <a:extLst>
                <a:ext uri="{FF2B5EF4-FFF2-40B4-BE49-F238E27FC236}">
                  <a16:creationId xmlns:a16="http://schemas.microsoft.com/office/drawing/2014/main" id="{0EA7A52C-A847-496E-9DE4-953E30A3746C}"/>
                </a:ext>
              </a:extLst>
            </p:cNvPr>
            <p:cNvSpPr/>
            <p:nvPr/>
          </p:nvSpPr>
          <p:spPr>
            <a:xfrm flipH="1">
              <a:off x="8984473" y="5772328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176306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37117 h 92792"/>
                <a:gd name="connsiteX4" fmla="*/ 173213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176306" y="58769"/>
                  </a:lnTo>
                  <a:lnTo>
                    <a:pt x="0" y="95886"/>
                  </a:lnTo>
                  <a:lnTo>
                    <a:pt x="0" y="37117"/>
                  </a:lnTo>
                  <a:lnTo>
                    <a:pt x="173213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5C58AF2A-D2E8-4F5C-A7EC-E81B2C265024}"/>
                </a:ext>
              </a:extLst>
            </p:cNvPr>
            <p:cNvSpPr/>
            <p:nvPr/>
          </p:nvSpPr>
          <p:spPr>
            <a:xfrm flipH="1">
              <a:off x="8984473" y="5880586"/>
              <a:ext cx="309308" cy="92792"/>
            </a:xfrm>
            <a:custGeom>
              <a:avLst/>
              <a:gdLst>
                <a:gd name="connsiteX0" fmla="*/ 330960 w 309308"/>
                <a:gd name="connsiteY0" fmla="*/ 58769 h 92792"/>
                <a:gd name="connsiteX1" fmla="*/ 185585 w 309308"/>
                <a:gd name="connsiteY1" fmla="*/ 58769 h 92792"/>
                <a:gd name="connsiteX2" fmla="*/ 0 w 309308"/>
                <a:gd name="connsiteY2" fmla="*/ 95886 h 92792"/>
                <a:gd name="connsiteX3" fmla="*/ 0 w 309308"/>
                <a:gd name="connsiteY3" fmla="*/ 40210 h 92792"/>
                <a:gd name="connsiteX4" fmla="*/ 179399 w 309308"/>
                <a:gd name="connsiteY4" fmla="*/ 0 h 92792"/>
                <a:gd name="connsiteX5" fmla="*/ 33096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330960" y="58769"/>
                  </a:moveTo>
                  <a:lnTo>
                    <a:pt x="185585" y="58769"/>
                  </a:lnTo>
                  <a:lnTo>
                    <a:pt x="0" y="95886"/>
                  </a:lnTo>
                  <a:lnTo>
                    <a:pt x="0" y="40210"/>
                  </a:lnTo>
                  <a:lnTo>
                    <a:pt x="179399" y="0"/>
                  </a:lnTo>
                  <a:lnTo>
                    <a:pt x="33096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B78AE6B2-B354-4E0D-889C-46238B9B9352}"/>
                </a:ext>
              </a:extLst>
            </p:cNvPr>
            <p:cNvSpPr/>
            <p:nvPr/>
          </p:nvSpPr>
          <p:spPr>
            <a:xfrm flipH="1">
              <a:off x="8653513" y="3721614"/>
              <a:ext cx="309308" cy="2319812"/>
            </a:xfrm>
            <a:custGeom>
              <a:avLst/>
              <a:gdLst>
                <a:gd name="connsiteX0" fmla="*/ 0 w 309308"/>
                <a:gd name="connsiteY0" fmla="*/ 0 h 2319812"/>
                <a:gd name="connsiteX1" fmla="*/ 337146 w 309308"/>
                <a:gd name="connsiteY1" fmla="*/ 0 h 2319812"/>
                <a:gd name="connsiteX2" fmla="*/ 337146 w 309308"/>
                <a:gd name="connsiteY2" fmla="*/ 2347650 h 2319812"/>
                <a:gd name="connsiteX3" fmla="*/ 0 w 309308"/>
                <a:gd name="connsiteY3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8" h="2319812">
                  <a:moveTo>
                    <a:pt x="0" y="0"/>
                  </a:moveTo>
                  <a:lnTo>
                    <a:pt x="337146" y="0"/>
                  </a:lnTo>
                  <a:lnTo>
                    <a:pt x="337146" y="2347650"/>
                  </a:lnTo>
                  <a:lnTo>
                    <a:pt x="0" y="2347650"/>
                  </a:lnTo>
                  <a:close/>
                </a:path>
              </a:pathLst>
            </a:custGeom>
            <a:solidFill>
              <a:srgbClr val="E5D9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C5FF306C-B81E-4571-A41E-30EFEA17ACAA}"/>
                </a:ext>
              </a:extLst>
            </p:cNvPr>
            <p:cNvSpPr/>
            <p:nvPr/>
          </p:nvSpPr>
          <p:spPr>
            <a:xfrm flipH="1">
              <a:off x="8631861" y="3721614"/>
              <a:ext cx="185585" cy="2319812"/>
            </a:xfrm>
            <a:custGeom>
              <a:avLst/>
              <a:gdLst>
                <a:gd name="connsiteX0" fmla="*/ 0 w 185585"/>
                <a:gd name="connsiteY0" fmla="*/ 2347650 h 2319812"/>
                <a:gd name="connsiteX1" fmla="*/ 188678 w 185585"/>
                <a:gd name="connsiteY1" fmla="*/ 2347650 h 2319812"/>
                <a:gd name="connsiteX2" fmla="*/ 188678 w 185585"/>
                <a:gd name="connsiteY2" fmla="*/ 0 h 2319812"/>
                <a:gd name="connsiteX3" fmla="*/ 108258 w 185585"/>
                <a:gd name="connsiteY3" fmla="*/ 550569 h 2319812"/>
                <a:gd name="connsiteX4" fmla="*/ 0 w 185585"/>
                <a:gd name="connsiteY4" fmla="*/ 2347650 h 231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585" h="2319812">
                  <a:moveTo>
                    <a:pt x="0" y="2347650"/>
                  </a:moveTo>
                  <a:lnTo>
                    <a:pt x="188678" y="2347650"/>
                  </a:lnTo>
                  <a:lnTo>
                    <a:pt x="188678" y="0"/>
                  </a:lnTo>
                  <a:cubicBezTo>
                    <a:pt x="188678" y="0"/>
                    <a:pt x="142282" y="0"/>
                    <a:pt x="108258" y="550569"/>
                  </a:cubicBezTo>
                  <a:cubicBezTo>
                    <a:pt x="80420" y="1017624"/>
                    <a:pt x="18558" y="2047621"/>
                    <a:pt x="0" y="2347650"/>
                  </a:cubicBezTo>
                  <a:close/>
                </a:path>
              </a:pathLst>
            </a:custGeom>
            <a:solidFill>
              <a:srgbClr val="B6AE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2" name="任意多边形: 形状 401">
              <a:extLst>
                <a:ext uri="{FF2B5EF4-FFF2-40B4-BE49-F238E27FC236}">
                  <a16:creationId xmlns:a16="http://schemas.microsoft.com/office/drawing/2014/main" id="{87BF22D5-7EB3-489B-910A-09915398142E}"/>
                </a:ext>
              </a:extLst>
            </p:cNvPr>
            <p:cNvSpPr/>
            <p:nvPr/>
          </p:nvSpPr>
          <p:spPr>
            <a:xfrm flipH="1">
              <a:off x="8653513" y="4114435"/>
              <a:ext cx="309308" cy="123723"/>
            </a:xfrm>
            <a:custGeom>
              <a:avLst/>
              <a:gdLst>
                <a:gd name="connsiteX0" fmla="*/ 0 w 309308"/>
                <a:gd name="connsiteY0" fmla="*/ 105165 h 123723"/>
                <a:gd name="connsiteX1" fmla="*/ 262912 w 309308"/>
                <a:gd name="connsiteY1" fmla="*/ 105165 h 123723"/>
                <a:gd name="connsiteX2" fmla="*/ 334053 w 309308"/>
                <a:gd name="connsiteY2" fmla="*/ 142282 h 123723"/>
                <a:gd name="connsiteX3" fmla="*/ 334053 w 309308"/>
                <a:gd name="connsiteY3" fmla="*/ 40210 h 123723"/>
                <a:gd name="connsiteX4" fmla="*/ 266005 w 309308"/>
                <a:gd name="connsiteY4" fmla="*/ 0 h 123723"/>
                <a:gd name="connsiteX5" fmla="*/ 0 w 309308"/>
                <a:gd name="connsiteY5" fmla="*/ 0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123723">
                  <a:moveTo>
                    <a:pt x="0" y="105165"/>
                  </a:moveTo>
                  <a:lnTo>
                    <a:pt x="262912" y="105165"/>
                  </a:lnTo>
                  <a:lnTo>
                    <a:pt x="334053" y="142282"/>
                  </a:lnTo>
                  <a:lnTo>
                    <a:pt x="334053" y="40210"/>
                  </a:ln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3" name="任意多边形: 形状 402">
              <a:extLst>
                <a:ext uri="{FF2B5EF4-FFF2-40B4-BE49-F238E27FC236}">
                  <a16:creationId xmlns:a16="http://schemas.microsoft.com/office/drawing/2014/main" id="{B7C88D12-8DFD-4444-A651-1ED02B7684DC}"/>
                </a:ext>
              </a:extLst>
            </p:cNvPr>
            <p:cNvSpPr/>
            <p:nvPr/>
          </p:nvSpPr>
          <p:spPr>
            <a:xfrm flipH="1">
              <a:off x="8653513" y="4250531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59819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62912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59819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629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4" name="任意多边形: 形状 403">
              <a:extLst>
                <a:ext uri="{FF2B5EF4-FFF2-40B4-BE49-F238E27FC236}">
                  <a16:creationId xmlns:a16="http://schemas.microsoft.com/office/drawing/2014/main" id="{0CDBA2E1-9691-4F5D-9412-8FA4AA43E8F2}"/>
                </a:ext>
              </a:extLst>
            </p:cNvPr>
            <p:cNvSpPr/>
            <p:nvPr/>
          </p:nvSpPr>
          <p:spPr>
            <a:xfrm flipH="1">
              <a:off x="8653513" y="4358789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53633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56726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53633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567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5" name="任意多边形: 形状 404">
              <a:extLst>
                <a:ext uri="{FF2B5EF4-FFF2-40B4-BE49-F238E27FC236}">
                  <a16:creationId xmlns:a16="http://schemas.microsoft.com/office/drawing/2014/main" id="{E4160801-EB98-4906-936D-2EB760780703}"/>
                </a:ext>
              </a:extLst>
            </p:cNvPr>
            <p:cNvSpPr/>
            <p:nvPr/>
          </p:nvSpPr>
          <p:spPr>
            <a:xfrm flipH="1">
              <a:off x="8653513" y="4467047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244354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47447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244354" y="58769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4744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6" name="任意多边形: 形状 405">
              <a:extLst>
                <a:ext uri="{FF2B5EF4-FFF2-40B4-BE49-F238E27FC236}">
                  <a16:creationId xmlns:a16="http://schemas.microsoft.com/office/drawing/2014/main" id="{1B870A04-FA55-4B12-8756-16C4F71E5287}"/>
                </a:ext>
              </a:extLst>
            </p:cNvPr>
            <p:cNvSpPr/>
            <p:nvPr/>
          </p:nvSpPr>
          <p:spPr>
            <a:xfrm flipH="1">
              <a:off x="8653513" y="4575305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238167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24126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238167" y="58769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2412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7" name="任意多边形: 形状 406">
              <a:extLst>
                <a:ext uri="{FF2B5EF4-FFF2-40B4-BE49-F238E27FC236}">
                  <a16:creationId xmlns:a16="http://schemas.microsoft.com/office/drawing/2014/main" id="{27FE0880-F0A9-430C-A484-CB0E126C509C}"/>
                </a:ext>
              </a:extLst>
            </p:cNvPr>
            <p:cNvSpPr/>
            <p:nvPr/>
          </p:nvSpPr>
          <p:spPr>
            <a:xfrm flipH="1">
              <a:off x="8653513" y="4683563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228888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231981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228888" y="58769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23198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8" name="任意多边形: 形状 407">
              <a:extLst>
                <a:ext uri="{FF2B5EF4-FFF2-40B4-BE49-F238E27FC236}">
                  <a16:creationId xmlns:a16="http://schemas.microsoft.com/office/drawing/2014/main" id="{D176B887-FC0D-4661-8451-91ECA285ADA6}"/>
                </a:ext>
              </a:extLst>
            </p:cNvPr>
            <p:cNvSpPr/>
            <p:nvPr/>
          </p:nvSpPr>
          <p:spPr>
            <a:xfrm flipH="1">
              <a:off x="8653513" y="4794913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22702 w 309308"/>
                <a:gd name="connsiteY1" fmla="*/ 55675 h 92792"/>
                <a:gd name="connsiteX2" fmla="*/ 327867 w 309308"/>
                <a:gd name="connsiteY2" fmla="*/ 92792 h 92792"/>
                <a:gd name="connsiteX3" fmla="*/ 327867 w 309308"/>
                <a:gd name="connsiteY3" fmla="*/ 37117 h 92792"/>
                <a:gd name="connsiteX4" fmla="*/ 225795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22702" y="55675"/>
                  </a:lnTo>
                  <a:lnTo>
                    <a:pt x="327867" y="92792"/>
                  </a:lnTo>
                  <a:lnTo>
                    <a:pt x="327867" y="37117"/>
                  </a:lnTo>
                  <a:lnTo>
                    <a:pt x="2257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9" name="任意多边形: 形状 408">
              <a:extLst>
                <a:ext uri="{FF2B5EF4-FFF2-40B4-BE49-F238E27FC236}">
                  <a16:creationId xmlns:a16="http://schemas.microsoft.com/office/drawing/2014/main" id="{6800113D-AFB1-4E3C-8FFA-373F450F6F88}"/>
                </a:ext>
              </a:extLst>
            </p:cNvPr>
            <p:cNvSpPr/>
            <p:nvPr/>
          </p:nvSpPr>
          <p:spPr>
            <a:xfrm flipH="1">
              <a:off x="8653513" y="4903171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13423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16516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13423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165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0" name="任意多边形: 形状 409">
              <a:extLst>
                <a:ext uri="{FF2B5EF4-FFF2-40B4-BE49-F238E27FC236}">
                  <a16:creationId xmlns:a16="http://schemas.microsoft.com/office/drawing/2014/main" id="{31B85690-BF70-4B7F-A78D-B1B037B00DC6}"/>
                </a:ext>
              </a:extLst>
            </p:cNvPr>
            <p:cNvSpPr/>
            <p:nvPr/>
          </p:nvSpPr>
          <p:spPr>
            <a:xfrm flipH="1">
              <a:off x="8653513" y="5011429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207236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1033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207236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103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1" name="任意多边形: 形状 410">
              <a:extLst>
                <a:ext uri="{FF2B5EF4-FFF2-40B4-BE49-F238E27FC236}">
                  <a16:creationId xmlns:a16="http://schemas.microsoft.com/office/drawing/2014/main" id="{BEC444B2-7C8F-4FA0-80A1-249DC174D908}"/>
                </a:ext>
              </a:extLst>
            </p:cNvPr>
            <p:cNvSpPr/>
            <p:nvPr/>
          </p:nvSpPr>
          <p:spPr>
            <a:xfrm flipH="1">
              <a:off x="8653513" y="5119687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197957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20105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197957" y="58769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2010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2" name="任意多边形: 形状 411">
              <a:extLst>
                <a:ext uri="{FF2B5EF4-FFF2-40B4-BE49-F238E27FC236}">
                  <a16:creationId xmlns:a16="http://schemas.microsoft.com/office/drawing/2014/main" id="{DBA49AE2-C34F-43DF-A391-BD0D9942FA8A}"/>
                </a:ext>
              </a:extLst>
            </p:cNvPr>
            <p:cNvSpPr/>
            <p:nvPr/>
          </p:nvSpPr>
          <p:spPr>
            <a:xfrm flipH="1">
              <a:off x="8653513" y="5227945"/>
              <a:ext cx="309308" cy="92792"/>
            </a:xfrm>
            <a:custGeom>
              <a:avLst/>
              <a:gdLst>
                <a:gd name="connsiteX0" fmla="*/ 0 w 309308"/>
                <a:gd name="connsiteY0" fmla="*/ 58768 h 92792"/>
                <a:gd name="connsiteX1" fmla="*/ 191771 w 309308"/>
                <a:gd name="connsiteY1" fmla="*/ 58768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94864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8"/>
                  </a:moveTo>
                  <a:lnTo>
                    <a:pt x="191771" y="58768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9486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3" name="任意多边形: 形状 412">
              <a:extLst>
                <a:ext uri="{FF2B5EF4-FFF2-40B4-BE49-F238E27FC236}">
                  <a16:creationId xmlns:a16="http://schemas.microsoft.com/office/drawing/2014/main" id="{C718384B-2BD7-4EB9-9FAB-427D50A7023C}"/>
                </a:ext>
              </a:extLst>
            </p:cNvPr>
            <p:cNvSpPr/>
            <p:nvPr/>
          </p:nvSpPr>
          <p:spPr>
            <a:xfrm flipH="1">
              <a:off x="8653513" y="5336203"/>
              <a:ext cx="309308" cy="92792"/>
            </a:xfrm>
            <a:custGeom>
              <a:avLst/>
              <a:gdLst>
                <a:gd name="connsiteX0" fmla="*/ 0 w 309308"/>
                <a:gd name="connsiteY0" fmla="*/ 58768 h 92792"/>
                <a:gd name="connsiteX1" fmla="*/ 182492 w 309308"/>
                <a:gd name="connsiteY1" fmla="*/ 58768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85585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8"/>
                  </a:moveTo>
                  <a:lnTo>
                    <a:pt x="182492" y="58768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855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4" name="任意多边形: 形状 413">
              <a:extLst>
                <a:ext uri="{FF2B5EF4-FFF2-40B4-BE49-F238E27FC236}">
                  <a16:creationId xmlns:a16="http://schemas.microsoft.com/office/drawing/2014/main" id="{1D2137EC-AE9A-4776-BB55-2D3B17BAD522}"/>
                </a:ext>
              </a:extLst>
            </p:cNvPr>
            <p:cNvSpPr/>
            <p:nvPr/>
          </p:nvSpPr>
          <p:spPr>
            <a:xfrm flipH="1">
              <a:off x="8653513" y="5444461"/>
              <a:ext cx="309308" cy="92792"/>
            </a:xfrm>
            <a:custGeom>
              <a:avLst/>
              <a:gdLst>
                <a:gd name="connsiteX0" fmla="*/ 0 w 309308"/>
                <a:gd name="connsiteY0" fmla="*/ 58768 h 92792"/>
                <a:gd name="connsiteX1" fmla="*/ 176306 w 309308"/>
                <a:gd name="connsiteY1" fmla="*/ 58768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79399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8"/>
                  </a:moveTo>
                  <a:lnTo>
                    <a:pt x="176306" y="58768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793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405FBF00-FC25-4FBE-923B-C02F3BD09667}"/>
                </a:ext>
              </a:extLst>
            </p:cNvPr>
            <p:cNvSpPr/>
            <p:nvPr/>
          </p:nvSpPr>
          <p:spPr>
            <a:xfrm flipH="1">
              <a:off x="8653513" y="5555812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167027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170120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167027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1701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E4FB488C-034B-4D29-8E56-2142CA8DA553}"/>
                </a:ext>
              </a:extLst>
            </p:cNvPr>
            <p:cNvSpPr/>
            <p:nvPr/>
          </p:nvSpPr>
          <p:spPr>
            <a:xfrm flipH="1">
              <a:off x="8653513" y="5664070"/>
              <a:ext cx="309308" cy="92792"/>
            </a:xfrm>
            <a:custGeom>
              <a:avLst/>
              <a:gdLst>
                <a:gd name="connsiteX0" fmla="*/ 0 w 309308"/>
                <a:gd name="connsiteY0" fmla="*/ 55675 h 92792"/>
                <a:gd name="connsiteX1" fmla="*/ 160840 w 309308"/>
                <a:gd name="connsiteY1" fmla="*/ 55675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163933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5675"/>
                  </a:moveTo>
                  <a:lnTo>
                    <a:pt x="160840" y="55675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16393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7" name="任意多边形: 形状 416">
              <a:extLst>
                <a:ext uri="{FF2B5EF4-FFF2-40B4-BE49-F238E27FC236}">
                  <a16:creationId xmlns:a16="http://schemas.microsoft.com/office/drawing/2014/main" id="{78F4F13B-059C-49F0-9F59-CC1EAEB7B9DE}"/>
                </a:ext>
              </a:extLst>
            </p:cNvPr>
            <p:cNvSpPr/>
            <p:nvPr/>
          </p:nvSpPr>
          <p:spPr>
            <a:xfrm flipH="1">
              <a:off x="8653513" y="5772328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151561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37117 h 92792"/>
                <a:gd name="connsiteX4" fmla="*/ 157747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151561" y="58769"/>
                  </a:lnTo>
                  <a:lnTo>
                    <a:pt x="327867" y="95886"/>
                  </a:lnTo>
                  <a:lnTo>
                    <a:pt x="327867" y="37117"/>
                  </a:lnTo>
                  <a:lnTo>
                    <a:pt x="15774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8" name="任意多边形: 形状 417">
              <a:extLst>
                <a:ext uri="{FF2B5EF4-FFF2-40B4-BE49-F238E27FC236}">
                  <a16:creationId xmlns:a16="http://schemas.microsoft.com/office/drawing/2014/main" id="{3BF404F9-B411-4892-A960-80BE4B563756}"/>
                </a:ext>
              </a:extLst>
            </p:cNvPr>
            <p:cNvSpPr/>
            <p:nvPr/>
          </p:nvSpPr>
          <p:spPr>
            <a:xfrm flipH="1">
              <a:off x="8653513" y="5880586"/>
              <a:ext cx="309308" cy="92792"/>
            </a:xfrm>
            <a:custGeom>
              <a:avLst/>
              <a:gdLst>
                <a:gd name="connsiteX0" fmla="*/ 0 w 309308"/>
                <a:gd name="connsiteY0" fmla="*/ 58769 h 92792"/>
                <a:gd name="connsiteX1" fmla="*/ 145375 w 309308"/>
                <a:gd name="connsiteY1" fmla="*/ 58769 h 92792"/>
                <a:gd name="connsiteX2" fmla="*/ 327867 w 309308"/>
                <a:gd name="connsiteY2" fmla="*/ 95886 h 92792"/>
                <a:gd name="connsiteX3" fmla="*/ 327867 w 309308"/>
                <a:gd name="connsiteY3" fmla="*/ 40210 h 92792"/>
                <a:gd name="connsiteX4" fmla="*/ 148468 w 309308"/>
                <a:gd name="connsiteY4" fmla="*/ 0 h 92792"/>
                <a:gd name="connsiteX5" fmla="*/ 0 w 309308"/>
                <a:gd name="connsiteY5" fmla="*/ 0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9308" h="92792">
                  <a:moveTo>
                    <a:pt x="0" y="58769"/>
                  </a:moveTo>
                  <a:lnTo>
                    <a:pt x="145375" y="58769"/>
                  </a:lnTo>
                  <a:lnTo>
                    <a:pt x="327867" y="95886"/>
                  </a:lnTo>
                  <a:lnTo>
                    <a:pt x="327867" y="40210"/>
                  </a:lnTo>
                  <a:lnTo>
                    <a:pt x="14846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9" name="任意多边形: 形状 418">
              <a:extLst>
                <a:ext uri="{FF2B5EF4-FFF2-40B4-BE49-F238E27FC236}">
                  <a16:creationId xmlns:a16="http://schemas.microsoft.com/office/drawing/2014/main" id="{A9A33A9F-17F1-47B7-917C-D94BEDE2F27F}"/>
                </a:ext>
              </a:extLst>
            </p:cNvPr>
            <p:cNvSpPr/>
            <p:nvPr/>
          </p:nvSpPr>
          <p:spPr>
            <a:xfrm flipH="1">
              <a:off x="8254505" y="4733052"/>
              <a:ext cx="154654" cy="154654"/>
            </a:xfrm>
            <a:custGeom>
              <a:avLst/>
              <a:gdLst>
                <a:gd name="connsiteX0" fmla="*/ 0 w 154654"/>
                <a:gd name="connsiteY0" fmla="*/ 0 h 154654"/>
                <a:gd name="connsiteX1" fmla="*/ 154654 w 154654"/>
                <a:gd name="connsiteY1" fmla="*/ 0 h 154654"/>
                <a:gd name="connsiteX2" fmla="*/ 154654 w 154654"/>
                <a:gd name="connsiteY2" fmla="*/ 170120 h 154654"/>
                <a:gd name="connsiteX3" fmla="*/ 0 w 154654"/>
                <a:gd name="connsiteY3" fmla="*/ 170120 h 154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54654">
                  <a:moveTo>
                    <a:pt x="0" y="0"/>
                  </a:moveTo>
                  <a:lnTo>
                    <a:pt x="154654" y="0"/>
                  </a:lnTo>
                  <a:lnTo>
                    <a:pt x="154654" y="170120"/>
                  </a:lnTo>
                  <a:lnTo>
                    <a:pt x="0" y="170120"/>
                  </a:lnTo>
                  <a:close/>
                </a:path>
              </a:pathLst>
            </a:custGeom>
            <a:solidFill>
              <a:srgbClr val="56557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0" name="任意多边形: 形状 419">
              <a:extLst>
                <a:ext uri="{FF2B5EF4-FFF2-40B4-BE49-F238E27FC236}">
                  <a16:creationId xmlns:a16="http://schemas.microsoft.com/office/drawing/2014/main" id="{1602492D-63ED-416A-8A6C-0B80CD46BDB2}"/>
                </a:ext>
              </a:extLst>
            </p:cNvPr>
            <p:cNvSpPr/>
            <p:nvPr/>
          </p:nvSpPr>
          <p:spPr>
            <a:xfrm flipH="1">
              <a:off x="8396786" y="4702121"/>
              <a:ext cx="92793" cy="216516"/>
            </a:xfrm>
            <a:custGeom>
              <a:avLst/>
              <a:gdLst>
                <a:gd name="connsiteX0" fmla="*/ 0 w 92792"/>
                <a:gd name="connsiteY0" fmla="*/ 0 h 216515"/>
                <a:gd name="connsiteX1" fmla="*/ 98978 w 92792"/>
                <a:gd name="connsiteY1" fmla="*/ 0 h 216515"/>
                <a:gd name="connsiteX2" fmla="*/ 98978 w 92792"/>
                <a:gd name="connsiteY2" fmla="*/ 216516 h 216515"/>
                <a:gd name="connsiteX3" fmla="*/ 0 w 92792"/>
                <a:gd name="connsiteY3" fmla="*/ 216516 h 21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92" h="216515">
                  <a:moveTo>
                    <a:pt x="0" y="0"/>
                  </a:moveTo>
                  <a:lnTo>
                    <a:pt x="98978" y="0"/>
                  </a:lnTo>
                  <a:lnTo>
                    <a:pt x="98978" y="216516"/>
                  </a:lnTo>
                  <a:lnTo>
                    <a:pt x="0" y="216516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1" name="任意多边形: 形状 420">
              <a:extLst>
                <a:ext uri="{FF2B5EF4-FFF2-40B4-BE49-F238E27FC236}">
                  <a16:creationId xmlns:a16="http://schemas.microsoft.com/office/drawing/2014/main" id="{7344C118-23B9-466A-84FF-7D10D447D2F5}"/>
                </a:ext>
              </a:extLst>
            </p:cNvPr>
            <p:cNvSpPr/>
            <p:nvPr/>
          </p:nvSpPr>
          <p:spPr>
            <a:xfrm flipH="1">
              <a:off x="8180270" y="4702121"/>
              <a:ext cx="92793" cy="216516"/>
            </a:xfrm>
            <a:custGeom>
              <a:avLst/>
              <a:gdLst>
                <a:gd name="connsiteX0" fmla="*/ 0 w 92792"/>
                <a:gd name="connsiteY0" fmla="*/ 0 h 216515"/>
                <a:gd name="connsiteX1" fmla="*/ 98978 w 92792"/>
                <a:gd name="connsiteY1" fmla="*/ 0 h 216515"/>
                <a:gd name="connsiteX2" fmla="*/ 98978 w 92792"/>
                <a:gd name="connsiteY2" fmla="*/ 216516 h 216515"/>
                <a:gd name="connsiteX3" fmla="*/ 0 w 92792"/>
                <a:gd name="connsiteY3" fmla="*/ 216516 h 216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92" h="216515">
                  <a:moveTo>
                    <a:pt x="0" y="0"/>
                  </a:moveTo>
                  <a:lnTo>
                    <a:pt x="98978" y="0"/>
                  </a:lnTo>
                  <a:lnTo>
                    <a:pt x="98978" y="216516"/>
                  </a:lnTo>
                  <a:lnTo>
                    <a:pt x="0" y="216516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2" name="任意多边形: 形状 421">
              <a:extLst>
                <a:ext uri="{FF2B5EF4-FFF2-40B4-BE49-F238E27FC236}">
                  <a16:creationId xmlns:a16="http://schemas.microsoft.com/office/drawing/2014/main" id="{8D8DFC3D-0C5F-4D1A-A90F-C8FBE88834A3}"/>
                </a:ext>
              </a:extLst>
            </p:cNvPr>
            <p:cNvSpPr/>
            <p:nvPr/>
          </p:nvSpPr>
          <p:spPr>
            <a:xfrm flipH="1">
              <a:off x="8269970" y="4714493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82492 w 154654"/>
                <a:gd name="connsiteY1" fmla="*/ 0 h 0"/>
                <a:gd name="connsiteX2" fmla="*/ 182492 w 154654"/>
                <a:gd name="connsiteY2" fmla="*/ 21652 h 0"/>
                <a:gd name="connsiteX3" fmla="*/ 0 w 154654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82492" y="0"/>
                  </a:lnTo>
                  <a:lnTo>
                    <a:pt x="182492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3" name="任意多边形: 形状 422">
              <a:extLst>
                <a:ext uri="{FF2B5EF4-FFF2-40B4-BE49-F238E27FC236}">
                  <a16:creationId xmlns:a16="http://schemas.microsoft.com/office/drawing/2014/main" id="{4818CD49-7C88-471B-B1AA-BCE7C041049B}"/>
                </a:ext>
              </a:extLst>
            </p:cNvPr>
            <p:cNvSpPr/>
            <p:nvPr/>
          </p:nvSpPr>
          <p:spPr>
            <a:xfrm flipH="1">
              <a:off x="8269970" y="4785634"/>
              <a:ext cx="154654" cy="30931"/>
            </a:xfrm>
            <a:custGeom>
              <a:avLst/>
              <a:gdLst>
                <a:gd name="connsiteX0" fmla="*/ 0 w 154654"/>
                <a:gd name="connsiteY0" fmla="*/ 0 h 0"/>
                <a:gd name="connsiteX1" fmla="*/ 182492 w 154654"/>
                <a:gd name="connsiteY1" fmla="*/ 0 h 0"/>
                <a:gd name="connsiteX2" fmla="*/ 182492 w 154654"/>
                <a:gd name="connsiteY2" fmla="*/ 21652 h 0"/>
                <a:gd name="connsiteX3" fmla="*/ 0 w 154654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>
                  <a:moveTo>
                    <a:pt x="0" y="0"/>
                  </a:moveTo>
                  <a:lnTo>
                    <a:pt x="182492" y="0"/>
                  </a:lnTo>
                  <a:lnTo>
                    <a:pt x="182492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4" name="任意多边形: 形状 423">
              <a:extLst>
                <a:ext uri="{FF2B5EF4-FFF2-40B4-BE49-F238E27FC236}">
                  <a16:creationId xmlns:a16="http://schemas.microsoft.com/office/drawing/2014/main" id="{1294A86D-2B35-4F5D-8578-1BF9334ADB27}"/>
                </a:ext>
              </a:extLst>
            </p:cNvPr>
            <p:cNvSpPr/>
            <p:nvPr/>
          </p:nvSpPr>
          <p:spPr>
            <a:xfrm flipH="1">
              <a:off x="8106037" y="4909358"/>
              <a:ext cx="402101" cy="463962"/>
            </a:xfrm>
            <a:custGeom>
              <a:avLst/>
              <a:gdLst>
                <a:gd name="connsiteX0" fmla="*/ 0 w 402100"/>
                <a:gd name="connsiteY0" fmla="*/ 0 h 463962"/>
                <a:gd name="connsiteX1" fmla="*/ 405194 w 402100"/>
                <a:gd name="connsiteY1" fmla="*/ 0 h 463962"/>
                <a:gd name="connsiteX2" fmla="*/ 405194 w 402100"/>
                <a:gd name="connsiteY2" fmla="*/ 485614 h 463962"/>
                <a:gd name="connsiteX3" fmla="*/ 0 w 402100"/>
                <a:gd name="connsiteY3" fmla="*/ 485614 h 46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463962">
                  <a:moveTo>
                    <a:pt x="0" y="0"/>
                  </a:moveTo>
                  <a:lnTo>
                    <a:pt x="405194" y="0"/>
                  </a:lnTo>
                  <a:lnTo>
                    <a:pt x="405194" y="485614"/>
                  </a:lnTo>
                  <a:lnTo>
                    <a:pt x="0" y="485614"/>
                  </a:lnTo>
                  <a:close/>
                </a:path>
              </a:pathLst>
            </a:custGeom>
            <a:solidFill>
              <a:srgbClr val="56557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5" name="任意多边形: 形状 424">
              <a:extLst>
                <a:ext uri="{FF2B5EF4-FFF2-40B4-BE49-F238E27FC236}">
                  <a16:creationId xmlns:a16="http://schemas.microsoft.com/office/drawing/2014/main" id="{0089FF9E-7EC6-4ABE-9BF6-F1F480656E1B}"/>
                </a:ext>
              </a:extLst>
            </p:cNvPr>
            <p:cNvSpPr/>
            <p:nvPr/>
          </p:nvSpPr>
          <p:spPr>
            <a:xfrm flipH="1">
              <a:off x="8087478" y="5354762"/>
              <a:ext cx="433032" cy="1484680"/>
            </a:xfrm>
            <a:custGeom>
              <a:avLst/>
              <a:gdLst>
                <a:gd name="connsiteX0" fmla="*/ 0 w 433031"/>
                <a:gd name="connsiteY0" fmla="*/ 0 h 1484679"/>
                <a:gd name="connsiteX1" fmla="*/ 439218 w 433031"/>
                <a:gd name="connsiteY1" fmla="*/ 0 h 1484679"/>
                <a:gd name="connsiteX2" fmla="*/ 439218 w 433031"/>
                <a:gd name="connsiteY2" fmla="*/ 1503238 h 1484679"/>
                <a:gd name="connsiteX3" fmla="*/ 0 w 433031"/>
                <a:gd name="connsiteY3" fmla="*/ 1503238 h 1484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031" h="1484679">
                  <a:moveTo>
                    <a:pt x="0" y="0"/>
                  </a:moveTo>
                  <a:lnTo>
                    <a:pt x="439218" y="0"/>
                  </a:lnTo>
                  <a:lnTo>
                    <a:pt x="439218" y="1503238"/>
                  </a:lnTo>
                  <a:lnTo>
                    <a:pt x="0" y="1503238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6" name="任意多边形: 形状 425">
              <a:extLst>
                <a:ext uri="{FF2B5EF4-FFF2-40B4-BE49-F238E27FC236}">
                  <a16:creationId xmlns:a16="http://schemas.microsoft.com/office/drawing/2014/main" id="{85045D55-DC44-48C4-95D3-C77DC36D6261}"/>
                </a:ext>
              </a:extLst>
            </p:cNvPr>
            <p:cNvSpPr/>
            <p:nvPr/>
          </p:nvSpPr>
          <p:spPr>
            <a:xfrm flipH="1">
              <a:off x="6469796" y="5215573"/>
              <a:ext cx="402101" cy="1639334"/>
            </a:xfrm>
            <a:custGeom>
              <a:avLst/>
              <a:gdLst>
                <a:gd name="connsiteX0" fmla="*/ 0 w 402100"/>
                <a:gd name="connsiteY0" fmla="*/ 18558 h 1639334"/>
                <a:gd name="connsiteX1" fmla="*/ 405194 w 402100"/>
                <a:gd name="connsiteY1" fmla="*/ 0 h 1639334"/>
                <a:gd name="connsiteX2" fmla="*/ 405194 w 402100"/>
                <a:gd name="connsiteY2" fmla="*/ 1639334 h 1639334"/>
                <a:gd name="connsiteX3" fmla="*/ 0 w 402100"/>
                <a:gd name="connsiteY3" fmla="*/ 1639334 h 163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1639334">
                  <a:moveTo>
                    <a:pt x="0" y="18558"/>
                  </a:moveTo>
                  <a:lnTo>
                    <a:pt x="405194" y="0"/>
                  </a:lnTo>
                  <a:lnTo>
                    <a:pt x="405194" y="1639334"/>
                  </a:lnTo>
                  <a:lnTo>
                    <a:pt x="0" y="1639334"/>
                  </a:lnTo>
                  <a:close/>
                </a:path>
              </a:pathLst>
            </a:custGeom>
            <a:solidFill>
              <a:srgbClr val="F2D3D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7" name="任意多边形: 形状 426">
              <a:extLst>
                <a:ext uri="{FF2B5EF4-FFF2-40B4-BE49-F238E27FC236}">
                  <a16:creationId xmlns:a16="http://schemas.microsoft.com/office/drawing/2014/main" id="{7BC3FA33-0F91-4C84-BD0E-DB7DAEB97310}"/>
                </a:ext>
              </a:extLst>
            </p:cNvPr>
            <p:cNvSpPr/>
            <p:nvPr/>
          </p:nvSpPr>
          <p:spPr>
            <a:xfrm flipH="1">
              <a:off x="6472889" y="5209387"/>
              <a:ext cx="402101" cy="1639334"/>
            </a:xfrm>
            <a:custGeom>
              <a:avLst/>
              <a:gdLst>
                <a:gd name="connsiteX0" fmla="*/ 414473 w 402100"/>
                <a:gd name="connsiteY0" fmla="*/ 1651707 h 1639334"/>
                <a:gd name="connsiteX1" fmla="*/ 0 w 402100"/>
                <a:gd name="connsiteY1" fmla="*/ 1651707 h 1639334"/>
                <a:gd name="connsiteX2" fmla="*/ 0 w 402100"/>
                <a:gd name="connsiteY2" fmla="*/ 21652 h 1639334"/>
                <a:gd name="connsiteX3" fmla="*/ 414473 w 402100"/>
                <a:gd name="connsiteY3" fmla="*/ 0 h 1639334"/>
                <a:gd name="connsiteX4" fmla="*/ 414473 w 402100"/>
                <a:gd name="connsiteY4" fmla="*/ 1651707 h 1639334"/>
                <a:gd name="connsiteX5" fmla="*/ 9279 w 402100"/>
                <a:gd name="connsiteY5" fmla="*/ 1639334 h 1639334"/>
                <a:gd name="connsiteX6" fmla="*/ 402101 w 402100"/>
                <a:gd name="connsiteY6" fmla="*/ 1639334 h 1639334"/>
                <a:gd name="connsiteX7" fmla="*/ 402101 w 402100"/>
                <a:gd name="connsiteY7" fmla="*/ 12372 h 1639334"/>
                <a:gd name="connsiteX8" fmla="*/ 9279 w 402100"/>
                <a:gd name="connsiteY8" fmla="*/ 30931 h 1639334"/>
                <a:gd name="connsiteX9" fmla="*/ 9279 w 402100"/>
                <a:gd name="connsiteY9" fmla="*/ 1639334 h 163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100" h="1639334">
                  <a:moveTo>
                    <a:pt x="414473" y="1651707"/>
                  </a:moveTo>
                  <a:lnTo>
                    <a:pt x="0" y="1651707"/>
                  </a:lnTo>
                  <a:lnTo>
                    <a:pt x="0" y="21652"/>
                  </a:lnTo>
                  <a:lnTo>
                    <a:pt x="414473" y="0"/>
                  </a:lnTo>
                  <a:lnTo>
                    <a:pt x="414473" y="1651707"/>
                  </a:lnTo>
                  <a:close/>
                  <a:moveTo>
                    <a:pt x="9279" y="1639334"/>
                  </a:moveTo>
                  <a:lnTo>
                    <a:pt x="402101" y="1639334"/>
                  </a:lnTo>
                  <a:lnTo>
                    <a:pt x="402101" y="12372"/>
                  </a:lnTo>
                  <a:lnTo>
                    <a:pt x="9279" y="30931"/>
                  </a:lnTo>
                  <a:lnTo>
                    <a:pt x="9279" y="1639334"/>
                  </a:lnTo>
                  <a:close/>
                </a:path>
              </a:pathLst>
            </a:custGeom>
            <a:solidFill>
              <a:srgbClr val="EBF1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8" name="任意多边形: 形状 427">
              <a:extLst>
                <a:ext uri="{FF2B5EF4-FFF2-40B4-BE49-F238E27FC236}">
                  <a16:creationId xmlns:a16="http://schemas.microsoft.com/office/drawing/2014/main" id="{1E5444BD-2312-4A0B-85EB-B4F684F49026}"/>
                </a:ext>
              </a:extLst>
            </p:cNvPr>
            <p:cNvSpPr/>
            <p:nvPr/>
          </p:nvSpPr>
          <p:spPr>
            <a:xfrm flipH="1">
              <a:off x="6528564" y="6731184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9" name="任意多边形: 形状 428">
              <a:extLst>
                <a:ext uri="{FF2B5EF4-FFF2-40B4-BE49-F238E27FC236}">
                  <a16:creationId xmlns:a16="http://schemas.microsoft.com/office/drawing/2014/main" id="{09E13057-8C17-41C3-B6B1-8A920BF6C27B}"/>
                </a:ext>
              </a:extLst>
            </p:cNvPr>
            <p:cNvSpPr/>
            <p:nvPr/>
          </p:nvSpPr>
          <p:spPr>
            <a:xfrm flipH="1">
              <a:off x="6529191" y="6711920"/>
              <a:ext cx="402101" cy="30931"/>
            </a:xfrm>
            <a:custGeom>
              <a:avLst/>
              <a:gdLst>
                <a:gd name="connsiteX0" fmla="*/ 0 w 402100"/>
                <a:gd name="connsiteY0" fmla="*/ 19819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2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9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2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0" name="任意多边形: 形状 429">
              <a:extLst>
                <a:ext uri="{FF2B5EF4-FFF2-40B4-BE49-F238E27FC236}">
                  <a16:creationId xmlns:a16="http://schemas.microsoft.com/office/drawing/2014/main" id="{9D3B112A-4D7C-4B24-87B8-095E8651D337}"/>
                </a:ext>
              </a:extLst>
            </p:cNvPr>
            <p:cNvSpPr/>
            <p:nvPr/>
          </p:nvSpPr>
          <p:spPr>
            <a:xfrm flipH="1">
              <a:off x="6528564" y="6644577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1" name="任意多边形: 形状 430">
              <a:extLst>
                <a:ext uri="{FF2B5EF4-FFF2-40B4-BE49-F238E27FC236}">
                  <a16:creationId xmlns:a16="http://schemas.microsoft.com/office/drawing/2014/main" id="{AE173F87-C386-4E9C-A33C-C0C413A3410B}"/>
                </a:ext>
              </a:extLst>
            </p:cNvPr>
            <p:cNvSpPr/>
            <p:nvPr/>
          </p:nvSpPr>
          <p:spPr>
            <a:xfrm flipH="1">
              <a:off x="6529170" y="6625316"/>
              <a:ext cx="402101" cy="30931"/>
            </a:xfrm>
            <a:custGeom>
              <a:avLst/>
              <a:gdLst>
                <a:gd name="connsiteX0" fmla="*/ 0 w 402100"/>
                <a:gd name="connsiteY0" fmla="*/ 19816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79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6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799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2" name="任意多边形: 形状 431">
              <a:extLst>
                <a:ext uri="{FF2B5EF4-FFF2-40B4-BE49-F238E27FC236}">
                  <a16:creationId xmlns:a16="http://schemas.microsoft.com/office/drawing/2014/main" id="{55BDDBC7-658D-4AF9-8E33-B76526C5DEF3}"/>
                </a:ext>
              </a:extLst>
            </p:cNvPr>
            <p:cNvSpPr/>
            <p:nvPr/>
          </p:nvSpPr>
          <p:spPr>
            <a:xfrm flipH="1">
              <a:off x="6528564" y="6554878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3" name="任意多边形: 形状 432">
              <a:extLst>
                <a:ext uri="{FF2B5EF4-FFF2-40B4-BE49-F238E27FC236}">
                  <a16:creationId xmlns:a16="http://schemas.microsoft.com/office/drawing/2014/main" id="{B5C855D4-31DA-46A7-91F9-34779F39186E}"/>
                </a:ext>
              </a:extLst>
            </p:cNvPr>
            <p:cNvSpPr/>
            <p:nvPr/>
          </p:nvSpPr>
          <p:spPr>
            <a:xfrm flipH="1">
              <a:off x="6529147" y="6538708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4" name="任意多边形: 形状 433">
              <a:extLst>
                <a:ext uri="{FF2B5EF4-FFF2-40B4-BE49-F238E27FC236}">
                  <a16:creationId xmlns:a16="http://schemas.microsoft.com/office/drawing/2014/main" id="{329D9AD3-8618-4962-ADE1-91EE02646E23}"/>
                </a:ext>
              </a:extLst>
            </p:cNvPr>
            <p:cNvSpPr/>
            <p:nvPr/>
          </p:nvSpPr>
          <p:spPr>
            <a:xfrm flipH="1">
              <a:off x="6528564" y="6468272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5" name="任意多边形: 形状 434">
              <a:extLst>
                <a:ext uri="{FF2B5EF4-FFF2-40B4-BE49-F238E27FC236}">
                  <a16:creationId xmlns:a16="http://schemas.microsoft.com/office/drawing/2014/main" id="{D2D2D245-AA59-4A6B-96DE-BF2A55661612}"/>
                </a:ext>
              </a:extLst>
            </p:cNvPr>
            <p:cNvSpPr/>
            <p:nvPr/>
          </p:nvSpPr>
          <p:spPr>
            <a:xfrm flipH="1">
              <a:off x="6529122" y="6452100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6" name="任意多边形: 形状 435">
              <a:extLst>
                <a:ext uri="{FF2B5EF4-FFF2-40B4-BE49-F238E27FC236}">
                  <a16:creationId xmlns:a16="http://schemas.microsoft.com/office/drawing/2014/main" id="{0BECD07B-DDFE-4731-9160-2F7D61E67175}"/>
                </a:ext>
              </a:extLst>
            </p:cNvPr>
            <p:cNvSpPr/>
            <p:nvPr/>
          </p:nvSpPr>
          <p:spPr>
            <a:xfrm flipH="1">
              <a:off x="6528564" y="6381665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7" name="任意多边形: 形状 436">
              <a:extLst>
                <a:ext uri="{FF2B5EF4-FFF2-40B4-BE49-F238E27FC236}">
                  <a16:creationId xmlns:a16="http://schemas.microsoft.com/office/drawing/2014/main" id="{2857481D-2F04-4538-A46B-CAC1B05F8B07}"/>
                </a:ext>
              </a:extLst>
            </p:cNvPr>
            <p:cNvSpPr/>
            <p:nvPr/>
          </p:nvSpPr>
          <p:spPr>
            <a:xfrm flipH="1">
              <a:off x="6529248" y="6362407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8" name="任意多边形: 形状 437">
              <a:extLst>
                <a:ext uri="{FF2B5EF4-FFF2-40B4-BE49-F238E27FC236}">
                  <a16:creationId xmlns:a16="http://schemas.microsoft.com/office/drawing/2014/main" id="{EC4D0F4D-F4F4-4C8D-9007-BCCDF813FD3C}"/>
                </a:ext>
              </a:extLst>
            </p:cNvPr>
            <p:cNvSpPr/>
            <p:nvPr/>
          </p:nvSpPr>
          <p:spPr>
            <a:xfrm flipH="1">
              <a:off x="6528564" y="6295059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9" name="任意多边形: 形状 438">
              <a:extLst>
                <a:ext uri="{FF2B5EF4-FFF2-40B4-BE49-F238E27FC236}">
                  <a16:creationId xmlns:a16="http://schemas.microsoft.com/office/drawing/2014/main" id="{0856D888-2433-4915-8E23-512ECC040513}"/>
                </a:ext>
              </a:extLst>
            </p:cNvPr>
            <p:cNvSpPr/>
            <p:nvPr/>
          </p:nvSpPr>
          <p:spPr>
            <a:xfrm flipH="1">
              <a:off x="6529229" y="6275799"/>
              <a:ext cx="402101" cy="30931"/>
            </a:xfrm>
            <a:custGeom>
              <a:avLst/>
              <a:gdLst>
                <a:gd name="connsiteX0" fmla="*/ 0 w 402100"/>
                <a:gd name="connsiteY0" fmla="*/ 19816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79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6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799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0" name="任意多边形: 形状 439">
              <a:extLst>
                <a:ext uri="{FF2B5EF4-FFF2-40B4-BE49-F238E27FC236}">
                  <a16:creationId xmlns:a16="http://schemas.microsoft.com/office/drawing/2014/main" id="{A0BA6697-C971-4958-9B81-A401AC49847E}"/>
                </a:ext>
              </a:extLst>
            </p:cNvPr>
            <p:cNvSpPr/>
            <p:nvPr/>
          </p:nvSpPr>
          <p:spPr>
            <a:xfrm flipH="1">
              <a:off x="6528564" y="6208453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1" name="任意多边形: 形状 440">
              <a:extLst>
                <a:ext uri="{FF2B5EF4-FFF2-40B4-BE49-F238E27FC236}">
                  <a16:creationId xmlns:a16="http://schemas.microsoft.com/office/drawing/2014/main" id="{8C8BEA5F-E50F-44DC-8A4A-D4245B10146A}"/>
                </a:ext>
              </a:extLst>
            </p:cNvPr>
            <p:cNvSpPr/>
            <p:nvPr/>
          </p:nvSpPr>
          <p:spPr>
            <a:xfrm flipH="1">
              <a:off x="6529207" y="6189192"/>
              <a:ext cx="402101" cy="30931"/>
            </a:xfrm>
            <a:custGeom>
              <a:avLst/>
              <a:gdLst>
                <a:gd name="connsiteX0" fmla="*/ 0 w 402100"/>
                <a:gd name="connsiteY0" fmla="*/ 19819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2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9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2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2" name="任意多边形: 形状 441">
              <a:extLst>
                <a:ext uri="{FF2B5EF4-FFF2-40B4-BE49-F238E27FC236}">
                  <a16:creationId xmlns:a16="http://schemas.microsoft.com/office/drawing/2014/main" id="{8F8752DD-98D9-4D03-8B54-99584074AE4C}"/>
                </a:ext>
              </a:extLst>
            </p:cNvPr>
            <p:cNvSpPr/>
            <p:nvPr/>
          </p:nvSpPr>
          <p:spPr>
            <a:xfrm flipH="1">
              <a:off x="6528564" y="6121846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3" name="任意多边形: 形状 442">
              <a:extLst>
                <a:ext uri="{FF2B5EF4-FFF2-40B4-BE49-F238E27FC236}">
                  <a16:creationId xmlns:a16="http://schemas.microsoft.com/office/drawing/2014/main" id="{F225574D-F28C-46D8-A160-5922585A0D00}"/>
                </a:ext>
              </a:extLst>
            </p:cNvPr>
            <p:cNvSpPr/>
            <p:nvPr/>
          </p:nvSpPr>
          <p:spPr>
            <a:xfrm flipH="1">
              <a:off x="6529184" y="6102587"/>
              <a:ext cx="402101" cy="30931"/>
            </a:xfrm>
            <a:custGeom>
              <a:avLst/>
              <a:gdLst>
                <a:gd name="connsiteX0" fmla="*/ 0 w 402100"/>
                <a:gd name="connsiteY0" fmla="*/ 19816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799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6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799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4" name="任意多边形: 形状 443">
              <a:extLst>
                <a:ext uri="{FF2B5EF4-FFF2-40B4-BE49-F238E27FC236}">
                  <a16:creationId xmlns:a16="http://schemas.microsoft.com/office/drawing/2014/main" id="{06D53E31-8A55-4486-81C0-0C2BB5AF37D2}"/>
                </a:ext>
              </a:extLst>
            </p:cNvPr>
            <p:cNvSpPr/>
            <p:nvPr/>
          </p:nvSpPr>
          <p:spPr>
            <a:xfrm flipH="1">
              <a:off x="6528564" y="6035240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5" name="任意多边形: 形状 444">
              <a:extLst>
                <a:ext uri="{FF2B5EF4-FFF2-40B4-BE49-F238E27FC236}">
                  <a16:creationId xmlns:a16="http://schemas.microsoft.com/office/drawing/2014/main" id="{42631C76-CAD4-47D1-8436-ED483203C040}"/>
                </a:ext>
              </a:extLst>
            </p:cNvPr>
            <p:cNvSpPr/>
            <p:nvPr/>
          </p:nvSpPr>
          <p:spPr>
            <a:xfrm flipH="1">
              <a:off x="6529160" y="6015979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6" name="任意多边形: 形状 445">
              <a:extLst>
                <a:ext uri="{FF2B5EF4-FFF2-40B4-BE49-F238E27FC236}">
                  <a16:creationId xmlns:a16="http://schemas.microsoft.com/office/drawing/2014/main" id="{147829E9-D04E-4F02-B180-CD4D8A32E5F0}"/>
                </a:ext>
              </a:extLst>
            </p:cNvPr>
            <p:cNvSpPr/>
            <p:nvPr/>
          </p:nvSpPr>
          <p:spPr>
            <a:xfrm flipH="1">
              <a:off x="6528564" y="5945540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7" name="任意多边形: 形状 446">
              <a:extLst>
                <a:ext uri="{FF2B5EF4-FFF2-40B4-BE49-F238E27FC236}">
                  <a16:creationId xmlns:a16="http://schemas.microsoft.com/office/drawing/2014/main" id="{5E2AC627-834D-46A2-A714-C50B19C255F0}"/>
                </a:ext>
              </a:extLst>
            </p:cNvPr>
            <p:cNvSpPr/>
            <p:nvPr/>
          </p:nvSpPr>
          <p:spPr>
            <a:xfrm flipH="1">
              <a:off x="6529138" y="5929372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8" name="任意多边形: 形状 447">
              <a:extLst>
                <a:ext uri="{FF2B5EF4-FFF2-40B4-BE49-F238E27FC236}">
                  <a16:creationId xmlns:a16="http://schemas.microsoft.com/office/drawing/2014/main" id="{6670CAB8-39F3-4BF7-A295-708891A055A4}"/>
                </a:ext>
              </a:extLst>
            </p:cNvPr>
            <p:cNvSpPr/>
            <p:nvPr/>
          </p:nvSpPr>
          <p:spPr>
            <a:xfrm flipH="1">
              <a:off x="6528564" y="5858934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9" name="任意多边形: 形状 448">
              <a:extLst>
                <a:ext uri="{FF2B5EF4-FFF2-40B4-BE49-F238E27FC236}">
                  <a16:creationId xmlns:a16="http://schemas.microsoft.com/office/drawing/2014/main" id="{2F4B0A7A-7696-4A0A-8C0F-4FCEA9A00754}"/>
                </a:ext>
              </a:extLst>
            </p:cNvPr>
            <p:cNvSpPr/>
            <p:nvPr/>
          </p:nvSpPr>
          <p:spPr>
            <a:xfrm flipH="1">
              <a:off x="6529117" y="5842767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0" name="任意多边形: 形状 449">
              <a:extLst>
                <a:ext uri="{FF2B5EF4-FFF2-40B4-BE49-F238E27FC236}">
                  <a16:creationId xmlns:a16="http://schemas.microsoft.com/office/drawing/2014/main" id="{A36BA376-F2C3-47F7-AD5A-999E1F95E261}"/>
                </a:ext>
              </a:extLst>
            </p:cNvPr>
            <p:cNvSpPr/>
            <p:nvPr/>
          </p:nvSpPr>
          <p:spPr>
            <a:xfrm flipH="1">
              <a:off x="6528564" y="5772328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1" name="任意多边形: 形状 450">
              <a:extLst>
                <a:ext uri="{FF2B5EF4-FFF2-40B4-BE49-F238E27FC236}">
                  <a16:creationId xmlns:a16="http://schemas.microsoft.com/office/drawing/2014/main" id="{A4C4795C-6DA2-4D77-8D0F-6530CA0E58F6}"/>
                </a:ext>
              </a:extLst>
            </p:cNvPr>
            <p:cNvSpPr/>
            <p:nvPr/>
          </p:nvSpPr>
          <p:spPr>
            <a:xfrm flipH="1">
              <a:off x="6529243" y="5753071"/>
              <a:ext cx="402101" cy="30931"/>
            </a:xfrm>
            <a:custGeom>
              <a:avLst/>
              <a:gdLst>
                <a:gd name="connsiteX0" fmla="*/ 0 w 402100"/>
                <a:gd name="connsiteY0" fmla="*/ 19819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2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9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2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2" name="任意多边形: 形状 451">
              <a:extLst>
                <a:ext uri="{FF2B5EF4-FFF2-40B4-BE49-F238E27FC236}">
                  <a16:creationId xmlns:a16="http://schemas.microsoft.com/office/drawing/2014/main" id="{F1FB0970-F6F3-4A2F-9DD5-8A9F0940A568}"/>
                </a:ext>
              </a:extLst>
            </p:cNvPr>
            <p:cNvSpPr/>
            <p:nvPr/>
          </p:nvSpPr>
          <p:spPr>
            <a:xfrm flipH="1">
              <a:off x="6528564" y="5685721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3" name="任意多边形: 形状 452">
              <a:extLst>
                <a:ext uri="{FF2B5EF4-FFF2-40B4-BE49-F238E27FC236}">
                  <a16:creationId xmlns:a16="http://schemas.microsoft.com/office/drawing/2014/main" id="{5F50FE4D-89A3-4C77-867F-C63DBBB13834}"/>
                </a:ext>
              </a:extLst>
            </p:cNvPr>
            <p:cNvSpPr/>
            <p:nvPr/>
          </p:nvSpPr>
          <p:spPr>
            <a:xfrm flipH="1">
              <a:off x="6529221" y="5666463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4" name="任意多边形: 形状 453">
              <a:extLst>
                <a:ext uri="{FF2B5EF4-FFF2-40B4-BE49-F238E27FC236}">
                  <a16:creationId xmlns:a16="http://schemas.microsoft.com/office/drawing/2014/main" id="{653412EF-BC1E-4433-9FDE-0EF3E45578D3}"/>
                </a:ext>
              </a:extLst>
            </p:cNvPr>
            <p:cNvSpPr/>
            <p:nvPr/>
          </p:nvSpPr>
          <p:spPr>
            <a:xfrm flipH="1">
              <a:off x="6528564" y="5599115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5" name="任意多边形: 形状 454">
              <a:extLst>
                <a:ext uri="{FF2B5EF4-FFF2-40B4-BE49-F238E27FC236}">
                  <a16:creationId xmlns:a16="http://schemas.microsoft.com/office/drawing/2014/main" id="{08696381-1BFB-47EF-B708-CF6169A9ED31}"/>
                </a:ext>
              </a:extLst>
            </p:cNvPr>
            <p:cNvSpPr/>
            <p:nvPr/>
          </p:nvSpPr>
          <p:spPr>
            <a:xfrm flipH="1">
              <a:off x="6529198" y="5579855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6" name="任意多边形: 形状 455">
              <a:extLst>
                <a:ext uri="{FF2B5EF4-FFF2-40B4-BE49-F238E27FC236}">
                  <a16:creationId xmlns:a16="http://schemas.microsoft.com/office/drawing/2014/main" id="{B59179DE-3992-4438-BEF4-8062EFEB3D7B}"/>
                </a:ext>
              </a:extLst>
            </p:cNvPr>
            <p:cNvSpPr/>
            <p:nvPr/>
          </p:nvSpPr>
          <p:spPr>
            <a:xfrm flipH="1">
              <a:off x="6528564" y="5512509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7" name="任意多边形: 形状 456">
              <a:extLst>
                <a:ext uri="{FF2B5EF4-FFF2-40B4-BE49-F238E27FC236}">
                  <a16:creationId xmlns:a16="http://schemas.microsoft.com/office/drawing/2014/main" id="{8EE79A87-0399-4096-A698-84B8270B0E63}"/>
                </a:ext>
              </a:extLst>
            </p:cNvPr>
            <p:cNvSpPr/>
            <p:nvPr/>
          </p:nvSpPr>
          <p:spPr>
            <a:xfrm flipH="1">
              <a:off x="6529176" y="5493251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8" name="任意多边形: 形状 457">
              <a:extLst>
                <a:ext uri="{FF2B5EF4-FFF2-40B4-BE49-F238E27FC236}">
                  <a16:creationId xmlns:a16="http://schemas.microsoft.com/office/drawing/2014/main" id="{D20E5020-2D93-455C-BAEA-C6F5A3D0DF34}"/>
                </a:ext>
              </a:extLst>
            </p:cNvPr>
            <p:cNvSpPr/>
            <p:nvPr/>
          </p:nvSpPr>
          <p:spPr>
            <a:xfrm flipH="1">
              <a:off x="6528564" y="5425902"/>
              <a:ext cx="402101" cy="30931"/>
            </a:xfrm>
            <a:custGeom>
              <a:avLst/>
              <a:gdLst>
                <a:gd name="connsiteX0" fmla="*/ 0 w 402100"/>
                <a:gd name="connsiteY0" fmla="*/ 18559 h 0"/>
                <a:gd name="connsiteX1" fmla="*/ 405194 w 402100"/>
                <a:gd name="connsiteY1" fmla="*/ 0 h 0"/>
                <a:gd name="connsiteX2" fmla="*/ 0 w 402100"/>
                <a:gd name="connsiteY2" fmla="*/ 18559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9"/>
                  </a:moveTo>
                  <a:lnTo>
                    <a:pt x="405194" y="0"/>
                  </a:lnTo>
                  <a:lnTo>
                    <a:pt x="0" y="18559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9" name="任意多边形: 形状 458">
              <a:extLst>
                <a:ext uri="{FF2B5EF4-FFF2-40B4-BE49-F238E27FC236}">
                  <a16:creationId xmlns:a16="http://schemas.microsoft.com/office/drawing/2014/main" id="{7C6CB4B5-ECCA-483C-837B-C3FDC1A59FB3}"/>
                </a:ext>
              </a:extLst>
            </p:cNvPr>
            <p:cNvSpPr/>
            <p:nvPr/>
          </p:nvSpPr>
          <p:spPr>
            <a:xfrm flipH="1">
              <a:off x="6529153" y="5406643"/>
              <a:ext cx="402101" cy="30931"/>
            </a:xfrm>
            <a:custGeom>
              <a:avLst/>
              <a:gdLst>
                <a:gd name="connsiteX0" fmla="*/ 0 w 402100"/>
                <a:gd name="connsiteY0" fmla="*/ 19821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5 w 402100"/>
                <a:gd name="connsiteY3" fmla="*/ 5380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21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5" y="53804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0" name="任意多边形: 形状 459">
              <a:extLst>
                <a:ext uri="{FF2B5EF4-FFF2-40B4-BE49-F238E27FC236}">
                  <a16:creationId xmlns:a16="http://schemas.microsoft.com/office/drawing/2014/main" id="{CBE04C21-E743-4A08-8F65-AF7F808A0770}"/>
                </a:ext>
              </a:extLst>
            </p:cNvPr>
            <p:cNvSpPr/>
            <p:nvPr/>
          </p:nvSpPr>
          <p:spPr>
            <a:xfrm flipH="1">
              <a:off x="6528564" y="5336203"/>
              <a:ext cx="402101" cy="30931"/>
            </a:xfrm>
            <a:custGeom>
              <a:avLst/>
              <a:gdLst>
                <a:gd name="connsiteX0" fmla="*/ 0 w 402100"/>
                <a:gd name="connsiteY0" fmla="*/ 18558 h 0"/>
                <a:gd name="connsiteX1" fmla="*/ 405194 w 402100"/>
                <a:gd name="connsiteY1" fmla="*/ 0 h 0"/>
                <a:gd name="connsiteX2" fmla="*/ 0 w 402100"/>
                <a:gd name="connsiteY2" fmla="*/ 18558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2100">
                  <a:moveTo>
                    <a:pt x="0" y="18558"/>
                  </a:moveTo>
                  <a:lnTo>
                    <a:pt x="405194" y="0"/>
                  </a:lnTo>
                  <a:lnTo>
                    <a:pt x="0" y="18558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1" name="任意多边形: 形状 460">
              <a:extLst>
                <a:ext uri="{FF2B5EF4-FFF2-40B4-BE49-F238E27FC236}">
                  <a16:creationId xmlns:a16="http://schemas.microsoft.com/office/drawing/2014/main" id="{93C14E4E-D612-4576-AC07-A4B13F755D0A}"/>
                </a:ext>
              </a:extLst>
            </p:cNvPr>
            <p:cNvSpPr/>
            <p:nvPr/>
          </p:nvSpPr>
          <p:spPr>
            <a:xfrm flipH="1">
              <a:off x="6529131" y="5320035"/>
              <a:ext cx="402101" cy="30931"/>
            </a:xfrm>
            <a:custGeom>
              <a:avLst/>
              <a:gdLst>
                <a:gd name="connsiteX0" fmla="*/ 0 w 402100"/>
                <a:gd name="connsiteY0" fmla="*/ 19817 h 30930"/>
                <a:gd name="connsiteX1" fmla="*/ 404708 w 402100"/>
                <a:gd name="connsiteY1" fmla="*/ 0 h 30930"/>
                <a:gd name="connsiteX2" fmla="*/ 406372 w 402100"/>
                <a:gd name="connsiteY2" fmla="*/ 33983 h 30930"/>
                <a:gd name="connsiteX3" fmla="*/ 1664 w 402100"/>
                <a:gd name="connsiteY3" fmla="*/ 5380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2100" h="30930">
                  <a:moveTo>
                    <a:pt x="0" y="19817"/>
                  </a:moveTo>
                  <a:lnTo>
                    <a:pt x="404708" y="0"/>
                  </a:lnTo>
                  <a:lnTo>
                    <a:pt x="406372" y="33983"/>
                  </a:lnTo>
                  <a:lnTo>
                    <a:pt x="1664" y="5380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2" name="任意多边形: 形状 461">
              <a:extLst>
                <a:ext uri="{FF2B5EF4-FFF2-40B4-BE49-F238E27FC236}">
                  <a16:creationId xmlns:a16="http://schemas.microsoft.com/office/drawing/2014/main" id="{25AB1F27-D52B-4C0F-907C-DF71D79E018C}"/>
                </a:ext>
              </a:extLst>
            </p:cNvPr>
            <p:cNvSpPr/>
            <p:nvPr/>
          </p:nvSpPr>
          <p:spPr>
            <a:xfrm flipH="1">
              <a:off x="6766732" y="4869148"/>
              <a:ext cx="587686" cy="1886781"/>
            </a:xfrm>
            <a:custGeom>
              <a:avLst/>
              <a:gdLst>
                <a:gd name="connsiteX0" fmla="*/ 0 w 587685"/>
                <a:gd name="connsiteY0" fmla="*/ 0 h 1886780"/>
                <a:gd name="connsiteX1" fmla="*/ 612431 w 587685"/>
                <a:gd name="connsiteY1" fmla="*/ 83513 h 1886780"/>
                <a:gd name="connsiteX2" fmla="*/ 612431 w 587685"/>
                <a:gd name="connsiteY2" fmla="*/ 1911525 h 1886780"/>
                <a:gd name="connsiteX3" fmla="*/ 0 w 587685"/>
                <a:gd name="connsiteY3" fmla="*/ 1828012 h 1886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1886780">
                  <a:moveTo>
                    <a:pt x="0" y="0"/>
                  </a:moveTo>
                  <a:lnTo>
                    <a:pt x="612431" y="83513"/>
                  </a:lnTo>
                  <a:lnTo>
                    <a:pt x="612431" y="1911525"/>
                  </a:lnTo>
                  <a:lnTo>
                    <a:pt x="0" y="1828012"/>
                  </a:lnTo>
                  <a:close/>
                </a:path>
              </a:pathLst>
            </a:custGeom>
            <a:solidFill>
              <a:srgbClr val="EBF1F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3" name="任意多边形: 形状 462">
              <a:extLst>
                <a:ext uri="{FF2B5EF4-FFF2-40B4-BE49-F238E27FC236}">
                  <a16:creationId xmlns:a16="http://schemas.microsoft.com/office/drawing/2014/main" id="{D19E8292-2F19-4EF4-98F9-3436CBBC1A39}"/>
                </a:ext>
              </a:extLst>
            </p:cNvPr>
            <p:cNvSpPr/>
            <p:nvPr/>
          </p:nvSpPr>
          <p:spPr>
            <a:xfrm flipH="1">
              <a:off x="6766732" y="6610553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4" name="任意多边形: 形状 463">
              <a:extLst>
                <a:ext uri="{FF2B5EF4-FFF2-40B4-BE49-F238E27FC236}">
                  <a16:creationId xmlns:a16="http://schemas.microsoft.com/office/drawing/2014/main" id="{805A5933-CEAB-4DB7-9523-015F3FF8F74A}"/>
                </a:ext>
              </a:extLst>
            </p:cNvPr>
            <p:cNvSpPr/>
            <p:nvPr/>
          </p:nvSpPr>
          <p:spPr>
            <a:xfrm flipH="1">
              <a:off x="6766249" y="6591610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5" name="任意多边形: 形状 464">
              <a:extLst>
                <a:ext uri="{FF2B5EF4-FFF2-40B4-BE49-F238E27FC236}">
                  <a16:creationId xmlns:a16="http://schemas.microsoft.com/office/drawing/2014/main" id="{9AA72A9A-C1E1-49AE-BE9B-AFEA23678CC1}"/>
                </a:ext>
              </a:extLst>
            </p:cNvPr>
            <p:cNvSpPr/>
            <p:nvPr/>
          </p:nvSpPr>
          <p:spPr>
            <a:xfrm flipH="1">
              <a:off x="6766732" y="6520854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6" name="任意多边形: 形状 465">
              <a:extLst>
                <a:ext uri="{FF2B5EF4-FFF2-40B4-BE49-F238E27FC236}">
                  <a16:creationId xmlns:a16="http://schemas.microsoft.com/office/drawing/2014/main" id="{413B327E-5B38-485B-940C-9CE70342A5A3}"/>
                </a:ext>
              </a:extLst>
            </p:cNvPr>
            <p:cNvSpPr/>
            <p:nvPr/>
          </p:nvSpPr>
          <p:spPr>
            <a:xfrm flipH="1">
              <a:off x="6768840" y="6504145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7" name="任意多边形: 形状 466">
              <a:extLst>
                <a:ext uri="{FF2B5EF4-FFF2-40B4-BE49-F238E27FC236}">
                  <a16:creationId xmlns:a16="http://schemas.microsoft.com/office/drawing/2014/main" id="{9EA479D8-58C0-4761-8739-F4C6A51C8D32}"/>
                </a:ext>
              </a:extLst>
            </p:cNvPr>
            <p:cNvSpPr/>
            <p:nvPr/>
          </p:nvSpPr>
          <p:spPr>
            <a:xfrm flipH="1">
              <a:off x="6766732" y="6434248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8" name="任意多边形: 形状 467">
              <a:extLst>
                <a:ext uri="{FF2B5EF4-FFF2-40B4-BE49-F238E27FC236}">
                  <a16:creationId xmlns:a16="http://schemas.microsoft.com/office/drawing/2014/main" id="{4D639E1E-56D3-4DB7-843E-4D3EEA9E4B7F}"/>
                </a:ext>
              </a:extLst>
            </p:cNvPr>
            <p:cNvSpPr/>
            <p:nvPr/>
          </p:nvSpPr>
          <p:spPr>
            <a:xfrm flipH="1">
              <a:off x="6768317" y="6417199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9" name="任意多边形: 形状 468">
              <a:extLst>
                <a:ext uri="{FF2B5EF4-FFF2-40B4-BE49-F238E27FC236}">
                  <a16:creationId xmlns:a16="http://schemas.microsoft.com/office/drawing/2014/main" id="{D7774BB3-D3B7-414A-B9ED-BBF059A5EA5C}"/>
                </a:ext>
              </a:extLst>
            </p:cNvPr>
            <p:cNvSpPr/>
            <p:nvPr/>
          </p:nvSpPr>
          <p:spPr>
            <a:xfrm flipH="1">
              <a:off x="6766732" y="6347641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0" name="任意多边形: 形状 469">
              <a:extLst>
                <a:ext uri="{FF2B5EF4-FFF2-40B4-BE49-F238E27FC236}">
                  <a16:creationId xmlns:a16="http://schemas.microsoft.com/office/drawing/2014/main" id="{45C73D07-D6CF-4774-BFDA-63E8BB062B9B}"/>
                </a:ext>
              </a:extLst>
            </p:cNvPr>
            <p:cNvSpPr/>
            <p:nvPr/>
          </p:nvSpPr>
          <p:spPr>
            <a:xfrm flipH="1">
              <a:off x="6767930" y="6330159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1" name="任意多边形: 形状 470">
              <a:extLst>
                <a:ext uri="{FF2B5EF4-FFF2-40B4-BE49-F238E27FC236}">
                  <a16:creationId xmlns:a16="http://schemas.microsoft.com/office/drawing/2014/main" id="{8810F709-8EDA-4106-8EFA-37965A895E2B}"/>
                </a:ext>
              </a:extLst>
            </p:cNvPr>
            <p:cNvSpPr/>
            <p:nvPr/>
          </p:nvSpPr>
          <p:spPr>
            <a:xfrm flipH="1">
              <a:off x="6766732" y="6261035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2" name="任意多边形: 形状 471">
              <a:extLst>
                <a:ext uri="{FF2B5EF4-FFF2-40B4-BE49-F238E27FC236}">
                  <a16:creationId xmlns:a16="http://schemas.microsoft.com/office/drawing/2014/main" id="{B65E0400-396D-4AAB-9FDF-69B7E63D7BE6}"/>
                </a:ext>
              </a:extLst>
            </p:cNvPr>
            <p:cNvSpPr/>
            <p:nvPr/>
          </p:nvSpPr>
          <p:spPr>
            <a:xfrm flipH="1">
              <a:off x="6767469" y="6243151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3" name="任意多边形: 形状 472">
              <a:extLst>
                <a:ext uri="{FF2B5EF4-FFF2-40B4-BE49-F238E27FC236}">
                  <a16:creationId xmlns:a16="http://schemas.microsoft.com/office/drawing/2014/main" id="{E76F7E54-FFE2-4E7C-A273-7FD4A06432EF}"/>
                </a:ext>
              </a:extLst>
            </p:cNvPr>
            <p:cNvSpPr/>
            <p:nvPr/>
          </p:nvSpPr>
          <p:spPr>
            <a:xfrm flipH="1">
              <a:off x="6766732" y="6174429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4" name="任意多边形: 形状 473">
              <a:extLst>
                <a:ext uri="{FF2B5EF4-FFF2-40B4-BE49-F238E27FC236}">
                  <a16:creationId xmlns:a16="http://schemas.microsoft.com/office/drawing/2014/main" id="{59BD38B6-A44C-492A-81F2-251D696A9696}"/>
                </a:ext>
              </a:extLst>
            </p:cNvPr>
            <p:cNvSpPr/>
            <p:nvPr/>
          </p:nvSpPr>
          <p:spPr>
            <a:xfrm flipH="1">
              <a:off x="6767012" y="6156142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5" name="任意多边形: 形状 474">
              <a:extLst>
                <a:ext uri="{FF2B5EF4-FFF2-40B4-BE49-F238E27FC236}">
                  <a16:creationId xmlns:a16="http://schemas.microsoft.com/office/drawing/2014/main" id="{EC326C0E-8C65-48AC-A7E8-FCDDA67BA200}"/>
                </a:ext>
              </a:extLst>
            </p:cNvPr>
            <p:cNvSpPr/>
            <p:nvPr/>
          </p:nvSpPr>
          <p:spPr>
            <a:xfrm flipH="1">
              <a:off x="6766732" y="6087822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6" name="任意多边形: 形状 475">
              <a:extLst>
                <a:ext uri="{FF2B5EF4-FFF2-40B4-BE49-F238E27FC236}">
                  <a16:creationId xmlns:a16="http://schemas.microsoft.com/office/drawing/2014/main" id="{6839D892-997A-42EF-A532-E044CBBA9A79}"/>
                </a:ext>
              </a:extLst>
            </p:cNvPr>
            <p:cNvSpPr/>
            <p:nvPr/>
          </p:nvSpPr>
          <p:spPr>
            <a:xfrm flipH="1">
              <a:off x="6766557" y="6069134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7" name="任意多边形: 形状 476">
              <a:extLst>
                <a:ext uri="{FF2B5EF4-FFF2-40B4-BE49-F238E27FC236}">
                  <a16:creationId xmlns:a16="http://schemas.microsoft.com/office/drawing/2014/main" id="{C31CCE1B-E377-4F10-A030-B2024A77B41B}"/>
                </a:ext>
              </a:extLst>
            </p:cNvPr>
            <p:cNvSpPr/>
            <p:nvPr/>
          </p:nvSpPr>
          <p:spPr>
            <a:xfrm flipH="1">
              <a:off x="6766732" y="6001216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8" name="任意多边形: 形状 477">
              <a:extLst>
                <a:ext uri="{FF2B5EF4-FFF2-40B4-BE49-F238E27FC236}">
                  <a16:creationId xmlns:a16="http://schemas.microsoft.com/office/drawing/2014/main" id="{B12344FF-F766-4FDF-9F7D-CF9ABF6D935A}"/>
                </a:ext>
              </a:extLst>
            </p:cNvPr>
            <p:cNvSpPr/>
            <p:nvPr/>
          </p:nvSpPr>
          <p:spPr>
            <a:xfrm flipH="1">
              <a:off x="6766084" y="5982125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9" name="任意多边形: 形状 478">
              <a:extLst>
                <a:ext uri="{FF2B5EF4-FFF2-40B4-BE49-F238E27FC236}">
                  <a16:creationId xmlns:a16="http://schemas.microsoft.com/office/drawing/2014/main" id="{29F4493F-0B80-4548-8239-F33714D7FA1D}"/>
                </a:ext>
              </a:extLst>
            </p:cNvPr>
            <p:cNvSpPr/>
            <p:nvPr/>
          </p:nvSpPr>
          <p:spPr>
            <a:xfrm flipH="1">
              <a:off x="6766732" y="5911517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0" name="任意多边形: 形状 479">
              <a:extLst>
                <a:ext uri="{FF2B5EF4-FFF2-40B4-BE49-F238E27FC236}">
                  <a16:creationId xmlns:a16="http://schemas.microsoft.com/office/drawing/2014/main" id="{6C2BF5CD-2DF8-4DAB-BCCC-C8BB263CD6A5}"/>
                </a:ext>
              </a:extLst>
            </p:cNvPr>
            <p:cNvSpPr/>
            <p:nvPr/>
          </p:nvSpPr>
          <p:spPr>
            <a:xfrm flipH="1">
              <a:off x="6768696" y="5894692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1" name="任意多边形: 形状 480">
              <a:extLst>
                <a:ext uri="{FF2B5EF4-FFF2-40B4-BE49-F238E27FC236}">
                  <a16:creationId xmlns:a16="http://schemas.microsoft.com/office/drawing/2014/main" id="{C88CD254-C7C9-4135-AE9D-153ED2EC1F8E}"/>
                </a:ext>
              </a:extLst>
            </p:cNvPr>
            <p:cNvSpPr/>
            <p:nvPr/>
          </p:nvSpPr>
          <p:spPr>
            <a:xfrm flipH="1">
              <a:off x="6766732" y="5824910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2" name="任意多边形: 形状 481">
              <a:extLst>
                <a:ext uri="{FF2B5EF4-FFF2-40B4-BE49-F238E27FC236}">
                  <a16:creationId xmlns:a16="http://schemas.microsoft.com/office/drawing/2014/main" id="{D198DF2C-8604-4D54-ABFA-F7FC90123712}"/>
                </a:ext>
              </a:extLst>
            </p:cNvPr>
            <p:cNvSpPr/>
            <p:nvPr/>
          </p:nvSpPr>
          <p:spPr>
            <a:xfrm flipH="1">
              <a:off x="6768238" y="5807683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3" name="任意多边形: 形状 482">
              <a:extLst>
                <a:ext uri="{FF2B5EF4-FFF2-40B4-BE49-F238E27FC236}">
                  <a16:creationId xmlns:a16="http://schemas.microsoft.com/office/drawing/2014/main" id="{2D82107A-DF6A-48DA-BF93-B4091A423A42}"/>
                </a:ext>
              </a:extLst>
            </p:cNvPr>
            <p:cNvSpPr/>
            <p:nvPr/>
          </p:nvSpPr>
          <p:spPr>
            <a:xfrm flipH="1">
              <a:off x="6766732" y="5738304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4" name="任意多边形: 形状 483">
              <a:extLst>
                <a:ext uri="{FF2B5EF4-FFF2-40B4-BE49-F238E27FC236}">
                  <a16:creationId xmlns:a16="http://schemas.microsoft.com/office/drawing/2014/main" id="{B696BB5D-F5D0-4F1C-A4A6-90DBF14A5FFA}"/>
                </a:ext>
              </a:extLst>
            </p:cNvPr>
            <p:cNvSpPr/>
            <p:nvPr/>
          </p:nvSpPr>
          <p:spPr>
            <a:xfrm flipH="1">
              <a:off x="6767777" y="5720675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5" name="任意多边形: 形状 484">
              <a:extLst>
                <a:ext uri="{FF2B5EF4-FFF2-40B4-BE49-F238E27FC236}">
                  <a16:creationId xmlns:a16="http://schemas.microsoft.com/office/drawing/2014/main" id="{21FAEDCC-A184-40C2-A204-008FF39B7A4C}"/>
                </a:ext>
              </a:extLst>
            </p:cNvPr>
            <p:cNvSpPr/>
            <p:nvPr/>
          </p:nvSpPr>
          <p:spPr>
            <a:xfrm flipH="1">
              <a:off x="6766732" y="5651698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6" name="任意多边形: 形状 485">
              <a:extLst>
                <a:ext uri="{FF2B5EF4-FFF2-40B4-BE49-F238E27FC236}">
                  <a16:creationId xmlns:a16="http://schemas.microsoft.com/office/drawing/2014/main" id="{DFC7D94B-AF0F-47CA-B20D-E39438BA22A9}"/>
                </a:ext>
              </a:extLst>
            </p:cNvPr>
            <p:cNvSpPr/>
            <p:nvPr/>
          </p:nvSpPr>
          <p:spPr>
            <a:xfrm flipH="1">
              <a:off x="6767322" y="5633666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7" name="任意多边形: 形状 486">
              <a:extLst>
                <a:ext uri="{FF2B5EF4-FFF2-40B4-BE49-F238E27FC236}">
                  <a16:creationId xmlns:a16="http://schemas.microsoft.com/office/drawing/2014/main" id="{D8B6876B-5666-4927-8FDE-F64C6DBC33C1}"/>
                </a:ext>
              </a:extLst>
            </p:cNvPr>
            <p:cNvSpPr/>
            <p:nvPr/>
          </p:nvSpPr>
          <p:spPr>
            <a:xfrm flipH="1">
              <a:off x="6766732" y="5565091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8" name="任意多边形: 形状 487">
              <a:extLst>
                <a:ext uri="{FF2B5EF4-FFF2-40B4-BE49-F238E27FC236}">
                  <a16:creationId xmlns:a16="http://schemas.microsoft.com/office/drawing/2014/main" id="{B95E4FB7-9941-4FDB-BDE8-46592CB0C7E9}"/>
                </a:ext>
              </a:extLst>
            </p:cNvPr>
            <p:cNvSpPr/>
            <p:nvPr/>
          </p:nvSpPr>
          <p:spPr>
            <a:xfrm flipH="1">
              <a:off x="6766865" y="5546658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9" name="任意多边形: 形状 488">
              <a:extLst>
                <a:ext uri="{FF2B5EF4-FFF2-40B4-BE49-F238E27FC236}">
                  <a16:creationId xmlns:a16="http://schemas.microsoft.com/office/drawing/2014/main" id="{8E59C329-DFFA-49CD-82DE-F3DA64CAD636}"/>
                </a:ext>
              </a:extLst>
            </p:cNvPr>
            <p:cNvSpPr/>
            <p:nvPr/>
          </p:nvSpPr>
          <p:spPr>
            <a:xfrm flipH="1">
              <a:off x="6766732" y="5478485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0" name="任意多边形: 形状 489">
              <a:extLst>
                <a:ext uri="{FF2B5EF4-FFF2-40B4-BE49-F238E27FC236}">
                  <a16:creationId xmlns:a16="http://schemas.microsoft.com/office/drawing/2014/main" id="{9D547342-181F-43AB-81B8-F1AB999C0E15}"/>
                </a:ext>
              </a:extLst>
            </p:cNvPr>
            <p:cNvSpPr/>
            <p:nvPr/>
          </p:nvSpPr>
          <p:spPr>
            <a:xfrm flipH="1">
              <a:off x="6766395" y="5459650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1" name="任意多边形: 形状 490">
              <a:extLst>
                <a:ext uri="{FF2B5EF4-FFF2-40B4-BE49-F238E27FC236}">
                  <a16:creationId xmlns:a16="http://schemas.microsoft.com/office/drawing/2014/main" id="{43B6A418-027D-4108-ACFE-12463466B874}"/>
                </a:ext>
              </a:extLst>
            </p:cNvPr>
            <p:cNvSpPr/>
            <p:nvPr/>
          </p:nvSpPr>
          <p:spPr>
            <a:xfrm flipH="1">
              <a:off x="6766732" y="5388785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2" name="任意多边形: 形状 491">
              <a:extLst>
                <a:ext uri="{FF2B5EF4-FFF2-40B4-BE49-F238E27FC236}">
                  <a16:creationId xmlns:a16="http://schemas.microsoft.com/office/drawing/2014/main" id="{49D657C5-8FA1-4A72-8F47-C6401A2F3440}"/>
                </a:ext>
              </a:extLst>
            </p:cNvPr>
            <p:cNvSpPr/>
            <p:nvPr/>
          </p:nvSpPr>
          <p:spPr>
            <a:xfrm flipH="1">
              <a:off x="6769004" y="5372216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3" name="任意多边形: 形状 492">
              <a:extLst>
                <a:ext uri="{FF2B5EF4-FFF2-40B4-BE49-F238E27FC236}">
                  <a16:creationId xmlns:a16="http://schemas.microsoft.com/office/drawing/2014/main" id="{B4A82906-55E1-4956-970E-E7CA3E41882D}"/>
                </a:ext>
              </a:extLst>
            </p:cNvPr>
            <p:cNvSpPr/>
            <p:nvPr/>
          </p:nvSpPr>
          <p:spPr>
            <a:xfrm flipH="1">
              <a:off x="6766732" y="5302179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4" name="任意多边形: 形状 493">
              <a:extLst>
                <a:ext uri="{FF2B5EF4-FFF2-40B4-BE49-F238E27FC236}">
                  <a16:creationId xmlns:a16="http://schemas.microsoft.com/office/drawing/2014/main" id="{50E9FC61-EDB7-4737-85C7-51A01A6976E6}"/>
                </a:ext>
              </a:extLst>
            </p:cNvPr>
            <p:cNvSpPr/>
            <p:nvPr/>
          </p:nvSpPr>
          <p:spPr>
            <a:xfrm flipH="1">
              <a:off x="6768546" y="5285207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5" name="任意多边形: 形状 494">
              <a:extLst>
                <a:ext uri="{FF2B5EF4-FFF2-40B4-BE49-F238E27FC236}">
                  <a16:creationId xmlns:a16="http://schemas.microsoft.com/office/drawing/2014/main" id="{E87E2BE4-70A5-447C-A349-A6244D23608C}"/>
                </a:ext>
              </a:extLst>
            </p:cNvPr>
            <p:cNvSpPr/>
            <p:nvPr/>
          </p:nvSpPr>
          <p:spPr>
            <a:xfrm flipH="1">
              <a:off x="6766732" y="5215573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6" name="任意多边形: 形状 495">
              <a:extLst>
                <a:ext uri="{FF2B5EF4-FFF2-40B4-BE49-F238E27FC236}">
                  <a16:creationId xmlns:a16="http://schemas.microsoft.com/office/drawing/2014/main" id="{D3C2CBC5-74B0-4CD2-8F7B-DF6E48B2054A}"/>
                </a:ext>
              </a:extLst>
            </p:cNvPr>
            <p:cNvSpPr/>
            <p:nvPr/>
          </p:nvSpPr>
          <p:spPr>
            <a:xfrm flipH="1">
              <a:off x="6768085" y="5198199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7" name="任意多边形: 形状 496">
              <a:extLst>
                <a:ext uri="{FF2B5EF4-FFF2-40B4-BE49-F238E27FC236}">
                  <a16:creationId xmlns:a16="http://schemas.microsoft.com/office/drawing/2014/main" id="{6CC1FCC4-8A73-4E0E-B0E3-AB6399E168BC}"/>
                </a:ext>
              </a:extLst>
            </p:cNvPr>
            <p:cNvSpPr/>
            <p:nvPr/>
          </p:nvSpPr>
          <p:spPr>
            <a:xfrm flipH="1">
              <a:off x="6766732" y="5128966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8" name="任意多边形: 形状 497">
              <a:extLst>
                <a:ext uri="{FF2B5EF4-FFF2-40B4-BE49-F238E27FC236}">
                  <a16:creationId xmlns:a16="http://schemas.microsoft.com/office/drawing/2014/main" id="{086B18EB-4318-475D-BF7E-8CB202426374}"/>
                </a:ext>
              </a:extLst>
            </p:cNvPr>
            <p:cNvSpPr/>
            <p:nvPr/>
          </p:nvSpPr>
          <p:spPr>
            <a:xfrm flipH="1">
              <a:off x="6767630" y="5111191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5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5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9" name="任意多边形: 形状 498">
              <a:extLst>
                <a:ext uri="{FF2B5EF4-FFF2-40B4-BE49-F238E27FC236}">
                  <a16:creationId xmlns:a16="http://schemas.microsoft.com/office/drawing/2014/main" id="{D461CAD4-2E75-4162-A62E-EDCC69F858F4}"/>
                </a:ext>
              </a:extLst>
            </p:cNvPr>
            <p:cNvSpPr/>
            <p:nvPr/>
          </p:nvSpPr>
          <p:spPr>
            <a:xfrm flipH="1">
              <a:off x="6766732" y="5042360"/>
              <a:ext cx="587686" cy="61862"/>
            </a:xfrm>
            <a:custGeom>
              <a:avLst/>
              <a:gdLst>
                <a:gd name="connsiteX0" fmla="*/ 0 w 587685"/>
                <a:gd name="connsiteY0" fmla="*/ 0 h 61861"/>
                <a:gd name="connsiteX1" fmla="*/ 609338 w 587685"/>
                <a:gd name="connsiteY1" fmla="*/ 83513 h 61861"/>
                <a:gd name="connsiteX2" fmla="*/ 0 w 587685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685" h="61861">
                  <a:moveTo>
                    <a:pt x="0" y="0"/>
                  </a:moveTo>
                  <a:lnTo>
                    <a:pt x="609338" y="835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0" name="任意多边形: 形状 499">
              <a:extLst>
                <a:ext uri="{FF2B5EF4-FFF2-40B4-BE49-F238E27FC236}">
                  <a16:creationId xmlns:a16="http://schemas.microsoft.com/office/drawing/2014/main" id="{9898E283-5F12-47E5-97B6-5409DDC27EFC}"/>
                </a:ext>
              </a:extLst>
            </p:cNvPr>
            <p:cNvSpPr/>
            <p:nvPr/>
          </p:nvSpPr>
          <p:spPr>
            <a:xfrm flipH="1">
              <a:off x="6767148" y="5024213"/>
              <a:ext cx="587686" cy="92792"/>
            </a:xfrm>
            <a:custGeom>
              <a:avLst/>
              <a:gdLst>
                <a:gd name="connsiteX0" fmla="*/ 0 w 587685"/>
                <a:gd name="connsiteY0" fmla="*/ 33701 h 92792"/>
                <a:gd name="connsiteX1" fmla="*/ 4678 w 587685"/>
                <a:gd name="connsiteY1" fmla="*/ 0 h 92792"/>
                <a:gd name="connsiteX2" fmla="*/ 614354 w 587685"/>
                <a:gd name="connsiteY2" fmla="*/ 84634 h 92792"/>
                <a:gd name="connsiteX3" fmla="*/ 609676 w 587685"/>
                <a:gd name="connsiteY3" fmla="*/ 1183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7685" h="92792">
                  <a:moveTo>
                    <a:pt x="0" y="33701"/>
                  </a:moveTo>
                  <a:lnTo>
                    <a:pt x="4678" y="0"/>
                  </a:lnTo>
                  <a:lnTo>
                    <a:pt x="614354" y="84634"/>
                  </a:lnTo>
                  <a:lnTo>
                    <a:pt x="609676" y="118335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1" name="任意多边形: 形状 500">
              <a:extLst>
                <a:ext uri="{FF2B5EF4-FFF2-40B4-BE49-F238E27FC236}">
                  <a16:creationId xmlns:a16="http://schemas.microsoft.com/office/drawing/2014/main" id="{2EF925CF-1DAF-4AED-BE4D-A724EB710498}"/>
                </a:ext>
              </a:extLst>
            </p:cNvPr>
            <p:cNvSpPr/>
            <p:nvPr/>
          </p:nvSpPr>
          <p:spPr>
            <a:xfrm flipH="1">
              <a:off x="7660632" y="3412305"/>
              <a:ext cx="92793" cy="278377"/>
            </a:xfrm>
            <a:custGeom>
              <a:avLst/>
              <a:gdLst>
                <a:gd name="connsiteX0" fmla="*/ 0 w 92792"/>
                <a:gd name="connsiteY0" fmla="*/ 0 h 278377"/>
                <a:gd name="connsiteX1" fmla="*/ 98979 w 92792"/>
                <a:gd name="connsiteY1" fmla="*/ 0 h 278377"/>
                <a:gd name="connsiteX2" fmla="*/ 98979 w 92792"/>
                <a:gd name="connsiteY2" fmla="*/ 303122 h 278377"/>
                <a:gd name="connsiteX3" fmla="*/ 0 w 92792"/>
                <a:gd name="connsiteY3" fmla="*/ 303122 h 27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792" h="278377">
                  <a:moveTo>
                    <a:pt x="0" y="0"/>
                  </a:moveTo>
                  <a:lnTo>
                    <a:pt x="98979" y="0"/>
                  </a:lnTo>
                  <a:lnTo>
                    <a:pt x="98979" y="303122"/>
                  </a:lnTo>
                  <a:lnTo>
                    <a:pt x="0" y="303122"/>
                  </a:lnTo>
                  <a:close/>
                </a:path>
              </a:pathLst>
            </a:custGeom>
            <a:solidFill>
              <a:srgbClr val="AFAFC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2" name="任意多边形: 形状 501">
              <a:extLst>
                <a:ext uri="{FF2B5EF4-FFF2-40B4-BE49-F238E27FC236}">
                  <a16:creationId xmlns:a16="http://schemas.microsoft.com/office/drawing/2014/main" id="{035581D8-F952-4E60-9437-82B67C6FB674}"/>
                </a:ext>
              </a:extLst>
            </p:cNvPr>
            <p:cNvSpPr/>
            <p:nvPr/>
          </p:nvSpPr>
          <p:spPr>
            <a:xfrm flipH="1">
              <a:off x="7407000" y="3412305"/>
              <a:ext cx="247447" cy="340239"/>
            </a:xfrm>
            <a:custGeom>
              <a:avLst/>
              <a:gdLst>
                <a:gd name="connsiteX0" fmla="*/ 275285 w 247446"/>
                <a:gd name="connsiteY0" fmla="*/ 343332 h 340239"/>
                <a:gd name="connsiteX1" fmla="*/ 0 w 247446"/>
                <a:gd name="connsiteY1" fmla="*/ 343332 h 340239"/>
                <a:gd name="connsiteX2" fmla="*/ 0 w 247446"/>
                <a:gd name="connsiteY2" fmla="*/ 0 h 340239"/>
                <a:gd name="connsiteX3" fmla="*/ 275285 w 247446"/>
                <a:gd name="connsiteY3" fmla="*/ 34024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340239">
                  <a:moveTo>
                    <a:pt x="275285" y="343332"/>
                  </a:moveTo>
                  <a:lnTo>
                    <a:pt x="0" y="343332"/>
                  </a:lnTo>
                  <a:lnTo>
                    <a:pt x="0" y="0"/>
                  </a:lnTo>
                  <a:lnTo>
                    <a:pt x="275285" y="3402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3" name="任意多边形: 形状 502">
              <a:extLst>
                <a:ext uri="{FF2B5EF4-FFF2-40B4-BE49-F238E27FC236}">
                  <a16:creationId xmlns:a16="http://schemas.microsoft.com/office/drawing/2014/main" id="{114F982C-26A7-4DA1-9B2E-793A9C291D12}"/>
                </a:ext>
              </a:extLst>
            </p:cNvPr>
            <p:cNvSpPr/>
            <p:nvPr/>
          </p:nvSpPr>
          <p:spPr>
            <a:xfrm flipH="1">
              <a:off x="7444117" y="3471074"/>
              <a:ext cx="154654" cy="340239"/>
            </a:xfrm>
            <a:custGeom>
              <a:avLst/>
              <a:gdLst>
                <a:gd name="connsiteX0" fmla="*/ 167026 w 154654"/>
                <a:gd name="connsiteY0" fmla="*/ 346425 h 340239"/>
                <a:gd name="connsiteX1" fmla="*/ 0 w 154654"/>
                <a:gd name="connsiteY1" fmla="*/ 346425 h 340239"/>
                <a:gd name="connsiteX2" fmla="*/ 0 w 154654"/>
                <a:gd name="connsiteY2" fmla="*/ 0 h 340239"/>
                <a:gd name="connsiteX3" fmla="*/ 167026 w 154654"/>
                <a:gd name="connsiteY3" fmla="*/ 34024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340239">
                  <a:moveTo>
                    <a:pt x="167026" y="346425"/>
                  </a:moveTo>
                  <a:lnTo>
                    <a:pt x="0" y="346425"/>
                  </a:lnTo>
                  <a:lnTo>
                    <a:pt x="0" y="0"/>
                  </a:lnTo>
                  <a:lnTo>
                    <a:pt x="167026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4" name="任意多边形: 形状 503">
              <a:extLst>
                <a:ext uri="{FF2B5EF4-FFF2-40B4-BE49-F238E27FC236}">
                  <a16:creationId xmlns:a16="http://schemas.microsoft.com/office/drawing/2014/main" id="{0D602233-24F9-4627-8C08-D8A9A30FF204}"/>
                </a:ext>
              </a:extLst>
            </p:cNvPr>
            <p:cNvSpPr/>
            <p:nvPr/>
          </p:nvSpPr>
          <p:spPr>
            <a:xfrm flipH="1">
              <a:off x="7589492" y="3675217"/>
              <a:ext cx="247447" cy="1515611"/>
            </a:xfrm>
            <a:custGeom>
              <a:avLst/>
              <a:gdLst>
                <a:gd name="connsiteX0" fmla="*/ 0 w 247446"/>
                <a:gd name="connsiteY0" fmla="*/ 0 h 1515610"/>
                <a:gd name="connsiteX1" fmla="*/ 266005 w 247446"/>
                <a:gd name="connsiteY1" fmla="*/ 0 h 1515610"/>
                <a:gd name="connsiteX2" fmla="*/ 266005 w 247446"/>
                <a:gd name="connsiteY2" fmla="*/ 1524890 h 1515610"/>
                <a:gd name="connsiteX3" fmla="*/ 0 w 247446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1515610">
                  <a:moveTo>
                    <a:pt x="0" y="0"/>
                  </a:moveTo>
                  <a:lnTo>
                    <a:pt x="266005" y="0"/>
                  </a:lnTo>
                  <a:lnTo>
                    <a:pt x="266005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5" name="任意多边形: 形状 504">
              <a:extLst>
                <a:ext uri="{FF2B5EF4-FFF2-40B4-BE49-F238E27FC236}">
                  <a16:creationId xmlns:a16="http://schemas.microsoft.com/office/drawing/2014/main" id="{2D222389-FA84-4D30-8814-DC2F70B0201C}"/>
                </a:ext>
              </a:extLst>
            </p:cNvPr>
            <p:cNvSpPr/>
            <p:nvPr/>
          </p:nvSpPr>
          <p:spPr>
            <a:xfrm flipH="1">
              <a:off x="7564747" y="3669031"/>
              <a:ext cx="278378" cy="1515611"/>
            </a:xfrm>
            <a:custGeom>
              <a:avLst/>
              <a:gdLst>
                <a:gd name="connsiteX0" fmla="*/ 278378 w 278377"/>
                <a:gd name="connsiteY0" fmla="*/ 1537262 h 1515610"/>
                <a:gd name="connsiteX1" fmla="*/ 0 w 278377"/>
                <a:gd name="connsiteY1" fmla="*/ 1537262 h 1515610"/>
                <a:gd name="connsiteX2" fmla="*/ 0 w 278377"/>
                <a:gd name="connsiteY2" fmla="*/ 0 h 1515610"/>
                <a:gd name="connsiteX3" fmla="*/ 278378 w 278377"/>
                <a:gd name="connsiteY3" fmla="*/ 0 h 1515610"/>
                <a:gd name="connsiteX4" fmla="*/ 278378 w 278377"/>
                <a:gd name="connsiteY4" fmla="*/ 1537262 h 1515610"/>
                <a:gd name="connsiteX5" fmla="*/ 12372 w 278377"/>
                <a:gd name="connsiteY5" fmla="*/ 1527983 h 1515610"/>
                <a:gd name="connsiteX6" fmla="*/ 266005 w 278377"/>
                <a:gd name="connsiteY6" fmla="*/ 1527983 h 1515610"/>
                <a:gd name="connsiteX7" fmla="*/ 266005 w 278377"/>
                <a:gd name="connsiteY7" fmla="*/ 12372 h 1515610"/>
                <a:gd name="connsiteX8" fmla="*/ 12372 w 278377"/>
                <a:gd name="connsiteY8" fmla="*/ 12372 h 1515610"/>
                <a:gd name="connsiteX9" fmla="*/ 12372 w 278377"/>
                <a:gd name="connsiteY9" fmla="*/ 1527983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77" h="1515610">
                  <a:moveTo>
                    <a:pt x="278378" y="1537262"/>
                  </a:moveTo>
                  <a:lnTo>
                    <a:pt x="0" y="1537262"/>
                  </a:lnTo>
                  <a:lnTo>
                    <a:pt x="0" y="0"/>
                  </a:lnTo>
                  <a:lnTo>
                    <a:pt x="278378" y="0"/>
                  </a:lnTo>
                  <a:lnTo>
                    <a:pt x="278378" y="1537262"/>
                  </a:lnTo>
                  <a:close/>
                  <a:moveTo>
                    <a:pt x="12372" y="1527983"/>
                  </a:moveTo>
                  <a:lnTo>
                    <a:pt x="266005" y="1527983"/>
                  </a:lnTo>
                  <a:lnTo>
                    <a:pt x="266005" y="12372"/>
                  </a:lnTo>
                  <a:lnTo>
                    <a:pt x="12372" y="12372"/>
                  </a:lnTo>
                  <a:lnTo>
                    <a:pt x="12372" y="1527983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6" name="任意多边形: 形状 505">
              <a:extLst>
                <a:ext uri="{FF2B5EF4-FFF2-40B4-BE49-F238E27FC236}">
                  <a16:creationId xmlns:a16="http://schemas.microsoft.com/office/drawing/2014/main" id="{CA557B5D-FB82-487A-9AFC-FEDC53BFD796}"/>
                </a:ext>
              </a:extLst>
            </p:cNvPr>
            <p:cNvSpPr/>
            <p:nvPr/>
          </p:nvSpPr>
          <p:spPr>
            <a:xfrm flipH="1">
              <a:off x="7589492" y="515371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7" name="任意多边形: 形状 506">
              <a:extLst>
                <a:ext uri="{FF2B5EF4-FFF2-40B4-BE49-F238E27FC236}">
                  <a16:creationId xmlns:a16="http://schemas.microsoft.com/office/drawing/2014/main" id="{02DD340B-87D9-4BD5-8662-0399A4E4F8BA}"/>
                </a:ext>
              </a:extLst>
            </p:cNvPr>
            <p:cNvSpPr/>
            <p:nvPr/>
          </p:nvSpPr>
          <p:spPr>
            <a:xfrm flipH="1">
              <a:off x="7589492" y="514752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8" name="任意多边形: 形状 507">
              <a:extLst>
                <a:ext uri="{FF2B5EF4-FFF2-40B4-BE49-F238E27FC236}">
                  <a16:creationId xmlns:a16="http://schemas.microsoft.com/office/drawing/2014/main" id="{4A79139A-4C8B-4EAF-8B41-FB9CFED36386}"/>
                </a:ext>
              </a:extLst>
            </p:cNvPr>
            <p:cNvSpPr/>
            <p:nvPr/>
          </p:nvSpPr>
          <p:spPr>
            <a:xfrm flipH="1">
              <a:off x="7589492" y="510422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9" name="任意多边形: 形状 508">
              <a:extLst>
                <a:ext uri="{FF2B5EF4-FFF2-40B4-BE49-F238E27FC236}">
                  <a16:creationId xmlns:a16="http://schemas.microsoft.com/office/drawing/2014/main" id="{5685226A-239B-4A64-BA85-8DE956A78CB5}"/>
                </a:ext>
              </a:extLst>
            </p:cNvPr>
            <p:cNvSpPr/>
            <p:nvPr/>
          </p:nvSpPr>
          <p:spPr>
            <a:xfrm flipH="1">
              <a:off x="7589492" y="509803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0" name="任意多边形: 形状 509">
              <a:extLst>
                <a:ext uri="{FF2B5EF4-FFF2-40B4-BE49-F238E27FC236}">
                  <a16:creationId xmlns:a16="http://schemas.microsoft.com/office/drawing/2014/main" id="{BE282A8F-855B-4A57-A208-5ABBDC017876}"/>
                </a:ext>
              </a:extLst>
            </p:cNvPr>
            <p:cNvSpPr/>
            <p:nvPr/>
          </p:nvSpPr>
          <p:spPr>
            <a:xfrm flipH="1">
              <a:off x="7589492" y="505473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1" name="任意多边形: 形状 510">
              <a:extLst>
                <a:ext uri="{FF2B5EF4-FFF2-40B4-BE49-F238E27FC236}">
                  <a16:creationId xmlns:a16="http://schemas.microsoft.com/office/drawing/2014/main" id="{9A3D2E97-9D1E-4756-8B9C-7E9597AF2BEB}"/>
                </a:ext>
              </a:extLst>
            </p:cNvPr>
            <p:cNvSpPr/>
            <p:nvPr/>
          </p:nvSpPr>
          <p:spPr>
            <a:xfrm flipH="1">
              <a:off x="7589492" y="50485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2" name="任意多边形: 形状 511">
              <a:extLst>
                <a:ext uri="{FF2B5EF4-FFF2-40B4-BE49-F238E27FC236}">
                  <a16:creationId xmlns:a16="http://schemas.microsoft.com/office/drawing/2014/main" id="{C6A6AEAE-73A3-44DC-993A-D3AE83F4C973}"/>
                </a:ext>
              </a:extLst>
            </p:cNvPr>
            <p:cNvSpPr/>
            <p:nvPr/>
          </p:nvSpPr>
          <p:spPr>
            <a:xfrm flipH="1">
              <a:off x="7589492" y="50052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3" name="任意多边形: 形状 512">
              <a:extLst>
                <a:ext uri="{FF2B5EF4-FFF2-40B4-BE49-F238E27FC236}">
                  <a16:creationId xmlns:a16="http://schemas.microsoft.com/office/drawing/2014/main" id="{F27F57AC-735B-4D15-BD57-1CBFD87E6295}"/>
                </a:ext>
              </a:extLst>
            </p:cNvPr>
            <p:cNvSpPr/>
            <p:nvPr/>
          </p:nvSpPr>
          <p:spPr>
            <a:xfrm flipH="1">
              <a:off x="7589492" y="49990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4" name="任意多边形: 形状 513">
              <a:extLst>
                <a:ext uri="{FF2B5EF4-FFF2-40B4-BE49-F238E27FC236}">
                  <a16:creationId xmlns:a16="http://schemas.microsoft.com/office/drawing/2014/main" id="{2AF74C2D-9BD4-43F4-9597-CC9F80AE6B37}"/>
                </a:ext>
              </a:extLst>
            </p:cNvPr>
            <p:cNvSpPr/>
            <p:nvPr/>
          </p:nvSpPr>
          <p:spPr>
            <a:xfrm flipH="1">
              <a:off x="7589492" y="495575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5" name="任意多边形: 形状 514">
              <a:extLst>
                <a:ext uri="{FF2B5EF4-FFF2-40B4-BE49-F238E27FC236}">
                  <a16:creationId xmlns:a16="http://schemas.microsoft.com/office/drawing/2014/main" id="{D37D6F1A-8CC6-4808-95D9-9E9E6E1D6773}"/>
                </a:ext>
              </a:extLst>
            </p:cNvPr>
            <p:cNvSpPr/>
            <p:nvPr/>
          </p:nvSpPr>
          <p:spPr>
            <a:xfrm flipH="1">
              <a:off x="7589492" y="494956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6" name="任意多边形: 形状 515">
              <a:extLst>
                <a:ext uri="{FF2B5EF4-FFF2-40B4-BE49-F238E27FC236}">
                  <a16:creationId xmlns:a16="http://schemas.microsoft.com/office/drawing/2014/main" id="{08C6E6F1-CD44-4C52-8E4E-C6D32E71AF5C}"/>
                </a:ext>
              </a:extLst>
            </p:cNvPr>
            <p:cNvSpPr/>
            <p:nvPr/>
          </p:nvSpPr>
          <p:spPr>
            <a:xfrm flipH="1">
              <a:off x="7589492" y="490626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7" name="任意多边形: 形状 516">
              <a:extLst>
                <a:ext uri="{FF2B5EF4-FFF2-40B4-BE49-F238E27FC236}">
                  <a16:creationId xmlns:a16="http://schemas.microsoft.com/office/drawing/2014/main" id="{66D8EEB1-2815-44C7-B252-D0EDA5B33720}"/>
                </a:ext>
              </a:extLst>
            </p:cNvPr>
            <p:cNvSpPr/>
            <p:nvPr/>
          </p:nvSpPr>
          <p:spPr>
            <a:xfrm flipH="1">
              <a:off x="7589492" y="49000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8" name="任意多边形: 形状 517">
              <a:extLst>
                <a:ext uri="{FF2B5EF4-FFF2-40B4-BE49-F238E27FC236}">
                  <a16:creationId xmlns:a16="http://schemas.microsoft.com/office/drawing/2014/main" id="{7CE458E9-EC27-4FCF-B593-2CBD60D513D4}"/>
                </a:ext>
              </a:extLst>
            </p:cNvPr>
            <p:cNvSpPr/>
            <p:nvPr/>
          </p:nvSpPr>
          <p:spPr>
            <a:xfrm flipH="1">
              <a:off x="7589492" y="48567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9" name="任意多边形: 形状 518">
              <a:extLst>
                <a:ext uri="{FF2B5EF4-FFF2-40B4-BE49-F238E27FC236}">
                  <a16:creationId xmlns:a16="http://schemas.microsoft.com/office/drawing/2014/main" id="{D0E33827-E62B-48EC-B443-7D1E39A3472D}"/>
                </a:ext>
              </a:extLst>
            </p:cNvPr>
            <p:cNvSpPr/>
            <p:nvPr/>
          </p:nvSpPr>
          <p:spPr>
            <a:xfrm flipH="1">
              <a:off x="7589492" y="48505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0" name="任意多边形: 形状 519">
              <a:extLst>
                <a:ext uri="{FF2B5EF4-FFF2-40B4-BE49-F238E27FC236}">
                  <a16:creationId xmlns:a16="http://schemas.microsoft.com/office/drawing/2014/main" id="{6454A51E-D77F-405D-AFFB-3C0657E483BB}"/>
                </a:ext>
              </a:extLst>
            </p:cNvPr>
            <p:cNvSpPr/>
            <p:nvPr/>
          </p:nvSpPr>
          <p:spPr>
            <a:xfrm flipH="1">
              <a:off x="7589492" y="480728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1" name="任意多边形: 形状 520">
              <a:extLst>
                <a:ext uri="{FF2B5EF4-FFF2-40B4-BE49-F238E27FC236}">
                  <a16:creationId xmlns:a16="http://schemas.microsoft.com/office/drawing/2014/main" id="{587F75DE-1EB9-4F47-ADE3-64825324D492}"/>
                </a:ext>
              </a:extLst>
            </p:cNvPr>
            <p:cNvSpPr/>
            <p:nvPr/>
          </p:nvSpPr>
          <p:spPr>
            <a:xfrm flipH="1">
              <a:off x="7589492" y="480110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2" name="任意多边形: 形状 521">
              <a:extLst>
                <a:ext uri="{FF2B5EF4-FFF2-40B4-BE49-F238E27FC236}">
                  <a16:creationId xmlns:a16="http://schemas.microsoft.com/office/drawing/2014/main" id="{9BDDD74B-9B5A-4846-B526-79435900849E}"/>
                </a:ext>
              </a:extLst>
            </p:cNvPr>
            <p:cNvSpPr/>
            <p:nvPr/>
          </p:nvSpPr>
          <p:spPr>
            <a:xfrm flipH="1">
              <a:off x="7589492" y="475779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3" name="任意多边形: 形状 522">
              <a:extLst>
                <a:ext uri="{FF2B5EF4-FFF2-40B4-BE49-F238E27FC236}">
                  <a16:creationId xmlns:a16="http://schemas.microsoft.com/office/drawing/2014/main" id="{53DF2E25-EE24-49FF-9285-ECA1290D7B54}"/>
                </a:ext>
              </a:extLst>
            </p:cNvPr>
            <p:cNvSpPr/>
            <p:nvPr/>
          </p:nvSpPr>
          <p:spPr>
            <a:xfrm flipH="1">
              <a:off x="7589492" y="475161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4" name="任意多边形: 形状 523">
              <a:extLst>
                <a:ext uri="{FF2B5EF4-FFF2-40B4-BE49-F238E27FC236}">
                  <a16:creationId xmlns:a16="http://schemas.microsoft.com/office/drawing/2014/main" id="{297C561C-3CBB-45FB-9631-A956AA02C8E1}"/>
                </a:ext>
              </a:extLst>
            </p:cNvPr>
            <p:cNvSpPr/>
            <p:nvPr/>
          </p:nvSpPr>
          <p:spPr>
            <a:xfrm flipH="1">
              <a:off x="7589492" y="470830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5" name="任意多边形: 形状 524">
              <a:extLst>
                <a:ext uri="{FF2B5EF4-FFF2-40B4-BE49-F238E27FC236}">
                  <a16:creationId xmlns:a16="http://schemas.microsoft.com/office/drawing/2014/main" id="{CF3C54FD-F5E5-44C6-A385-5F6E260A584F}"/>
                </a:ext>
              </a:extLst>
            </p:cNvPr>
            <p:cNvSpPr/>
            <p:nvPr/>
          </p:nvSpPr>
          <p:spPr>
            <a:xfrm flipH="1">
              <a:off x="7589492" y="470521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6" name="任意多边形: 形状 525">
              <a:extLst>
                <a:ext uri="{FF2B5EF4-FFF2-40B4-BE49-F238E27FC236}">
                  <a16:creationId xmlns:a16="http://schemas.microsoft.com/office/drawing/2014/main" id="{A6985354-57B6-424F-B096-B98B968DB48E}"/>
                </a:ext>
              </a:extLst>
            </p:cNvPr>
            <p:cNvSpPr/>
            <p:nvPr/>
          </p:nvSpPr>
          <p:spPr>
            <a:xfrm flipH="1">
              <a:off x="7589492" y="465881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7" name="任意多边形: 形状 526">
              <a:extLst>
                <a:ext uri="{FF2B5EF4-FFF2-40B4-BE49-F238E27FC236}">
                  <a16:creationId xmlns:a16="http://schemas.microsoft.com/office/drawing/2014/main" id="{A1CE1556-94F8-43AB-884F-1CB22B6C27A8}"/>
                </a:ext>
              </a:extLst>
            </p:cNvPr>
            <p:cNvSpPr/>
            <p:nvPr/>
          </p:nvSpPr>
          <p:spPr>
            <a:xfrm flipH="1">
              <a:off x="7589492" y="465572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8" name="任意多边形: 形状 527">
              <a:extLst>
                <a:ext uri="{FF2B5EF4-FFF2-40B4-BE49-F238E27FC236}">
                  <a16:creationId xmlns:a16="http://schemas.microsoft.com/office/drawing/2014/main" id="{906ACE0C-C24B-48D5-835D-FA053F5DE63A}"/>
                </a:ext>
              </a:extLst>
            </p:cNvPr>
            <p:cNvSpPr/>
            <p:nvPr/>
          </p:nvSpPr>
          <p:spPr>
            <a:xfrm flipH="1">
              <a:off x="7589492" y="461242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9" name="任意多边形: 形状 528">
              <a:extLst>
                <a:ext uri="{FF2B5EF4-FFF2-40B4-BE49-F238E27FC236}">
                  <a16:creationId xmlns:a16="http://schemas.microsoft.com/office/drawing/2014/main" id="{522E49D7-E6F1-4F87-8FF1-CD13575394DF}"/>
                </a:ext>
              </a:extLst>
            </p:cNvPr>
            <p:cNvSpPr/>
            <p:nvPr/>
          </p:nvSpPr>
          <p:spPr>
            <a:xfrm flipH="1">
              <a:off x="7589492" y="460623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0" name="任意多边形: 形状 529">
              <a:extLst>
                <a:ext uri="{FF2B5EF4-FFF2-40B4-BE49-F238E27FC236}">
                  <a16:creationId xmlns:a16="http://schemas.microsoft.com/office/drawing/2014/main" id="{660D9461-103D-4F48-927C-378451E2464F}"/>
                </a:ext>
              </a:extLst>
            </p:cNvPr>
            <p:cNvSpPr/>
            <p:nvPr/>
          </p:nvSpPr>
          <p:spPr>
            <a:xfrm flipH="1">
              <a:off x="7589492" y="456293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1" name="任意多边形: 形状 530">
              <a:extLst>
                <a:ext uri="{FF2B5EF4-FFF2-40B4-BE49-F238E27FC236}">
                  <a16:creationId xmlns:a16="http://schemas.microsoft.com/office/drawing/2014/main" id="{5AD088A0-50AC-4B56-BA43-740D539CCAE4}"/>
                </a:ext>
              </a:extLst>
            </p:cNvPr>
            <p:cNvSpPr/>
            <p:nvPr/>
          </p:nvSpPr>
          <p:spPr>
            <a:xfrm flipH="1">
              <a:off x="7589492" y="45567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2" name="任意多边形: 形状 531">
              <a:extLst>
                <a:ext uri="{FF2B5EF4-FFF2-40B4-BE49-F238E27FC236}">
                  <a16:creationId xmlns:a16="http://schemas.microsoft.com/office/drawing/2014/main" id="{2426AE4D-48F1-4E8B-BD44-B51ED8F62331}"/>
                </a:ext>
              </a:extLst>
            </p:cNvPr>
            <p:cNvSpPr/>
            <p:nvPr/>
          </p:nvSpPr>
          <p:spPr>
            <a:xfrm flipH="1">
              <a:off x="7589492" y="45134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3" name="任意多边形: 形状 532">
              <a:extLst>
                <a:ext uri="{FF2B5EF4-FFF2-40B4-BE49-F238E27FC236}">
                  <a16:creationId xmlns:a16="http://schemas.microsoft.com/office/drawing/2014/main" id="{227D91CF-EAA6-44DA-B986-D2DAEE887617}"/>
                </a:ext>
              </a:extLst>
            </p:cNvPr>
            <p:cNvSpPr/>
            <p:nvPr/>
          </p:nvSpPr>
          <p:spPr>
            <a:xfrm flipH="1">
              <a:off x="7589492" y="45072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4" name="任意多边形: 形状 533">
              <a:extLst>
                <a:ext uri="{FF2B5EF4-FFF2-40B4-BE49-F238E27FC236}">
                  <a16:creationId xmlns:a16="http://schemas.microsoft.com/office/drawing/2014/main" id="{EB5866BD-11C0-4FE4-BF9D-59941C849F4C}"/>
                </a:ext>
              </a:extLst>
            </p:cNvPr>
            <p:cNvSpPr/>
            <p:nvPr/>
          </p:nvSpPr>
          <p:spPr>
            <a:xfrm flipH="1">
              <a:off x="7589492" y="446395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5" name="任意多边形: 形状 534">
              <a:extLst>
                <a:ext uri="{FF2B5EF4-FFF2-40B4-BE49-F238E27FC236}">
                  <a16:creationId xmlns:a16="http://schemas.microsoft.com/office/drawing/2014/main" id="{54695BEA-2307-40EB-A35A-1BFAE8FBF3D2}"/>
                </a:ext>
              </a:extLst>
            </p:cNvPr>
            <p:cNvSpPr/>
            <p:nvPr/>
          </p:nvSpPr>
          <p:spPr>
            <a:xfrm flipH="1">
              <a:off x="7589492" y="445776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6" name="任意多边形: 形状 535">
              <a:extLst>
                <a:ext uri="{FF2B5EF4-FFF2-40B4-BE49-F238E27FC236}">
                  <a16:creationId xmlns:a16="http://schemas.microsoft.com/office/drawing/2014/main" id="{4EE18D78-6D73-4041-981C-FD51575CFC26}"/>
                </a:ext>
              </a:extLst>
            </p:cNvPr>
            <p:cNvSpPr/>
            <p:nvPr/>
          </p:nvSpPr>
          <p:spPr>
            <a:xfrm flipH="1">
              <a:off x="7589492" y="441446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7" name="任意多边形: 形状 536">
              <a:extLst>
                <a:ext uri="{FF2B5EF4-FFF2-40B4-BE49-F238E27FC236}">
                  <a16:creationId xmlns:a16="http://schemas.microsoft.com/office/drawing/2014/main" id="{DF461501-DA74-413B-8479-D0572851AC26}"/>
                </a:ext>
              </a:extLst>
            </p:cNvPr>
            <p:cNvSpPr/>
            <p:nvPr/>
          </p:nvSpPr>
          <p:spPr>
            <a:xfrm flipH="1">
              <a:off x="7589492" y="44082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8" name="任意多边形: 形状 537">
              <a:extLst>
                <a:ext uri="{FF2B5EF4-FFF2-40B4-BE49-F238E27FC236}">
                  <a16:creationId xmlns:a16="http://schemas.microsoft.com/office/drawing/2014/main" id="{DBAD4A90-97BA-4CFF-8E76-E4178E9A444D}"/>
                </a:ext>
              </a:extLst>
            </p:cNvPr>
            <p:cNvSpPr/>
            <p:nvPr/>
          </p:nvSpPr>
          <p:spPr>
            <a:xfrm flipH="1">
              <a:off x="7589492" y="43649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9" name="任意多边形: 形状 538">
              <a:extLst>
                <a:ext uri="{FF2B5EF4-FFF2-40B4-BE49-F238E27FC236}">
                  <a16:creationId xmlns:a16="http://schemas.microsoft.com/office/drawing/2014/main" id="{0AC8096D-990A-4DAE-A864-33E2FAF4E54E}"/>
                </a:ext>
              </a:extLst>
            </p:cNvPr>
            <p:cNvSpPr/>
            <p:nvPr/>
          </p:nvSpPr>
          <p:spPr>
            <a:xfrm flipH="1">
              <a:off x="7589492" y="43587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0" name="任意多边形: 形状 539">
              <a:extLst>
                <a:ext uri="{FF2B5EF4-FFF2-40B4-BE49-F238E27FC236}">
                  <a16:creationId xmlns:a16="http://schemas.microsoft.com/office/drawing/2014/main" id="{519E0FF9-C349-48F8-9335-9702DF120E93}"/>
                </a:ext>
              </a:extLst>
            </p:cNvPr>
            <p:cNvSpPr/>
            <p:nvPr/>
          </p:nvSpPr>
          <p:spPr>
            <a:xfrm flipH="1">
              <a:off x="7589492" y="431548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1" name="任意多边形: 形状 540">
              <a:extLst>
                <a:ext uri="{FF2B5EF4-FFF2-40B4-BE49-F238E27FC236}">
                  <a16:creationId xmlns:a16="http://schemas.microsoft.com/office/drawing/2014/main" id="{0DC9587B-02D7-4E57-BCE5-3A32151931D5}"/>
                </a:ext>
              </a:extLst>
            </p:cNvPr>
            <p:cNvSpPr/>
            <p:nvPr/>
          </p:nvSpPr>
          <p:spPr>
            <a:xfrm flipH="1">
              <a:off x="7589492" y="43092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2" name="任意多边形: 形状 541">
              <a:extLst>
                <a:ext uri="{FF2B5EF4-FFF2-40B4-BE49-F238E27FC236}">
                  <a16:creationId xmlns:a16="http://schemas.microsoft.com/office/drawing/2014/main" id="{E84DC228-51E0-43F6-9296-538EF62CDB96}"/>
                </a:ext>
              </a:extLst>
            </p:cNvPr>
            <p:cNvSpPr/>
            <p:nvPr/>
          </p:nvSpPr>
          <p:spPr>
            <a:xfrm flipH="1">
              <a:off x="7589492" y="426599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3" name="任意多边形: 形状 542">
              <a:extLst>
                <a:ext uri="{FF2B5EF4-FFF2-40B4-BE49-F238E27FC236}">
                  <a16:creationId xmlns:a16="http://schemas.microsoft.com/office/drawing/2014/main" id="{35743A17-A7E0-4C8B-BA5E-7C82EFA8B079}"/>
                </a:ext>
              </a:extLst>
            </p:cNvPr>
            <p:cNvSpPr/>
            <p:nvPr/>
          </p:nvSpPr>
          <p:spPr>
            <a:xfrm flipH="1">
              <a:off x="7589492" y="425981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4" name="任意多边形: 形状 543">
              <a:extLst>
                <a:ext uri="{FF2B5EF4-FFF2-40B4-BE49-F238E27FC236}">
                  <a16:creationId xmlns:a16="http://schemas.microsoft.com/office/drawing/2014/main" id="{1EC8B690-FB4D-40A2-8A3D-751B4879F3B3}"/>
                </a:ext>
              </a:extLst>
            </p:cNvPr>
            <p:cNvSpPr/>
            <p:nvPr/>
          </p:nvSpPr>
          <p:spPr>
            <a:xfrm flipH="1">
              <a:off x="7589492" y="421650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5" name="任意多边形: 形状 544">
              <a:extLst>
                <a:ext uri="{FF2B5EF4-FFF2-40B4-BE49-F238E27FC236}">
                  <a16:creationId xmlns:a16="http://schemas.microsoft.com/office/drawing/2014/main" id="{42B55B86-D5E7-4E15-9BCE-24841147E8E3}"/>
                </a:ext>
              </a:extLst>
            </p:cNvPr>
            <p:cNvSpPr/>
            <p:nvPr/>
          </p:nvSpPr>
          <p:spPr>
            <a:xfrm flipH="1">
              <a:off x="7589492" y="421032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6" name="任意多边形: 形状 545">
              <a:extLst>
                <a:ext uri="{FF2B5EF4-FFF2-40B4-BE49-F238E27FC236}">
                  <a16:creationId xmlns:a16="http://schemas.microsoft.com/office/drawing/2014/main" id="{DEECE119-2879-4766-AD1F-76C4046A5D8A}"/>
                </a:ext>
              </a:extLst>
            </p:cNvPr>
            <p:cNvSpPr/>
            <p:nvPr/>
          </p:nvSpPr>
          <p:spPr>
            <a:xfrm flipH="1">
              <a:off x="7589492" y="416701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7" name="任意多边形: 形状 546">
              <a:extLst>
                <a:ext uri="{FF2B5EF4-FFF2-40B4-BE49-F238E27FC236}">
                  <a16:creationId xmlns:a16="http://schemas.microsoft.com/office/drawing/2014/main" id="{073D4A8F-E5B1-4EF4-8566-B37F7A666299}"/>
                </a:ext>
              </a:extLst>
            </p:cNvPr>
            <p:cNvSpPr/>
            <p:nvPr/>
          </p:nvSpPr>
          <p:spPr>
            <a:xfrm flipH="1">
              <a:off x="7589492" y="416083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8" name="任意多边形: 形状 547">
              <a:extLst>
                <a:ext uri="{FF2B5EF4-FFF2-40B4-BE49-F238E27FC236}">
                  <a16:creationId xmlns:a16="http://schemas.microsoft.com/office/drawing/2014/main" id="{B8C9975E-E9E1-46FE-A0EF-D816215E0B37}"/>
                </a:ext>
              </a:extLst>
            </p:cNvPr>
            <p:cNvSpPr/>
            <p:nvPr/>
          </p:nvSpPr>
          <p:spPr>
            <a:xfrm flipH="1">
              <a:off x="7589492" y="411752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9" name="任意多边形: 形状 548">
              <a:extLst>
                <a:ext uri="{FF2B5EF4-FFF2-40B4-BE49-F238E27FC236}">
                  <a16:creationId xmlns:a16="http://schemas.microsoft.com/office/drawing/2014/main" id="{1818D24F-90AE-4479-AC53-EB53C6AA914D}"/>
                </a:ext>
              </a:extLst>
            </p:cNvPr>
            <p:cNvSpPr/>
            <p:nvPr/>
          </p:nvSpPr>
          <p:spPr>
            <a:xfrm flipH="1">
              <a:off x="7589492" y="4111342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0" name="任意多边形: 形状 549">
              <a:extLst>
                <a:ext uri="{FF2B5EF4-FFF2-40B4-BE49-F238E27FC236}">
                  <a16:creationId xmlns:a16="http://schemas.microsoft.com/office/drawing/2014/main" id="{21042E62-C040-45AB-A634-385DC57CDC21}"/>
                </a:ext>
              </a:extLst>
            </p:cNvPr>
            <p:cNvSpPr/>
            <p:nvPr/>
          </p:nvSpPr>
          <p:spPr>
            <a:xfrm flipH="1">
              <a:off x="7589492" y="406803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1" name="任意多边形: 形状 550">
              <a:extLst>
                <a:ext uri="{FF2B5EF4-FFF2-40B4-BE49-F238E27FC236}">
                  <a16:creationId xmlns:a16="http://schemas.microsoft.com/office/drawing/2014/main" id="{4FB625AF-698E-4DAB-A6BB-6B5CC69D8659}"/>
                </a:ext>
              </a:extLst>
            </p:cNvPr>
            <p:cNvSpPr/>
            <p:nvPr/>
          </p:nvSpPr>
          <p:spPr>
            <a:xfrm flipH="1">
              <a:off x="7589492" y="406494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2" name="任意多边形: 形状 551">
              <a:extLst>
                <a:ext uri="{FF2B5EF4-FFF2-40B4-BE49-F238E27FC236}">
                  <a16:creationId xmlns:a16="http://schemas.microsoft.com/office/drawing/2014/main" id="{46C2326C-CD98-4F20-A976-B768CC525523}"/>
                </a:ext>
              </a:extLst>
            </p:cNvPr>
            <p:cNvSpPr/>
            <p:nvPr/>
          </p:nvSpPr>
          <p:spPr>
            <a:xfrm flipH="1">
              <a:off x="7589492" y="402164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3" name="任意多边形: 形状 552">
              <a:extLst>
                <a:ext uri="{FF2B5EF4-FFF2-40B4-BE49-F238E27FC236}">
                  <a16:creationId xmlns:a16="http://schemas.microsoft.com/office/drawing/2014/main" id="{377BCAE1-2609-46CC-8A03-5530568F6D26}"/>
                </a:ext>
              </a:extLst>
            </p:cNvPr>
            <p:cNvSpPr/>
            <p:nvPr/>
          </p:nvSpPr>
          <p:spPr>
            <a:xfrm flipH="1">
              <a:off x="7589492" y="401545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4" name="任意多边形: 形状 553">
              <a:extLst>
                <a:ext uri="{FF2B5EF4-FFF2-40B4-BE49-F238E27FC236}">
                  <a16:creationId xmlns:a16="http://schemas.microsoft.com/office/drawing/2014/main" id="{55FE9001-5E2C-4550-936C-32FA0D225B10}"/>
                </a:ext>
              </a:extLst>
            </p:cNvPr>
            <p:cNvSpPr/>
            <p:nvPr/>
          </p:nvSpPr>
          <p:spPr>
            <a:xfrm flipH="1">
              <a:off x="7589492" y="3972153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5" name="任意多边形: 形状 554">
              <a:extLst>
                <a:ext uri="{FF2B5EF4-FFF2-40B4-BE49-F238E27FC236}">
                  <a16:creationId xmlns:a16="http://schemas.microsoft.com/office/drawing/2014/main" id="{CD6584E4-F76D-48F1-AE9B-8AD739EAF046}"/>
                </a:ext>
              </a:extLst>
            </p:cNvPr>
            <p:cNvSpPr/>
            <p:nvPr/>
          </p:nvSpPr>
          <p:spPr>
            <a:xfrm flipH="1">
              <a:off x="7589492" y="396596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6" name="任意多边形: 形状 555">
              <a:extLst>
                <a:ext uri="{FF2B5EF4-FFF2-40B4-BE49-F238E27FC236}">
                  <a16:creationId xmlns:a16="http://schemas.microsoft.com/office/drawing/2014/main" id="{786984FE-A482-4EF7-856D-C02F4F5DFD8F}"/>
                </a:ext>
              </a:extLst>
            </p:cNvPr>
            <p:cNvSpPr/>
            <p:nvPr/>
          </p:nvSpPr>
          <p:spPr>
            <a:xfrm flipH="1">
              <a:off x="7589492" y="3922664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7" name="任意多边形: 形状 556">
              <a:extLst>
                <a:ext uri="{FF2B5EF4-FFF2-40B4-BE49-F238E27FC236}">
                  <a16:creationId xmlns:a16="http://schemas.microsoft.com/office/drawing/2014/main" id="{DC7BD302-F87C-4710-AB87-40F6CA6E281E}"/>
                </a:ext>
              </a:extLst>
            </p:cNvPr>
            <p:cNvSpPr/>
            <p:nvPr/>
          </p:nvSpPr>
          <p:spPr>
            <a:xfrm flipH="1">
              <a:off x="7589492" y="3916478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8" name="任意多边形: 形状 557">
              <a:extLst>
                <a:ext uri="{FF2B5EF4-FFF2-40B4-BE49-F238E27FC236}">
                  <a16:creationId xmlns:a16="http://schemas.microsoft.com/office/drawing/2014/main" id="{E960F6DC-72E4-4EF3-B71D-64A40159B78F}"/>
                </a:ext>
              </a:extLst>
            </p:cNvPr>
            <p:cNvSpPr/>
            <p:nvPr/>
          </p:nvSpPr>
          <p:spPr>
            <a:xfrm flipH="1">
              <a:off x="7589492" y="387317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9" name="任意多边形: 形状 558">
              <a:extLst>
                <a:ext uri="{FF2B5EF4-FFF2-40B4-BE49-F238E27FC236}">
                  <a16:creationId xmlns:a16="http://schemas.microsoft.com/office/drawing/2014/main" id="{76F170C9-DB66-4B9B-95A3-46A811E1649E}"/>
                </a:ext>
              </a:extLst>
            </p:cNvPr>
            <p:cNvSpPr/>
            <p:nvPr/>
          </p:nvSpPr>
          <p:spPr>
            <a:xfrm flipH="1">
              <a:off x="7589492" y="386698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0" name="任意多边形: 形状 559">
              <a:extLst>
                <a:ext uri="{FF2B5EF4-FFF2-40B4-BE49-F238E27FC236}">
                  <a16:creationId xmlns:a16="http://schemas.microsoft.com/office/drawing/2014/main" id="{7B36A723-D0D6-485A-ACB5-DE6C7C61950F}"/>
                </a:ext>
              </a:extLst>
            </p:cNvPr>
            <p:cNvSpPr/>
            <p:nvPr/>
          </p:nvSpPr>
          <p:spPr>
            <a:xfrm flipH="1">
              <a:off x="7589492" y="3823685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1" name="任意多边形: 形状 560">
              <a:extLst>
                <a:ext uri="{FF2B5EF4-FFF2-40B4-BE49-F238E27FC236}">
                  <a16:creationId xmlns:a16="http://schemas.microsoft.com/office/drawing/2014/main" id="{2E5E80D8-772A-42B1-BD2E-22CEB82B681D}"/>
                </a:ext>
              </a:extLst>
            </p:cNvPr>
            <p:cNvSpPr/>
            <p:nvPr/>
          </p:nvSpPr>
          <p:spPr>
            <a:xfrm flipH="1">
              <a:off x="7589492" y="3817499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2" name="任意多边形: 形状 561">
              <a:extLst>
                <a:ext uri="{FF2B5EF4-FFF2-40B4-BE49-F238E27FC236}">
                  <a16:creationId xmlns:a16="http://schemas.microsoft.com/office/drawing/2014/main" id="{23547075-D7FF-4FAD-B32F-CA16026F71CA}"/>
                </a:ext>
              </a:extLst>
            </p:cNvPr>
            <p:cNvSpPr/>
            <p:nvPr/>
          </p:nvSpPr>
          <p:spPr>
            <a:xfrm flipH="1">
              <a:off x="7589492" y="3774196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3" name="任意多边形: 形状 562">
              <a:extLst>
                <a:ext uri="{FF2B5EF4-FFF2-40B4-BE49-F238E27FC236}">
                  <a16:creationId xmlns:a16="http://schemas.microsoft.com/office/drawing/2014/main" id="{10604FE2-7C96-493B-BB07-91D116E3B05E}"/>
                </a:ext>
              </a:extLst>
            </p:cNvPr>
            <p:cNvSpPr/>
            <p:nvPr/>
          </p:nvSpPr>
          <p:spPr>
            <a:xfrm flipH="1">
              <a:off x="7589492" y="3768010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4" name="任意多边形: 形状 563">
              <a:extLst>
                <a:ext uri="{FF2B5EF4-FFF2-40B4-BE49-F238E27FC236}">
                  <a16:creationId xmlns:a16="http://schemas.microsoft.com/office/drawing/2014/main" id="{6F2DC6B6-1ED9-477B-BE32-F4880A999CFE}"/>
                </a:ext>
              </a:extLst>
            </p:cNvPr>
            <p:cNvSpPr/>
            <p:nvPr/>
          </p:nvSpPr>
          <p:spPr>
            <a:xfrm flipH="1">
              <a:off x="7589492" y="3724707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0 w 247446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5" name="任意多边形: 形状 564">
              <a:extLst>
                <a:ext uri="{FF2B5EF4-FFF2-40B4-BE49-F238E27FC236}">
                  <a16:creationId xmlns:a16="http://schemas.microsoft.com/office/drawing/2014/main" id="{0E379419-C7D5-4D01-8B6B-20B5966B5171}"/>
                </a:ext>
              </a:extLst>
            </p:cNvPr>
            <p:cNvSpPr/>
            <p:nvPr/>
          </p:nvSpPr>
          <p:spPr>
            <a:xfrm flipH="1">
              <a:off x="7589492" y="3718521"/>
              <a:ext cx="247447" cy="30931"/>
            </a:xfrm>
            <a:custGeom>
              <a:avLst/>
              <a:gdLst>
                <a:gd name="connsiteX0" fmla="*/ 0 w 247446"/>
                <a:gd name="connsiteY0" fmla="*/ 0 h 0"/>
                <a:gd name="connsiteX1" fmla="*/ 266005 w 247446"/>
                <a:gd name="connsiteY1" fmla="*/ 0 h 0"/>
                <a:gd name="connsiteX2" fmla="*/ 266005 w 247446"/>
                <a:gd name="connsiteY2" fmla="*/ 12372 h 0"/>
                <a:gd name="connsiteX3" fmla="*/ 0 w 247446"/>
                <a:gd name="connsiteY3" fmla="*/ 123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>
                  <a:moveTo>
                    <a:pt x="0" y="0"/>
                  </a:moveTo>
                  <a:lnTo>
                    <a:pt x="266005" y="0"/>
                  </a:lnTo>
                  <a:lnTo>
                    <a:pt x="266005" y="12372"/>
                  </a:lnTo>
                  <a:lnTo>
                    <a:pt x="0" y="12372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6" name="任意多边形: 形状 565">
              <a:extLst>
                <a:ext uri="{FF2B5EF4-FFF2-40B4-BE49-F238E27FC236}">
                  <a16:creationId xmlns:a16="http://schemas.microsoft.com/office/drawing/2014/main" id="{22F273BE-042E-4E68-BFDE-82098199FFD9}"/>
                </a:ext>
              </a:extLst>
            </p:cNvPr>
            <p:cNvSpPr/>
            <p:nvPr/>
          </p:nvSpPr>
          <p:spPr>
            <a:xfrm flipH="1">
              <a:off x="7564747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7" name="任意多边形: 形状 566">
              <a:extLst>
                <a:ext uri="{FF2B5EF4-FFF2-40B4-BE49-F238E27FC236}">
                  <a16:creationId xmlns:a16="http://schemas.microsoft.com/office/drawing/2014/main" id="{2769CFEE-822C-483D-A968-4EB515447348}"/>
                </a:ext>
              </a:extLst>
            </p:cNvPr>
            <p:cNvSpPr/>
            <p:nvPr/>
          </p:nvSpPr>
          <p:spPr>
            <a:xfrm flipH="1">
              <a:off x="7570933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8" name="任意多边形: 形状 567">
              <a:extLst>
                <a:ext uri="{FF2B5EF4-FFF2-40B4-BE49-F238E27FC236}">
                  <a16:creationId xmlns:a16="http://schemas.microsoft.com/office/drawing/2014/main" id="{D8099818-88DC-45E0-B61E-72975D85C56D}"/>
                </a:ext>
              </a:extLst>
            </p:cNvPr>
            <p:cNvSpPr/>
            <p:nvPr/>
          </p:nvSpPr>
          <p:spPr>
            <a:xfrm flipH="1">
              <a:off x="7589492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9" name="任意多边形: 形状 568">
              <a:extLst>
                <a:ext uri="{FF2B5EF4-FFF2-40B4-BE49-F238E27FC236}">
                  <a16:creationId xmlns:a16="http://schemas.microsoft.com/office/drawing/2014/main" id="{79AF927F-25A5-403F-A67C-549D5B997323}"/>
                </a:ext>
              </a:extLst>
            </p:cNvPr>
            <p:cNvSpPr/>
            <p:nvPr/>
          </p:nvSpPr>
          <p:spPr>
            <a:xfrm flipH="1">
              <a:off x="7595678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0" name="任意多边形: 形状 569">
              <a:extLst>
                <a:ext uri="{FF2B5EF4-FFF2-40B4-BE49-F238E27FC236}">
                  <a16:creationId xmlns:a16="http://schemas.microsoft.com/office/drawing/2014/main" id="{BE5C378F-6EE5-482D-929D-C59375534587}"/>
                </a:ext>
              </a:extLst>
            </p:cNvPr>
            <p:cNvSpPr/>
            <p:nvPr/>
          </p:nvSpPr>
          <p:spPr>
            <a:xfrm flipH="1">
              <a:off x="7614236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1" name="任意多边形: 形状 570">
              <a:extLst>
                <a:ext uri="{FF2B5EF4-FFF2-40B4-BE49-F238E27FC236}">
                  <a16:creationId xmlns:a16="http://schemas.microsoft.com/office/drawing/2014/main" id="{53C9AEA6-7225-4288-951C-DCDA3F070212}"/>
                </a:ext>
              </a:extLst>
            </p:cNvPr>
            <p:cNvSpPr/>
            <p:nvPr/>
          </p:nvSpPr>
          <p:spPr>
            <a:xfrm flipH="1">
              <a:off x="7617330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2" name="任意多边形: 形状 571">
              <a:extLst>
                <a:ext uri="{FF2B5EF4-FFF2-40B4-BE49-F238E27FC236}">
                  <a16:creationId xmlns:a16="http://schemas.microsoft.com/office/drawing/2014/main" id="{059232D7-A968-4618-93CA-144ED4CF2271}"/>
                </a:ext>
              </a:extLst>
            </p:cNvPr>
            <p:cNvSpPr/>
            <p:nvPr/>
          </p:nvSpPr>
          <p:spPr>
            <a:xfrm flipH="1">
              <a:off x="7635888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3" name="任意多边形: 形状 572">
              <a:extLst>
                <a:ext uri="{FF2B5EF4-FFF2-40B4-BE49-F238E27FC236}">
                  <a16:creationId xmlns:a16="http://schemas.microsoft.com/office/drawing/2014/main" id="{68F85466-BD02-471C-80AC-586EF892F34A}"/>
                </a:ext>
              </a:extLst>
            </p:cNvPr>
            <p:cNvSpPr/>
            <p:nvPr/>
          </p:nvSpPr>
          <p:spPr>
            <a:xfrm flipH="1">
              <a:off x="7642074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4" name="任意多边形: 形状 573">
              <a:extLst>
                <a:ext uri="{FF2B5EF4-FFF2-40B4-BE49-F238E27FC236}">
                  <a16:creationId xmlns:a16="http://schemas.microsoft.com/office/drawing/2014/main" id="{6158C9CA-B344-4474-B423-0150F8DE9BD4}"/>
                </a:ext>
              </a:extLst>
            </p:cNvPr>
            <p:cNvSpPr/>
            <p:nvPr/>
          </p:nvSpPr>
          <p:spPr>
            <a:xfrm flipH="1">
              <a:off x="7660633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5" name="任意多边形: 形状 574">
              <a:extLst>
                <a:ext uri="{FF2B5EF4-FFF2-40B4-BE49-F238E27FC236}">
                  <a16:creationId xmlns:a16="http://schemas.microsoft.com/office/drawing/2014/main" id="{CC02E948-37F6-4427-925E-43D73039D9A9}"/>
                </a:ext>
              </a:extLst>
            </p:cNvPr>
            <p:cNvSpPr/>
            <p:nvPr/>
          </p:nvSpPr>
          <p:spPr>
            <a:xfrm flipH="1">
              <a:off x="7666819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6" name="任意多边形: 形状 575">
              <a:extLst>
                <a:ext uri="{FF2B5EF4-FFF2-40B4-BE49-F238E27FC236}">
                  <a16:creationId xmlns:a16="http://schemas.microsoft.com/office/drawing/2014/main" id="{B2D91F16-3E01-4C6B-A08C-1F79D757FB42}"/>
                </a:ext>
              </a:extLst>
            </p:cNvPr>
            <p:cNvSpPr/>
            <p:nvPr/>
          </p:nvSpPr>
          <p:spPr>
            <a:xfrm flipH="1">
              <a:off x="7685378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7" name="任意多边形: 形状 576">
              <a:extLst>
                <a:ext uri="{FF2B5EF4-FFF2-40B4-BE49-F238E27FC236}">
                  <a16:creationId xmlns:a16="http://schemas.microsoft.com/office/drawing/2014/main" id="{369DAB7C-06A5-4B3C-A9A3-07744E22A0C3}"/>
                </a:ext>
              </a:extLst>
            </p:cNvPr>
            <p:cNvSpPr/>
            <p:nvPr/>
          </p:nvSpPr>
          <p:spPr>
            <a:xfrm flipH="1">
              <a:off x="7691564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8" name="任意多边形: 形状 577">
              <a:extLst>
                <a:ext uri="{FF2B5EF4-FFF2-40B4-BE49-F238E27FC236}">
                  <a16:creationId xmlns:a16="http://schemas.microsoft.com/office/drawing/2014/main" id="{10C03EB9-E369-4D5A-A94E-7BB73A479893}"/>
                </a:ext>
              </a:extLst>
            </p:cNvPr>
            <p:cNvSpPr/>
            <p:nvPr/>
          </p:nvSpPr>
          <p:spPr>
            <a:xfrm flipH="1">
              <a:off x="7710122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9" name="任意多边形: 形状 578">
              <a:extLst>
                <a:ext uri="{FF2B5EF4-FFF2-40B4-BE49-F238E27FC236}">
                  <a16:creationId xmlns:a16="http://schemas.microsoft.com/office/drawing/2014/main" id="{4461ABF6-DEC2-488B-9C32-5CA6C28C87E0}"/>
                </a:ext>
              </a:extLst>
            </p:cNvPr>
            <p:cNvSpPr/>
            <p:nvPr/>
          </p:nvSpPr>
          <p:spPr>
            <a:xfrm flipH="1">
              <a:off x="7716308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0" name="任意多边形: 形状 579">
              <a:extLst>
                <a:ext uri="{FF2B5EF4-FFF2-40B4-BE49-F238E27FC236}">
                  <a16:creationId xmlns:a16="http://schemas.microsoft.com/office/drawing/2014/main" id="{048775E8-AA75-42BD-B8B8-3DF7F7EFD641}"/>
                </a:ext>
              </a:extLst>
            </p:cNvPr>
            <p:cNvSpPr/>
            <p:nvPr/>
          </p:nvSpPr>
          <p:spPr>
            <a:xfrm flipH="1">
              <a:off x="7734867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1" name="任意多边形: 形状 580">
              <a:extLst>
                <a:ext uri="{FF2B5EF4-FFF2-40B4-BE49-F238E27FC236}">
                  <a16:creationId xmlns:a16="http://schemas.microsoft.com/office/drawing/2014/main" id="{B7DA9BFE-10F9-40C5-996C-11F97D9715C4}"/>
                </a:ext>
              </a:extLst>
            </p:cNvPr>
            <p:cNvSpPr/>
            <p:nvPr/>
          </p:nvSpPr>
          <p:spPr>
            <a:xfrm flipH="1">
              <a:off x="7741053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2" name="任意多边形: 形状 581">
              <a:extLst>
                <a:ext uri="{FF2B5EF4-FFF2-40B4-BE49-F238E27FC236}">
                  <a16:creationId xmlns:a16="http://schemas.microsoft.com/office/drawing/2014/main" id="{96188A18-BD29-4DC7-8C11-A1642F62F6C5}"/>
                </a:ext>
              </a:extLst>
            </p:cNvPr>
            <p:cNvSpPr/>
            <p:nvPr/>
          </p:nvSpPr>
          <p:spPr>
            <a:xfrm flipH="1">
              <a:off x="7759611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3" name="任意多边形: 形状 582">
              <a:extLst>
                <a:ext uri="{FF2B5EF4-FFF2-40B4-BE49-F238E27FC236}">
                  <a16:creationId xmlns:a16="http://schemas.microsoft.com/office/drawing/2014/main" id="{A3154223-4D82-427D-9D9A-1EAA5BF6AC20}"/>
                </a:ext>
              </a:extLst>
            </p:cNvPr>
            <p:cNvSpPr/>
            <p:nvPr/>
          </p:nvSpPr>
          <p:spPr>
            <a:xfrm flipH="1">
              <a:off x="7762704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4" name="任意多边形: 形状 583">
              <a:extLst>
                <a:ext uri="{FF2B5EF4-FFF2-40B4-BE49-F238E27FC236}">
                  <a16:creationId xmlns:a16="http://schemas.microsoft.com/office/drawing/2014/main" id="{08EA916C-0A05-45E9-9C3C-EE3D4F2338BD}"/>
                </a:ext>
              </a:extLst>
            </p:cNvPr>
            <p:cNvSpPr/>
            <p:nvPr/>
          </p:nvSpPr>
          <p:spPr>
            <a:xfrm flipH="1">
              <a:off x="7781263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5" name="任意多边形: 形状 584">
              <a:extLst>
                <a:ext uri="{FF2B5EF4-FFF2-40B4-BE49-F238E27FC236}">
                  <a16:creationId xmlns:a16="http://schemas.microsoft.com/office/drawing/2014/main" id="{E9A47915-626E-4C0B-9007-D8B1297B0C1F}"/>
                </a:ext>
              </a:extLst>
            </p:cNvPr>
            <p:cNvSpPr/>
            <p:nvPr/>
          </p:nvSpPr>
          <p:spPr>
            <a:xfrm flipH="1">
              <a:off x="7787449" y="367521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9F9FBC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6" name="任意多边形: 形状 585">
              <a:extLst>
                <a:ext uri="{FF2B5EF4-FFF2-40B4-BE49-F238E27FC236}">
                  <a16:creationId xmlns:a16="http://schemas.microsoft.com/office/drawing/2014/main" id="{A4615C59-47FB-4984-85BE-20B11F48A38B}"/>
                </a:ext>
              </a:extLst>
            </p:cNvPr>
            <p:cNvSpPr/>
            <p:nvPr/>
          </p:nvSpPr>
          <p:spPr>
            <a:xfrm flipH="1">
              <a:off x="7317300" y="3675217"/>
              <a:ext cx="247447" cy="1577472"/>
            </a:xfrm>
            <a:custGeom>
              <a:avLst/>
              <a:gdLst>
                <a:gd name="connsiteX0" fmla="*/ 0 w 247446"/>
                <a:gd name="connsiteY0" fmla="*/ 0 h 1577472"/>
                <a:gd name="connsiteX1" fmla="*/ 266005 w 247446"/>
                <a:gd name="connsiteY1" fmla="*/ 55675 h 1577472"/>
                <a:gd name="connsiteX2" fmla="*/ 266005 w 247446"/>
                <a:gd name="connsiteY2" fmla="*/ 1580565 h 1577472"/>
                <a:gd name="connsiteX3" fmla="*/ 0 w 247446"/>
                <a:gd name="connsiteY3" fmla="*/ 1527983 h 157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1577472">
                  <a:moveTo>
                    <a:pt x="0" y="0"/>
                  </a:moveTo>
                  <a:lnTo>
                    <a:pt x="266005" y="55675"/>
                  </a:lnTo>
                  <a:lnTo>
                    <a:pt x="266005" y="1580565"/>
                  </a:lnTo>
                  <a:lnTo>
                    <a:pt x="0" y="1527983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7" name="任意多边形: 形状 586">
              <a:extLst>
                <a:ext uri="{FF2B5EF4-FFF2-40B4-BE49-F238E27FC236}">
                  <a16:creationId xmlns:a16="http://schemas.microsoft.com/office/drawing/2014/main" id="{33FFA675-0305-422B-812E-9AC392B3800B}"/>
                </a:ext>
              </a:extLst>
            </p:cNvPr>
            <p:cNvSpPr/>
            <p:nvPr/>
          </p:nvSpPr>
          <p:spPr>
            <a:xfrm flipH="1">
              <a:off x="7292556" y="3669031"/>
              <a:ext cx="278378" cy="1577472"/>
            </a:xfrm>
            <a:custGeom>
              <a:avLst/>
              <a:gdLst>
                <a:gd name="connsiteX0" fmla="*/ 278378 w 278377"/>
                <a:gd name="connsiteY0" fmla="*/ 1592938 h 1577472"/>
                <a:gd name="connsiteX1" fmla="*/ 0 w 278377"/>
                <a:gd name="connsiteY1" fmla="*/ 1537262 h 1577472"/>
                <a:gd name="connsiteX2" fmla="*/ 0 w 278377"/>
                <a:gd name="connsiteY2" fmla="*/ 0 h 1577472"/>
                <a:gd name="connsiteX3" fmla="*/ 278378 w 278377"/>
                <a:gd name="connsiteY3" fmla="*/ 55676 h 1577472"/>
                <a:gd name="connsiteX4" fmla="*/ 278378 w 278377"/>
                <a:gd name="connsiteY4" fmla="*/ 1592938 h 1577472"/>
                <a:gd name="connsiteX5" fmla="*/ 12373 w 278377"/>
                <a:gd name="connsiteY5" fmla="*/ 1527983 h 1577472"/>
                <a:gd name="connsiteX6" fmla="*/ 266005 w 278377"/>
                <a:gd name="connsiteY6" fmla="*/ 1580566 h 1577472"/>
                <a:gd name="connsiteX7" fmla="*/ 266005 w 278377"/>
                <a:gd name="connsiteY7" fmla="*/ 64955 h 1577472"/>
                <a:gd name="connsiteX8" fmla="*/ 12373 w 278377"/>
                <a:gd name="connsiteY8" fmla="*/ 12372 h 1577472"/>
                <a:gd name="connsiteX9" fmla="*/ 12373 w 278377"/>
                <a:gd name="connsiteY9" fmla="*/ 1527983 h 1577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8377" h="1577472">
                  <a:moveTo>
                    <a:pt x="278378" y="1592938"/>
                  </a:moveTo>
                  <a:lnTo>
                    <a:pt x="0" y="1537262"/>
                  </a:lnTo>
                  <a:lnTo>
                    <a:pt x="0" y="0"/>
                  </a:lnTo>
                  <a:lnTo>
                    <a:pt x="278378" y="55676"/>
                  </a:lnTo>
                  <a:lnTo>
                    <a:pt x="278378" y="1592938"/>
                  </a:lnTo>
                  <a:close/>
                  <a:moveTo>
                    <a:pt x="12373" y="1527983"/>
                  </a:moveTo>
                  <a:lnTo>
                    <a:pt x="266005" y="1580566"/>
                  </a:lnTo>
                  <a:lnTo>
                    <a:pt x="266005" y="64955"/>
                  </a:lnTo>
                  <a:lnTo>
                    <a:pt x="12373" y="12372"/>
                  </a:lnTo>
                  <a:lnTo>
                    <a:pt x="12373" y="152798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8" name="任意多边形: 形状 587">
              <a:extLst>
                <a:ext uri="{FF2B5EF4-FFF2-40B4-BE49-F238E27FC236}">
                  <a16:creationId xmlns:a16="http://schemas.microsoft.com/office/drawing/2014/main" id="{546A2095-0C1E-41B9-BA93-BBD287B51CFD}"/>
                </a:ext>
              </a:extLst>
            </p:cNvPr>
            <p:cNvSpPr/>
            <p:nvPr/>
          </p:nvSpPr>
          <p:spPr>
            <a:xfrm flipH="1">
              <a:off x="7317300" y="5153711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9" name="任意多边形: 形状 588">
              <a:extLst>
                <a:ext uri="{FF2B5EF4-FFF2-40B4-BE49-F238E27FC236}">
                  <a16:creationId xmlns:a16="http://schemas.microsoft.com/office/drawing/2014/main" id="{73B910C7-4BDD-4FCB-8578-DF747ACCD1F1}"/>
                </a:ext>
              </a:extLst>
            </p:cNvPr>
            <p:cNvSpPr/>
            <p:nvPr/>
          </p:nvSpPr>
          <p:spPr>
            <a:xfrm flipH="1">
              <a:off x="7315625" y="5144695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0" name="任意多边形: 形状 589">
              <a:extLst>
                <a:ext uri="{FF2B5EF4-FFF2-40B4-BE49-F238E27FC236}">
                  <a16:creationId xmlns:a16="http://schemas.microsoft.com/office/drawing/2014/main" id="{B0848636-21DC-4412-A3C5-323818B05FD8}"/>
                </a:ext>
              </a:extLst>
            </p:cNvPr>
            <p:cNvSpPr/>
            <p:nvPr/>
          </p:nvSpPr>
          <p:spPr>
            <a:xfrm flipH="1">
              <a:off x="7317300" y="5104222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1" name="任意多边形: 形状 590">
              <a:extLst>
                <a:ext uri="{FF2B5EF4-FFF2-40B4-BE49-F238E27FC236}">
                  <a16:creationId xmlns:a16="http://schemas.microsoft.com/office/drawing/2014/main" id="{65D56924-34BA-4FCA-A226-8045F54655ED}"/>
                </a:ext>
              </a:extLst>
            </p:cNvPr>
            <p:cNvSpPr/>
            <p:nvPr/>
          </p:nvSpPr>
          <p:spPr>
            <a:xfrm flipH="1">
              <a:off x="7315975" y="5095361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2" name="任意多边形: 形状 591">
              <a:extLst>
                <a:ext uri="{FF2B5EF4-FFF2-40B4-BE49-F238E27FC236}">
                  <a16:creationId xmlns:a16="http://schemas.microsoft.com/office/drawing/2014/main" id="{9DEAEA8C-A040-4E6D-AD0B-1071DD003F6F}"/>
                </a:ext>
              </a:extLst>
            </p:cNvPr>
            <p:cNvSpPr/>
            <p:nvPr/>
          </p:nvSpPr>
          <p:spPr>
            <a:xfrm flipH="1">
              <a:off x="7317300" y="505473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3" name="任意多边形: 形状 592">
              <a:extLst>
                <a:ext uri="{FF2B5EF4-FFF2-40B4-BE49-F238E27FC236}">
                  <a16:creationId xmlns:a16="http://schemas.microsoft.com/office/drawing/2014/main" id="{487AA6AA-9935-44B2-A104-3ED48F3A3D53}"/>
                </a:ext>
              </a:extLst>
            </p:cNvPr>
            <p:cNvSpPr/>
            <p:nvPr/>
          </p:nvSpPr>
          <p:spPr>
            <a:xfrm flipH="1">
              <a:off x="7316131" y="5046121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4" name="任意多边形: 形状 593">
              <a:extLst>
                <a:ext uri="{FF2B5EF4-FFF2-40B4-BE49-F238E27FC236}">
                  <a16:creationId xmlns:a16="http://schemas.microsoft.com/office/drawing/2014/main" id="{0F364128-C4D3-4ADB-A40D-EC3EC717D499}"/>
                </a:ext>
              </a:extLst>
            </p:cNvPr>
            <p:cNvSpPr/>
            <p:nvPr/>
          </p:nvSpPr>
          <p:spPr>
            <a:xfrm flipH="1">
              <a:off x="7317300" y="500524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5" name="任意多边形: 形状 594">
              <a:extLst>
                <a:ext uri="{FF2B5EF4-FFF2-40B4-BE49-F238E27FC236}">
                  <a16:creationId xmlns:a16="http://schemas.microsoft.com/office/drawing/2014/main" id="{2FE5267B-8305-47A7-8760-23CCD2DC6735}"/>
                </a:ext>
              </a:extLst>
            </p:cNvPr>
            <p:cNvSpPr/>
            <p:nvPr/>
          </p:nvSpPr>
          <p:spPr>
            <a:xfrm flipH="1">
              <a:off x="7316478" y="4996787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6" name="任意多边形: 形状 595">
              <a:extLst>
                <a:ext uri="{FF2B5EF4-FFF2-40B4-BE49-F238E27FC236}">
                  <a16:creationId xmlns:a16="http://schemas.microsoft.com/office/drawing/2014/main" id="{E2507648-5682-4189-86A2-33A72702D5F1}"/>
                </a:ext>
              </a:extLst>
            </p:cNvPr>
            <p:cNvSpPr/>
            <p:nvPr/>
          </p:nvSpPr>
          <p:spPr>
            <a:xfrm flipH="1">
              <a:off x="7317300" y="495575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7" name="任意多边形: 形状 596">
              <a:extLst>
                <a:ext uri="{FF2B5EF4-FFF2-40B4-BE49-F238E27FC236}">
                  <a16:creationId xmlns:a16="http://schemas.microsoft.com/office/drawing/2014/main" id="{695240F5-7F99-49DC-B8F2-E445BA6A2B16}"/>
                </a:ext>
              </a:extLst>
            </p:cNvPr>
            <p:cNvSpPr/>
            <p:nvPr/>
          </p:nvSpPr>
          <p:spPr>
            <a:xfrm flipH="1">
              <a:off x="7316729" y="4947516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8" name="任意多边形: 形状 597">
              <a:extLst>
                <a:ext uri="{FF2B5EF4-FFF2-40B4-BE49-F238E27FC236}">
                  <a16:creationId xmlns:a16="http://schemas.microsoft.com/office/drawing/2014/main" id="{25BCBC00-230C-414C-A6F9-D66FB275DEA6}"/>
                </a:ext>
              </a:extLst>
            </p:cNvPr>
            <p:cNvSpPr/>
            <p:nvPr/>
          </p:nvSpPr>
          <p:spPr>
            <a:xfrm flipH="1">
              <a:off x="7317300" y="490626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9" name="任意多边形: 形状 598">
              <a:extLst>
                <a:ext uri="{FF2B5EF4-FFF2-40B4-BE49-F238E27FC236}">
                  <a16:creationId xmlns:a16="http://schemas.microsoft.com/office/drawing/2014/main" id="{6C50E5A1-6CB9-4AFA-9618-4DDA27E1EC15}"/>
                </a:ext>
              </a:extLst>
            </p:cNvPr>
            <p:cNvSpPr/>
            <p:nvPr/>
          </p:nvSpPr>
          <p:spPr>
            <a:xfrm flipH="1">
              <a:off x="7316693" y="4898252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0" name="任意多边形: 形状 599">
              <a:extLst>
                <a:ext uri="{FF2B5EF4-FFF2-40B4-BE49-F238E27FC236}">
                  <a16:creationId xmlns:a16="http://schemas.microsoft.com/office/drawing/2014/main" id="{F6965198-214C-4B77-81D3-EED69B47C7FA}"/>
                </a:ext>
              </a:extLst>
            </p:cNvPr>
            <p:cNvSpPr/>
            <p:nvPr/>
          </p:nvSpPr>
          <p:spPr>
            <a:xfrm flipH="1">
              <a:off x="7317300" y="485677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1" name="任意多边形: 形状 600">
              <a:extLst>
                <a:ext uri="{FF2B5EF4-FFF2-40B4-BE49-F238E27FC236}">
                  <a16:creationId xmlns:a16="http://schemas.microsoft.com/office/drawing/2014/main" id="{6E03F65C-69EF-40C2-9D0B-5234C4196DBE}"/>
                </a:ext>
              </a:extLst>
            </p:cNvPr>
            <p:cNvSpPr/>
            <p:nvPr/>
          </p:nvSpPr>
          <p:spPr>
            <a:xfrm flipH="1">
              <a:off x="7316851" y="4849037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2" name="任意多边形: 形状 601">
              <a:extLst>
                <a:ext uri="{FF2B5EF4-FFF2-40B4-BE49-F238E27FC236}">
                  <a16:creationId xmlns:a16="http://schemas.microsoft.com/office/drawing/2014/main" id="{D5A9F011-5027-4FF4-8607-20F061BB1CF7}"/>
                </a:ext>
              </a:extLst>
            </p:cNvPr>
            <p:cNvSpPr/>
            <p:nvPr/>
          </p:nvSpPr>
          <p:spPr>
            <a:xfrm flipH="1">
              <a:off x="7317300" y="480728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3" name="任意多边形: 形状 602">
              <a:extLst>
                <a:ext uri="{FF2B5EF4-FFF2-40B4-BE49-F238E27FC236}">
                  <a16:creationId xmlns:a16="http://schemas.microsoft.com/office/drawing/2014/main" id="{3DD7F6B2-E4F2-498A-B6E2-FB425817A19B}"/>
                </a:ext>
              </a:extLst>
            </p:cNvPr>
            <p:cNvSpPr/>
            <p:nvPr/>
          </p:nvSpPr>
          <p:spPr>
            <a:xfrm flipH="1">
              <a:off x="7317476" y="479963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4" name="任意多边形: 形状 603">
              <a:extLst>
                <a:ext uri="{FF2B5EF4-FFF2-40B4-BE49-F238E27FC236}">
                  <a16:creationId xmlns:a16="http://schemas.microsoft.com/office/drawing/2014/main" id="{87476C8E-8C0F-4960-846B-E3C6D95EEF0D}"/>
                </a:ext>
              </a:extLst>
            </p:cNvPr>
            <p:cNvSpPr/>
            <p:nvPr/>
          </p:nvSpPr>
          <p:spPr>
            <a:xfrm flipH="1">
              <a:off x="7317300" y="475779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5" name="任意多边形: 形状 604">
              <a:extLst>
                <a:ext uri="{FF2B5EF4-FFF2-40B4-BE49-F238E27FC236}">
                  <a16:creationId xmlns:a16="http://schemas.microsoft.com/office/drawing/2014/main" id="{38173330-5C92-4ACB-B8D6-BDF12E814D69}"/>
                </a:ext>
              </a:extLst>
            </p:cNvPr>
            <p:cNvSpPr/>
            <p:nvPr/>
          </p:nvSpPr>
          <p:spPr>
            <a:xfrm flipH="1">
              <a:off x="7317631" y="475042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6" name="任意多边形: 形状 605">
              <a:extLst>
                <a:ext uri="{FF2B5EF4-FFF2-40B4-BE49-F238E27FC236}">
                  <a16:creationId xmlns:a16="http://schemas.microsoft.com/office/drawing/2014/main" id="{701738F5-CBEC-4F45-9F52-CB9B92694515}"/>
                </a:ext>
              </a:extLst>
            </p:cNvPr>
            <p:cNvSpPr/>
            <p:nvPr/>
          </p:nvSpPr>
          <p:spPr>
            <a:xfrm flipH="1">
              <a:off x="7317300" y="4708307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7" name="任意多边形: 形状 606">
              <a:extLst>
                <a:ext uri="{FF2B5EF4-FFF2-40B4-BE49-F238E27FC236}">
                  <a16:creationId xmlns:a16="http://schemas.microsoft.com/office/drawing/2014/main" id="{CADDB46B-1C81-4F34-A6A1-85AB16157F23}"/>
                </a:ext>
              </a:extLst>
            </p:cNvPr>
            <p:cNvSpPr/>
            <p:nvPr/>
          </p:nvSpPr>
          <p:spPr>
            <a:xfrm flipH="1">
              <a:off x="7317981" y="4701065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8" name="任意多边形: 形状 607">
              <a:extLst>
                <a:ext uri="{FF2B5EF4-FFF2-40B4-BE49-F238E27FC236}">
                  <a16:creationId xmlns:a16="http://schemas.microsoft.com/office/drawing/2014/main" id="{843E97C2-235E-4AD6-9B47-C7E48C36AB94}"/>
                </a:ext>
              </a:extLst>
            </p:cNvPr>
            <p:cNvSpPr/>
            <p:nvPr/>
          </p:nvSpPr>
          <p:spPr>
            <a:xfrm flipH="1">
              <a:off x="7317300" y="4658818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9" name="任意多边形: 形状 608">
              <a:extLst>
                <a:ext uri="{FF2B5EF4-FFF2-40B4-BE49-F238E27FC236}">
                  <a16:creationId xmlns:a16="http://schemas.microsoft.com/office/drawing/2014/main" id="{E49516BD-FB3C-40CD-94BD-63BD98CF6A9D}"/>
                </a:ext>
              </a:extLst>
            </p:cNvPr>
            <p:cNvSpPr/>
            <p:nvPr/>
          </p:nvSpPr>
          <p:spPr>
            <a:xfrm flipH="1">
              <a:off x="7318087" y="4651886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0" name="任意多边形: 形状 609">
              <a:extLst>
                <a:ext uri="{FF2B5EF4-FFF2-40B4-BE49-F238E27FC236}">
                  <a16:creationId xmlns:a16="http://schemas.microsoft.com/office/drawing/2014/main" id="{E4BE2443-8EB9-4E4B-B43D-53545AFCC3E7}"/>
                </a:ext>
              </a:extLst>
            </p:cNvPr>
            <p:cNvSpPr/>
            <p:nvPr/>
          </p:nvSpPr>
          <p:spPr>
            <a:xfrm flipH="1">
              <a:off x="7317300" y="4612422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1" name="任意多边形: 形状 610">
              <a:extLst>
                <a:ext uri="{FF2B5EF4-FFF2-40B4-BE49-F238E27FC236}">
                  <a16:creationId xmlns:a16="http://schemas.microsoft.com/office/drawing/2014/main" id="{046EFAE9-FF49-4DCB-91A1-3E282CB98D1A}"/>
                </a:ext>
              </a:extLst>
            </p:cNvPr>
            <p:cNvSpPr/>
            <p:nvPr/>
          </p:nvSpPr>
          <p:spPr>
            <a:xfrm flipH="1">
              <a:off x="7318484" y="4602522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2" name="任意多边形: 形状 611">
              <a:extLst>
                <a:ext uri="{FF2B5EF4-FFF2-40B4-BE49-F238E27FC236}">
                  <a16:creationId xmlns:a16="http://schemas.microsoft.com/office/drawing/2014/main" id="{85141C61-B81A-4513-8DBA-128637C87D66}"/>
                </a:ext>
              </a:extLst>
            </p:cNvPr>
            <p:cNvSpPr/>
            <p:nvPr/>
          </p:nvSpPr>
          <p:spPr>
            <a:xfrm flipH="1">
              <a:off x="7317300" y="4562932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3" name="任意多边形: 形状 612">
              <a:extLst>
                <a:ext uri="{FF2B5EF4-FFF2-40B4-BE49-F238E27FC236}">
                  <a16:creationId xmlns:a16="http://schemas.microsoft.com/office/drawing/2014/main" id="{63108AB5-82AB-4650-A94D-1D8F15C801D4}"/>
                </a:ext>
              </a:extLst>
            </p:cNvPr>
            <p:cNvSpPr/>
            <p:nvPr/>
          </p:nvSpPr>
          <p:spPr>
            <a:xfrm flipH="1">
              <a:off x="7315708" y="455384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4" name="任意多边形: 形状 613">
              <a:extLst>
                <a:ext uri="{FF2B5EF4-FFF2-40B4-BE49-F238E27FC236}">
                  <a16:creationId xmlns:a16="http://schemas.microsoft.com/office/drawing/2014/main" id="{E4FDA433-24EC-4EAB-8E91-4CE4248AF2EA}"/>
                </a:ext>
              </a:extLst>
            </p:cNvPr>
            <p:cNvSpPr/>
            <p:nvPr/>
          </p:nvSpPr>
          <p:spPr>
            <a:xfrm flipH="1">
              <a:off x="7317300" y="451344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5" name="任意多边形: 形状 614">
              <a:extLst>
                <a:ext uri="{FF2B5EF4-FFF2-40B4-BE49-F238E27FC236}">
                  <a16:creationId xmlns:a16="http://schemas.microsoft.com/office/drawing/2014/main" id="{F9783BFF-C2BE-40F7-AFDD-2D8C29E8B8F6}"/>
                </a:ext>
              </a:extLst>
            </p:cNvPr>
            <p:cNvSpPr/>
            <p:nvPr/>
          </p:nvSpPr>
          <p:spPr>
            <a:xfrm flipH="1">
              <a:off x="7315959" y="4504568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6" name="任意多边形: 形状 615">
              <a:extLst>
                <a:ext uri="{FF2B5EF4-FFF2-40B4-BE49-F238E27FC236}">
                  <a16:creationId xmlns:a16="http://schemas.microsoft.com/office/drawing/2014/main" id="{97F136B2-1184-46D2-BADA-2FB988E22D86}"/>
                </a:ext>
              </a:extLst>
            </p:cNvPr>
            <p:cNvSpPr/>
            <p:nvPr/>
          </p:nvSpPr>
          <p:spPr>
            <a:xfrm flipH="1">
              <a:off x="7317300" y="446395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7" name="任意多边形: 形状 616">
              <a:extLst>
                <a:ext uri="{FF2B5EF4-FFF2-40B4-BE49-F238E27FC236}">
                  <a16:creationId xmlns:a16="http://schemas.microsoft.com/office/drawing/2014/main" id="{AA8D3F86-745C-4882-87FC-4B35E7B4AADE}"/>
                </a:ext>
              </a:extLst>
            </p:cNvPr>
            <p:cNvSpPr/>
            <p:nvPr/>
          </p:nvSpPr>
          <p:spPr>
            <a:xfrm flipH="1">
              <a:off x="7315827" y="4455353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8" name="任意多边形: 形状 617">
              <a:extLst>
                <a:ext uri="{FF2B5EF4-FFF2-40B4-BE49-F238E27FC236}">
                  <a16:creationId xmlns:a16="http://schemas.microsoft.com/office/drawing/2014/main" id="{8B9B7B17-DB7E-44E9-9370-9D6477B42035}"/>
                </a:ext>
              </a:extLst>
            </p:cNvPr>
            <p:cNvSpPr/>
            <p:nvPr/>
          </p:nvSpPr>
          <p:spPr>
            <a:xfrm flipH="1">
              <a:off x="7317300" y="441446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9" name="任意多边形: 形状 618">
              <a:extLst>
                <a:ext uri="{FF2B5EF4-FFF2-40B4-BE49-F238E27FC236}">
                  <a16:creationId xmlns:a16="http://schemas.microsoft.com/office/drawing/2014/main" id="{42197477-DFDE-4A46-878D-03EA2F02132A}"/>
                </a:ext>
              </a:extLst>
            </p:cNvPr>
            <p:cNvSpPr/>
            <p:nvPr/>
          </p:nvSpPr>
          <p:spPr>
            <a:xfrm flipH="1">
              <a:off x="7316081" y="4406045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0" name="任意多边形: 形状 619">
              <a:extLst>
                <a:ext uri="{FF2B5EF4-FFF2-40B4-BE49-F238E27FC236}">
                  <a16:creationId xmlns:a16="http://schemas.microsoft.com/office/drawing/2014/main" id="{43B06BA1-ED8E-43E5-B0F7-EE073F298135}"/>
                </a:ext>
              </a:extLst>
            </p:cNvPr>
            <p:cNvSpPr/>
            <p:nvPr/>
          </p:nvSpPr>
          <p:spPr>
            <a:xfrm flipH="1">
              <a:off x="7317300" y="436497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1" name="任意多边形: 形状 620">
              <a:extLst>
                <a:ext uri="{FF2B5EF4-FFF2-40B4-BE49-F238E27FC236}">
                  <a16:creationId xmlns:a16="http://schemas.microsoft.com/office/drawing/2014/main" id="{CBE3F6A2-415D-4112-9F28-64EDBDEA595B}"/>
                </a:ext>
              </a:extLst>
            </p:cNvPr>
            <p:cNvSpPr/>
            <p:nvPr/>
          </p:nvSpPr>
          <p:spPr>
            <a:xfrm flipH="1">
              <a:off x="7316336" y="435676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2" name="任意多边形: 形状 621">
              <a:extLst>
                <a:ext uri="{FF2B5EF4-FFF2-40B4-BE49-F238E27FC236}">
                  <a16:creationId xmlns:a16="http://schemas.microsoft.com/office/drawing/2014/main" id="{74471BC2-93A7-4452-8D91-80AC5ED42EE1}"/>
                </a:ext>
              </a:extLst>
            </p:cNvPr>
            <p:cNvSpPr/>
            <p:nvPr/>
          </p:nvSpPr>
          <p:spPr>
            <a:xfrm flipH="1">
              <a:off x="7317300" y="431548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3" name="任意多边形: 形状 622">
              <a:extLst>
                <a:ext uri="{FF2B5EF4-FFF2-40B4-BE49-F238E27FC236}">
                  <a16:creationId xmlns:a16="http://schemas.microsoft.com/office/drawing/2014/main" id="{36012A0F-1AB9-415E-975E-D0B1A6C2576E}"/>
                </a:ext>
              </a:extLst>
            </p:cNvPr>
            <p:cNvSpPr/>
            <p:nvPr/>
          </p:nvSpPr>
          <p:spPr>
            <a:xfrm flipH="1">
              <a:off x="7316957" y="430742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4" name="任意多边形: 形状 623">
              <a:extLst>
                <a:ext uri="{FF2B5EF4-FFF2-40B4-BE49-F238E27FC236}">
                  <a16:creationId xmlns:a16="http://schemas.microsoft.com/office/drawing/2014/main" id="{053DA90C-094B-4055-AFBC-6D4123802300}"/>
                </a:ext>
              </a:extLst>
            </p:cNvPr>
            <p:cNvSpPr/>
            <p:nvPr/>
          </p:nvSpPr>
          <p:spPr>
            <a:xfrm flipH="1">
              <a:off x="7317300" y="426599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5" name="任意多边形: 形状 624">
              <a:extLst>
                <a:ext uri="{FF2B5EF4-FFF2-40B4-BE49-F238E27FC236}">
                  <a16:creationId xmlns:a16="http://schemas.microsoft.com/office/drawing/2014/main" id="{7C6D2219-4BD6-44A4-8209-449DB1F5F767}"/>
                </a:ext>
              </a:extLst>
            </p:cNvPr>
            <p:cNvSpPr/>
            <p:nvPr/>
          </p:nvSpPr>
          <p:spPr>
            <a:xfrm flipH="1">
              <a:off x="7317109" y="425817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6" name="任意多边形: 形状 625">
              <a:extLst>
                <a:ext uri="{FF2B5EF4-FFF2-40B4-BE49-F238E27FC236}">
                  <a16:creationId xmlns:a16="http://schemas.microsoft.com/office/drawing/2014/main" id="{7A7A7120-FE56-4006-ABAA-B1365738A2D0}"/>
                </a:ext>
              </a:extLst>
            </p:cNvPr>
            <p:cNvSpPr/>
            <p:nvPr/>
          </p:nvSpPr>
          <p:spPr>
            <a:xfrm flipH="1">
              <a:off x="7317300" y="4216507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7" name="任意多边形: 形状 626">
              <a:extLst>
                <a:ext uri="{FF2B5EF4-FFF2-40B4-BE49-F238E27FC236}">
                  <a16:creationId xmlns:a16="http://schemas.microsoft.com/office/drawing/2014/main" id="{5D795014-DE00-43B1-9E22-8C862331E51B}"/>
                </a:ext>
              </a:extLst>
            </p:cNvPr>
            <p:cNvSpPr/>
            <p:nvPr/>
          </p:nvSpPr>
          <p:spPr>
            <a:xfrm flipH="1">
              <a:off x="7317463" y="4208877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8" name="任意多边形: 形状 627">
              <a:extLst>
                <a:ext uri="{FF2B5EF4-FFF2-40B4-BE49-F238E27FC236}">
                  <a16:creationId xmlns:a16="http://schemas.microsoft.com/office/drawing/2014/main" id="{4D712E00-1B0D-4626-BE02-7C7718AB1858}"/>
                </a:ext>
              </a:extLst>
            </p:cNvPr>
            <p:cNvSpPr/>
            <p:nvPr/>
          </p:nvSpPr>
          <p:spPr>
            <a:xfrm flipH="1">
              <a:off x="7317300" y="4167018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9" name="任意多边形: 形状 628">
              <a:extLst>
                <a:ext uri="{FF2B5EF4-FFF2-40B4-BE49-F238E27FC236}">
                  <a16:creationId xmlns:a16="http://schemas.microsoft.com/office/drawing/2014/main" id="{5E04BBCD-E916-4F3D-ABA9-1E76505C42D9}"/>
                </a:ext>
              </a:extLst>
            </p:cNvPr>
            <p:cNvSpPr/>
            <p:nvPr/>
          </p:nvSpPr>
          <p:spPr>
            <a:xfrm flipH="1">
              <a:off x="7317714" y="4159574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0" name="任意多边形: 形状 629">
              <a:extLst>
                <a:ext uri="{FF2B5EF4-FFF2-40B4-BE49-F238E27FC236}">
                  <a16:creationId xmlns:a16="http://schemas.microsoft.com/office/drawing/2014/main" id="{E6AAFE38-522D-4E1C-BF87-F186363705A1}"/>
                </a:ext>
              </a:extLst>
            </p:cNvPr>
            <p:cNvSpPr/>
            <p:nvPr/>
          </p:nvSpPr>
          <p:spPr>
            <a:xfrm flipH="1">
              <a:off x="7317300" y="4117528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1" name="任意多边形: 形状 630">
              <a:extLst>
                <a:ext uri="{FF2B5EF4-FFF2-40B4-BE49-F238E27FC236}">
                  <a16:creationId xmlns:a16="http://schemas.microsoft.com/office/drawing/2014/main" id="{8F5FD95F-4695-40EC-A4B1-8DB23C19E3CD}"/>
                </a:ext>
              </a:extLst>
            </p:cNvPr>
            <p:cNvSpPr/>
            <p:nvPr/>
          </p:nvSpPr>
          <p:spPr>
            <a:xfrm flipH="1">
              <a:off x="7317965" y="4110303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2" name="任意多边形: 形状 631">
              <a:extLst>
                <a:ext uri="{FF2B5EF4-FFF2-40B4-BE49-F238E27FC236}">
                  <a16:creationId xmlns:a16="http://schemas.microsoft.com/office/drawing/2014/main" id="{A85947CF-A564-4D2F-84F6-990D9EAEA2DE}"/>
                </a:ext>
              </a:extLst>
            </p:cNvPr>
            <p:cNvSpPr/>
            <p:nvPr/>
          </p:nvSpPr>
          <p:spPr>
            <a:xfrm flipH="1">
              <a:off x="7317300" y="4068039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3" name="任意多边形: 形状 632">
              <a:extLst>
                <a:ext uri="{FF2B5EF4-FFF2-40B4-BE49-F238E27FC236}">
                  <a16:creationId xmlns:a16="http://schemas.microsoft.com/office/drawing/2014/main" id="{97DA286F-5040-4269-A5C4-419233D0786F}"/>
                </a:ext>
              </a:extLst>
            </p:cNvPr>
            <p:cNvSpPr/>
            <p:nvPr/>
          </p:nvSpPr>
          <p:spPr>
            <a:xfrm flipH="1">
              <a:off x="7318219" y="406100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4" name="任意多边形: 形状 633">
              <a:extLst>
                <a:ext uri="{FF2B5EF4-FFF2-40B4-BE49-F238E27FC236}">
                  <a16:creationId xmlns:a16="http://schemas.microsoft.com/office/drawing/2014/main" id="{32CCC1D6-269A-47D0-B5B9-7532A1D31D90}"/>
                </a:ext>
              </a:extLst>
            </p:cNvPr>
            <p:cNvSpPr/>
            <p:nvPr/>
          </p:nvSpPr>
          <p:spPr>
            <a:xfrm flipH="1">
              <a:off x="7317300" y="402164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5" name="任意多边形: 形状 634">
              <a:extLst>
                <a:ext uri="{FF2B5EF4-FFF2-40B4-BE49-F238E27FC236}">
                  <a16:creationId xmlns:a16="http://schemas.microsoft.com/office/drawing/2014/main" id="{7DD97CA7-B3A9-440E-A615-9BCFD8BB47F5}"/>
                </a:ext>
              </a:extLst>
            </p:cNvPr>
            <p:cNvSpPr/>
            <p:nvPr/>
          </p:nvSpPr>
          <p:spPr>
            <a:xfrm flipH="1">
              <a:off x="7318371" y="4011760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6" name="任意多边形: 形状 635">
              <a:extLst>
                <a:ext uri="{FF2B5EF4-FFF2-40B4-BE49-F238E27FC236}">
                  <a16:creationId xmlns:a16="http://schemas.microsoft.com/office/drawing/2014/main" id="{5D232E61-EA66-4B97-AC07-3866C4240168}"/>
                </a:ext>
              </a:extLst>
            </p:cNvPr>
            <p:cNvSpPr/>
            <p:nvPr/>
          </p:nvSpPr>
          <p:spPr>
            <a:xfrm flipH="1">
              <a:off x="7317300" y="3972153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7" name="任意多边形: 形状 636">
              <a:extLst>
                <a:ext uri="{FF2B5EF4-FFF2-40B4-BE49-F238E27FC236}">
                  <a16:creationId xmlns:a16="http://schemas.microsoft.com/office/drawing/2014/main" id="{870E693C-2C73-4E17-9167-5C85D9C2A806}"/>
                </a:ext>
              </a:extLst>
            </p:cNvPr>
            <p:cNvSpPr/>
            <p:nvPr/>
          </p:nvSpPr>
          <p:spPr>
            <a:xfrm flipH="1">
              <a:off x="7318391" y="3962464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8" name="任意多边形: 形状 637">
              <a:extLst>
                <a:ext uri="{FF2B5EF4-FFF2-40B4-BE49-F238E27FC236}">
                  <a16:creationId xmlns:a16="http://schemas.microsoft.com/office/drawing/2014/main" id="{FE9677BF-6AFF-44E2-8016-F85FBAA725EA}"/>
                </a:ext>
              </a:extLst>
            </p:cNvPr>
            <p:cNvSpPr/>
            <p:nvPr/>
          </p:nvSpPr>
          <p:spPr>
            <a:xfrm flipH="1">
              <a:off x="7317300" y="3922664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9" name="任意多边形: 形状 638">
              <a:extLst>
                <a:ext uri="{FF2B5EF4-FFF2-40B4-BE49-F238E27FC236}">
                  <a16:creationId xmlns:a16="http://schemas.microsoft.com/office/drawing/2014/main" id="{7F62EE16-40B3-4D45-84AA-A4009DD00547}"/>
                </a:ext>
              </a:extLst>
            </p:cNvPr>
            <p:cNvSpPr/>
            <p:nvPr/>
          </p:nvSpPr>
          <p:spPr>
            <a:xfrm flipH="1">
              <a:off x="7315563" y="3913808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3 w 247446"/>
                <a:gd name="connsiteY1" fmla="*/ 0 h 61861"/>
                <a:gd name="connsiteX2" fmla="*/ 269149 w 247446"/>
                <a:gd name="connsiteY2" fmla="*/ 54629 h 61861"/>
                <a:gd name="connsiteX3" fmla="*/ 266666 w 247446"/>
                <a:gd name="connsiteY3" fmla="*/ 6675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3" y="0"/>
                  </a:lnTo>
                  <a:lnTo>
                    <a:pt x="269149" y="54629"/>
                  </a:lnTo>
                  <a:lnTo>
                    <a:pt x="266666" y="6675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0" name="任意多边形: 形状 639">
              <a:extLst>
                <a:ext uri="{FF2B5EF4-FFF2-40B4-BE49-F238E27FC236}">
                  <a16:creationId xmlns:a16="http://schemas.microsoft.com/office/drawing/2014/main" id="{A624D66A-EA32-4EBF-BF49-7528874BD0FE}"/>
                </a:ext>
              </a:extLst>
            </p:cNvPr>
            <p:cNvSpPr/>
            <p:nvPr/>
          </p:nvSpPr>
          <p:spPr>
            <a:xfrm flipH="1">
              <a:off x="7317300" y="387317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1" name="任意多边形: 形状 640">
              <a:extLst>
                <a:ext uri="{FF2B5EF4-FFF2-40B4-BE49-F238E27FC236}">
                  <a16:creationId xmlns:a16="http://schemas.microsoft.com/office/drawing/2014/main" id="{F3EFE9BE-55E4-4CF1-90BC-907113ABB230}"/>
                </a:ext>
              </a:extLst>
            </p:cNvPr>
            <p:cNvSpPr/>
            <p:nvPr/>
          </p:nvSpPr>
          <p:spPr>
            <a:xfrm flipH="1">
              <a:off x="7316200" y="3864504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2" name="任意多边形: 形状 641">
              <a:extLst>
                <a:ext uri="{FF2B5EF4-FFF2-40B4-BE49-F238E27FC236}">
                  <a16:creationId xmlns:a16="http://schemas.microsoft.com/office/drawing/2014/main" id="{CD9ED7A2-F62E-47B4-B775-53EF863BE222}"/>
                </a:ext>
              </a:extLst>
            </p:cNvPr>
            <p:cNvSpPr/>
            <p:nvPr/>
          </p:nvSpPr>
          <p:spPr>
            <a:xfrm flipH="1">
              <a:off x="7317300" y="3823685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3" name="任意多边形: 形状 642">
              <a:extLst>
                <a:ext uri="{FF2B5EF4-FFF2-40B4-BE49-F238E27FC236}">
                  <a16:creationId xmlns:a16="http://schemas.microsoft.com/office/drawing/2014/main" id="{96B6EE2A-A080-4116-A4AB-C714B3BF9DCA}"/>
                </a:ext>
              </a:extLst>
            </p:cNvPr>
            <p:cNvSpPr/>
            <p:nvPr/>
          </p:nvSpPr>
          <p:spPr>
            <a:xfrm flipH="1">
              <a:off x="7316432" y="3815201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4" name="任意多边形: 形状 643">
              <a:extLst>
                <a:ext uri="{FF2B5EF4-FFF2-40B4-BE49-F238E27FC236}">
                  <a16:creationId xmlns:a16="http://schemas.microsoft.com/office/drawing/2014/main" id="{36ABDB7E-8A5B-4609-9813-A88A2A6A1E31}"/>
                </a:ext>
              </a:extLst>
            </p:cNvPr>
            <p:cNvSpPr/>
            <p:nvPr/>
          </p:nvSpPr>
          <p:spPr>
            <a:xfrm flipH="1">
              <a:off x="7317300" y="3774196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6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5" name="任意多边形: 形状 644">
              <a:extLst>
                <a:ext uri="{FF2B5EF4-FFF2-40B4-BE49-F238E27FC236}">
                  <a16:creationId xmlns:a16="http://schemas.microsoft.com/office/drawing/2014/main" id="{D2F25C5D-3386-4444-B3F4-778C4DF081A3}"/>
                </a:ext>
              </a:extLst>
            </p:cNvPr>
            <p:cNvSpPr/>
            <p:nvPr/>
          </p:nvSpPr>
          <p:spPr>
            <a:xfrm flipH="1">
              <a:off x="7316696" y="3765929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6" name="任意多边形: 形状 645">
              <a:extLst>
                <a:ext uri="{FF2B5EF4-FFF2-40B4-BE49-F238E27FC236}">
                  <a16:creationId xmlns:a16="http://schemas.microsoft.com/office/drawing/2014/main" id="{B2930FA7-A48A-44CE-8F9C-6394230EFF5F}"/>
                </a:ext>
              </a:extLst>
            </p:cNvPr>
            <p:cNvSpPr/>
            <p:nvPr/>
          </p:nvSpPr>
          <p:spPr>
            <a:xfrm flipH="1">
              <a:off x="7317300" y="3724707"/>
              <a:ext cx="247447" cy="30931"/>
            </a:xfrm>
            <a:custGeom>
              <a:avLst/>
              <a:gdLst>
                <a:gd name="connsiteX0" fmla="*/ 0 w 247446"/>
                <a:gd name="connsiteY0" fmla="*/ 0 h 30930"/>
                <a:gd name="connsiteX1" fmla="*/ 266005 w 247446"/>
                <a:gd name="connsiteY1" fmla="*/ 55675 h 30930"/>
                <a:gd name="connsiteX2" fmla="*/ 0 w 247446"/>
                <a:gd name="connsiteY2" fmla="*/ 0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7446" h="30930">
                  <a:moveTo>
                    <a:pt x="0" y="0"/>
                  </a:moveTo>
                  <a:lnTo>
                    <a:pt x="266005" y="556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7" name="任意多边形: 形状 646">
              <a:extLst>
                <a:ext uri="{FF2B5EF4-FFF2-40B4-BE49-F238E27FC236}">
                  <a16:creationId xmlns:a16="http://schemas.microsoft.com/office/drawing/2014/main" id="{F84FF729-30BF-4B99-8532-96D32A09B74A}"/>
                </a:ext>
              </a:extLst>
            </p:cNvPr>
            <p:cNvSpPr/>
            <p:nvPr/>
          </p:nvSpPr>
          <p:spPr>
            <a:xfrm flipH="1">
              <a:off x="7316959" y="3716658"/>
              <a:ext cx="247447" cy="61862"/>
            </a:xfrm>
            <a:custGeom>
              <a:avLst/>
              <a:gdLst>
                <a:gd name="connsiteX0" fmla="*/ 0 w 247446"/>
                <a:gd name="connsiteY0" fmla="*/ 12121 h 61861"/>
                <a:gd name="connsiteX1" fmla="*/ 2482 w 247446"/>
                <a:gd name="connsiteY1" fmla="*/ 0 h 61861"/>
                <a:gd name="connsiteX2" fmla="*/ 269148 w 247446"/>
                <a:gd name="connsiteY2" fmla="*/ 54602 h 61861"/>
                <a:gd name="connsiteX3" fmla="*/ 266666 w 247446"/>
                <a:gd name="connsiteY3" fmla="*/ 66723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46" h="61861">
                  <a:moveTo>
                    <a:pt x="0" y="12121"/>
                  </a:moveTo>
                  <a:lnTo>
                    <a:pt x="2482" y="0"/>
                  </a:lnTo>
                  <a:lnTo>
                    <a:pt x="269148" y="54602"/>
                  </a:lnTo>
                  <a:lnTo>
                    <a:pt x="266666" y="66723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8" name="任意多边形: 形状 647">
              <a:extLst>
                <a:ext uri="{FF2B5EF4-FFF2-40B4-BE49-F238E27FC236}">
                  <a16:creationId xmlns:a16="http://schemas.microsoft.com/office/drawing/2014/main" id="{033E82FC-6FA8-469E-AEB8-4B4E62483D07}"/>
                </a:ext>
              </a:extLst>
            </p:cNvPr>
            <p:cNvSpPr/>
            <p:nvPr/>
          </p:nvSpPr>
          <p:spPr>
            <a:xfrm flipH="1">
              <a:off x="7289463" y="372470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9" name="任意多边形: 形状 648">
              <a:extLst>
                <a:ext uri="{FF2B5EF4-FFF2-40B4-BE49-F238E27FC236}">
                  <a16:creationId xmlns:a16="http://schemas.microsoft.com/office/drawing/2014/main" id="{93022417-65F5-4312-9AD3-3D801A569E23}"/>
                </a:ext>
              </a:extLst>
            </p:cNvPr>
            <p:cNvSpPr/>
            <p:nvPr/>
          </p:nvSpPr>
          <p:spPr>
            <a:xfrm flipH="1">
              <a:off x="7295649" y="372470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0" name="任意多边形: 形状 649">
              <a:extLst>
                <a:ext uri="{FF2B5EF4-FFF2-40B4-BE49-F238E27FC236}">
                  <a16:creationId xmlns:a16="http://schemas.microsoft.com/office/drawing/2014/main" id="{16097848-1DE0-4CA1-B734-8E6E37E2B5EC}"/>
                </a:ext>
              </a:extLst>
            </p:cNvPr>
            <p:cNvSpPr/>
            <p:nvPr/>
          </p:nvSpPr>
          <p:spPr>
            <a:xfrm flipH="1">
              <a:off x="7314208" y="372161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1" name="任意多边形: 形状 650">
              <a:extLst>
                <a:ext uri="{FF2B5EF4-FFF2-40B4-BE49-F238E27FC236}">
                  <a16:creationId xmlns:a16="http://schemas.microsoft.com/office/drawing/2014/main" id="{AF850102-D9D0-47BF-93E1-CF8D69A0CE41}"/>
                </a:ext>
              </a:extLst>
            </p:cNvPr>
            <p:cNvSpPr/>
            <p:nvPr/>
          </p:nvSpPr>
          <p:spPr>
            <a:xfrm flipH="1">
              <a:off x="7320394" y="372161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2" name="任意多边形: 形状 651">
              <a:extLst>
                <a:ext uri="{FF2B5EF4-FFF2-40B4-BE49-F238E27FC236}">
                  <a16:creationId xmlns:a16="http://schemas.microsoft.com/office/drawing/2014/main" id="{90F99218-A8A6-4988-A7B4-B91B0327D199}"/>
                </a:ext>
              </a:extLst>
            </p:cNvPr>
            <p:cNvSpPr/>
            <p:nvPr/>
          </p:nvSpPr>
          <p:spPr>
            <a:xfrm flipH="1">
              <a:off x="7338952" y="371542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3" name="任意多边形: 形状 652">
              <a:extLst>
                <a:ext uri="{FF2B5EF4-FFF2-40B4-BE49-F238E27FC236}">
                  <a16:creationId xmlns:a16="http://schemas.microsoft.com/office/drawing/2014/main" id="{7874A157-405A-420C-9DE2-C83F7E29663B}"/>
                </a:ext>
              </a:extLst>
            </p:cNvPr>
            <p:cNvSpPr/>
            <p:nvPr/>
          </p:nvSpPr>
          <p:spPr>
            <a:xfrm flipH="1">
              <a:off x="7345138" y="371542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4" name="任意多边形: 形状 653">
              <a:extLst>
                <a:ext uri="{FF2B5EF4-FFF2-40B4-BE49-F238E27FC236}">
                  <a16:creationId xmlns:a16="http://schemas.microsoft.com/office/drawing/2014/main" id="{C0334FA1-F25A-433A-9B24-86C6EDDB5EDF}"/>
                </a:ext>
              </a:extLst>
            </p:cNvPr>
            <p:cNvSpPr/>
            <p:nvPr/>
          </p:nvSpPr>
          <p:spPr>
            <a:xfrm flipH="1">
              <a:off x="7363697" y="3709241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5" name="任意多边形: 形状 654">
              <a:extLst>
                <a:ext uri="{FF2B5EF4-FFF2-40B4-BE49-F238E27FC236}">
                  <a16:creationId xmlns:a16="http://schemas.microsoft.com/office/drawing/2014/main" id="{9FCA2082-CCF4-4106-90B5-0A869E2B8ACF}"/>
                </a:ext>
              </a:extLst>
            </p:cNvPr>
            <p:cNvSpPr/>
            <p:nvPr/>
          </p:nvSpPr>
          <p:spPr>
            <a:xfrm flipH="1">
              <a:off x="7369883" y="3709241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6" name="任意多边形: 形状 655">
              <a:extLst>
                <a:ext uri="{FF2B5EF4-FFF2-40B4-BE49-F238E27FC236}">
                  <a16:creationId xmlns:a16="http://schemas.microsoft.com/office/drawing/2014/main" id="{6977BA05-8FA1-4D66-8293-A1C6D38A4647}"/>
                </a:ext>
              </a:extLst>
            </p:cNvPr>
            <p:cNvSpPr/>
            <p:nvPr/>
          </p:nvSpPr>
          <p:spPr>
            <a:xfrm flipH="1">
              <a:off x="7388441" y="3706148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7" name="任意多边形: 形状 656">
              <a:extLst>
                <a:ext uri="{FF2B5EF4-FFF2-40B4-BE49-F238E27FC236}">
                  <a16:creationId xmlns:a16="http://schemas.microsoft.com/office/drawing/2014/main" id="{930F405E-BE1A-4679-B64F-DDB9CC50192F}"/>
                </a:ext>
              </a:extLst>
            </p:cNvPr>
            <p:cNvSpPr/>
            <p:nvPr/>
          </p:nvSpPr>
          <p:spPr>
            <a:xfrm flipH="1">
              <a:off x="7394628" y="3706148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8" name="任意多边形: 形状 657">
              <a:extLst>
                <a:ext uri="{FF2B5EF4-FFF2-40B4-BE49-F238E27FC236}">
                  <a16:creationId xmlns:a16="http://schemas.microsoft.com/office/drawing/2014/main" id="{72B3701F-4C3A-49F8-A0C5-332EBA2B889A}"/>
                </a:ext>
              </a:extLst>
            </p:cNvPr>
            <p:cNvSpPr/>
            <p:nvPr/>
          </p:nvSpPr>
          <p:spPr>
            <a:xfrm flipH="1">
              <a:off x="7413186" y="3699962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9" name="任意多边形: 形状 658">
              <a:extLst>
                <a:ext uri="{FF2B5EF4-FFF2-40B4-BE49-F238E27FC236}">
                  <a16:creationId xmlns:a16="http://schemas.microsoft.com/office/drawing/2014/main" id="{3E649EA9-4E0B-480F-9CC8-341A8A91A514}"/>
                </a:ext>
              </a:extLst>
            </p:cNvPr>
            <p:cNvSpPr/>
            <p:nvPr/>
          </p:nvSpPr>
          <p:spPr>
            <a:xfrm flipH="1">
              <a:off x="7416279" y="3699962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0" name="任意多边形: 形状 659">
              <a:extLst>
                <a:ext uri="{FF2B5EF4-FFF2-40B4-BE49-F238E27FC236}">
                  <a16:creationId xmlns:a16="http://schemas.microsoft.com/office/drawing/2014/main" id="{92602594-17A1-4CBF-9276-759640F0E438}"/>
                </a:ext>
              </a:extLst>
            </p:cNvPr>
            <p:cNvSpPr/>
            <p:nvPr/>
          </p:nvSpPr>
          <p:spPr>
            <a:xfrm flipH="1">
              <a:off x="7434838" y="3693776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1" name="任意多边形: 形状 660">
              <a:extLst>
                <a:ext uri="{FF2B5EF4-FFF2-40B4-BE49-F238E27FC236}">
                  <a16:creationId xmlns:a16="http://schemas.microsoft.com/office/drawing/2014/main" id="{0195F911-8C86-4E3A-86C7-330E96146982}"/>
                </a:ext>
              </a:extLst>
            </p:cNvPr>
            <p:cNvSpPr/>
            <p:nvPr/>
          </p:nvSpPr>
          <p:spPr>
            <a:xfrm flipH="1">
              <a:off x="7441024" y="3693776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2" name="任意多边形: 形状 661">
              <a:extLst>
                <a:ext uri="{FF2B5EF4-FFF2-40B4-BE49-F238E27FC236}">
                  <a16:creationId xmlns:a16="http://schemas.microsoft.com/office/drawing/2014/main" id="{9B3AD13F-38C4-4523-AF73-7CE0D1F135D5}"/>
                </a:ext>
              </a:extLst>
            </p:cNvPr>
            <p:cNvSpPr/>
            <p:nvPr/>
          </p:nvSpPr>
          <p:spPr>
            <a:xfrm flipH="1">
              <a:off x="7459582" y="3690683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3" name="任意多边形: 形状 662">
              <a:extLst>
                <a:ext uri="{FF2B5EF4-FFF2-40B4-BE49-F238E27FC236}">
                  <a16:creationId xmlns:a16="http://schemas.microsoft.com/office/drawing/2014/main" id="{CCDAD5A4-1DD0-40A4-B9FF-4ADF70342212}"/>
                </a:ext>
              </a:extLst>
            </p:cNvPr>
            <p:cNvSpPr/>
            <p:nvPr/>
          </p:nvSpPr>
          <p:spPr>
            <a:xfrm flipH="1">
              <a:off x="7465768" y="3690683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4" name="任意多边形: 形状 663">
              <a:extLst>
                <a:ext uri="{FF2B5EF4-FFF2-40B4-BE49-F238E27FC236}">
                  <a16:creationId xmlns:a16="http://schemas.microsoft.com/office/drawing/2014/main" id="{C8C10537-61F2-4D34-8176-79B4B0BA057C}"/>
                </a:ext>
              </a:extLst>
            </p:cNvPr>
            <p:cNvSpPr/>
            <p:nvPr/>
          </p:nvSpPr>
          <p:spPr>
            <a:xfrm flipH="1">
              <a:off x="7484327" y="368449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5" name="任意多边形: 形状 664">
              <a:extLst>
                <a:ext uri="{FF2B5EF4-FFF2-40B4-BE49-F238E27FC236}">
                  <a16:creationId xmlns:a16="http://schemas.microsoft.com/office/drawing/2014/main" id="{2BA08185-EFAF-43A0-86EB-859863C34078}"/>
                </a:ext>
              </a:extLst>
            </p:cNvPr>
            <p:cNvSpPr/>
            <p:nvPr/>
          </p:nvSpPr>
          <p:spPr>
            <a:xfrm flipH="1">
              <a:off x="7490513" y="3684497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6" name="任意多边形: 形状 665">
              <a:extLst>
                <a:ext uri="{FF2B5EF4-FFF2-40B4-BE49-F238E27FC236}">
                  <a16:creationId xmlns:a16="http://schemas.microsoft.com/office/drawing/2014/main" id="{67A00FED-69B7-45C0-824B-73CE9C9D7BB4}"/>
                </a:ext>
              </a:extLst>
            </p:cNvPr>
            <p:cNvSpPr/>
            <p:nvPr/>
          </p:nvSpPr>
          <p:spPr>
            <a:xfrm flipH="1">
              <a:off x="7509072" y="368140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0 w 0"/>
                <a:gd name="connsiteY1" fmla="*/ 1524890 h 1515610"/>
                <a:gd name="connsiteX2" fmla="*/ 0 w 0"/>
                <a:gd name="connsiteY2" fmla="*/ 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0" y="1524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7" name="任意多边形: 形状 666">
              <a:extLst>
                <a:ext uri="{FF2B5EF4-FFF2-40B4-BE49-F238E27FC236}">
                  <a16:creationId xmlns:a16="http://schemas.microsoft.com/office/drawing/2014/main" id="{7FE2262F-1BF4-460E-B21D-8D8F7C8EBE76}"/>
                </a:ext>
              </a:extLst>
            </p:cNvPr>
            <p:cNvSpPr/>
            <p:nvPr/>
          </p:nvSpPr>
          <p:spPr>
            <a:xfrm flipH="1">
              <a:off x="7515258" y="3681404"/>
              <a:ext cx="30931" cy="1515611"/>
            </a:xfrm>
            <a:custGeom>
              <a:avLst/>
              <a:gdLst>
                <a:gd name="connsiteX0" fmla="*/ 0 w 0"/>
                <a:gd name="connsiteY0" fmla="*/ 0 h 1515610"/>
                <a:gd name="connsiteX1" fmla="*/ 12372 w 0"/>
                <a:gd name="connsiteY1" fmla="*/ 0 h 1515610"/>
                <a:gd name="connsiteX2" fmla="*/ 12372 w 0"/>
                <a:gd name="connsiteY2" fmla="*/ 1524890 h 1515610"/>
                <a:gd name="connsiteX3" fmla="*/ 0 w 0"/>
                <a:gd name="connsiteY3" fmla="*/ 1524890 h 1515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1515610">
                  <a:moveTo>
                    <a:pt x="0" y="0"/>
                  </a:moveTo>
                  <a:lnTo>
                    <a:pt x="12372" y="0"/>
                  </a:lnTo>
                  <a:lnTo>
                    <a:pt x="12372" y="1524890"/>
                  </a:lnTo>
                  <a:lnTo>
                    <a:pt x="0" y="1524890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8" name="任意多边形: 形状 667">
              <a:extLst>
                <a:ext uri="{FF2B5EF4-FFF2-40B4-BE49-F238E27FC236}">
                  <a16:creationId xmlns:a16="http://schemas.microsoft.com/office/drawing/2014/main" id="{D5F31587-FE78-424F-B596-9717AC7E690F}"/>
                </a:ext>
              </a:extLst>
            </p:cNvPr>
            <p:cNvSpPr/>
            <p:nvPr/>
          </p:nvSpPr>
          <p:spPr>
            <a:xfrm flipH="1">
              <a:off x="7546189" y="4337137"/>
              <a:ext cx="371170" cy="2134227"/>
            </a:xfrm>
            <a:custGeom>
              <a:avLst/>
              <a:gdLst>
                <a:gd name="connsiteX0" fmla="*/ 0 w 371170"/>
                <a:gd name="connsiteY0" fmla="*/ 0 h 2134227"/>
                <a:gd name="connsiteX1" fmla="*/ 395915 w 371170"/>
                <a:gd name="connsiteY1" fmla="*/ 0 h 2134227"/>
                <a:gd name="connsiteX2" fmla="*/ 395915 w 371170"/>
                <a:gd name="connsiteY2" fmla="*/ 2140414 h 2134227"/>
                <a:gd name="connsiteX3" fmla="*/ 0 w 37117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2134227">
                  <a:moveTo>
                    <a:pt x="0" y="0"/>
                  </a:moveTo>
                  <a:lnTo>
                    <a:pt x="395915" y="0"/>
                  </a:lnTo>
                  <a:lnTo>
                    <a:pt x="395915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9" name="任意多边形: 形状 668">
              <a:extLst>
                <a:ext uri="{FF2B5EF4-FFF2-40B4-BE49-F238E27FC236}">
                  <a16:creationId xmlns:a16="http://schemas.microsoft.com/office/drawing/2014/main" id="{70245240-69CB-4E14-ADE2-3EFE3FD5B039}"/>
                </a:ext>
              </a:extLst>
            </p:cNvPr>
            <p:cNvSpPr/>
            <p:nvPr/>
          </p:nvSpPr>
          <p:spPr>
            <a:xfrm flipH="1">
              <a:off x="7527630" y="4324765"/>
              <a:ext cx="402101" cy="2165158"/>
            </a:xfrm>
            <a:custGeom>
              <a:avLst/>
              <a:gdLst>
                <a:gd name="connsiteX0" fmla="*/ 417566 w 402100"/>
                <a:gd name="connsiteY0" fmla="*/ 2165158 h 2165158"/>
                <a:gd name="connsiteX1" fmla="*/ 0 w 402100"/>
                <a:gd name="connsiteY1" fmla="*/ 2165158 h 2165158"/>
                <a:gd name="connsiteX2" fmla="*/ 0 w 402100"/>
                <a:gd name="connsiteY2" fmla="*/ 0 h 2165158"/>
                <a:gd name="connsiteX3" fmla="*/ 417566 w 402100"/>
                <a:gd name="connsiteY3" fmla="*/ 0 h 2165158"/>
                <a:gd name="connsiteX4" fmla="*/ 417566 w 402100"/>
                <a:gd name="connsiteY4" fmla="*/ 2165158 h 2165158"/>
                <a:gd name="connsiteX5" fmla="*/ 24745 w 402100"/>
                <a:gd name="connsiteY5" fmla="*/ 2143507 h 2165158"/>
                <a:gd name="connsiteX6" fmla="*/ 395915 w 402100"/>
                <a:gd name="connsiteY6" fmla="*/ 2143507 h 2165158"/>
                <a:gd name="connsiteX7" fmla="*/ 395915 w 402100"/>
                <a:gd name="connsiteY7" fmla="*/ 24745 h 2165158"/>
                <a:gd name="connsiteX8" fmla="*/ 24745 w 402100"/>
                <a:gd name="connsiteY8" fmla="*/ 24745 h 2165158"/>
                <a:gd name="connsiteX9" fmla="*/ 24745 w 402100"/>
                <a:gd name="connsiteY9" fmla="*/ 2143507 h 2165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100" h="2165158">
                  <a:moveTo>
                    <a:pt x="417566" y="2165158"/>
                  </a:moveTo>
                  <a:lnTo>
                    <a:pt x="0" y="2165158"/>
                  </a:lnTo>
                  <a:lnTo>
                    <a:pt x="0" y="0"/>
                  </a:lnTo>
                  <a:lnTo>
                    <a:pt x="417566" y="0"/>
                  </a:lnTo>
                  <a:lnTo>
                    <a:pt x="417566" y="2165158"/>
                  </a:lnTo>
                  <a:close/>
                  <a:moveTo>
                    <a:pt x="24745" y="2143507"/>
                  </a:moveTo>
                  <a:lnTo>
                    <a:pt x="395915" y="2143507"/>
                  </a:lnTo>
                  <a:lnTo>
                    <a:pt x="395915" y="24745"/>
                  </a:lnTo>
                  <a:lnTo>
                    <a:pt x="24745" y="24745"/>
                  </a:lnTo>
                  <a:lnTo>
                    <a:pt x="24745" y="2143507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0" name="任意多边形: 形状 669">
              <a:extLst>
                <a:ext uri="{FF2B5EF4-FFF2-40B4-BE49-F238E27FC236}">
                  <a16:creationId xmlns:a16="http://schemas.microsoft.com/office/drawing/2014/main" id="{C215ACE6-D944-49A4-ADC4-4666943E79F2}"/>
                </a:ext>
              </a:extLst>
            </p:cNvPr>
            <p:cNvSpPr/>
            <p:nvPr/>
          </p:nvSpPr>
          <p:spPr>
            <a:xfrm flipH="1">
              <a:off x="7546189" y="640950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1" name="任意多边形: 形状 670">
              <a:extLst>
                <a:ext uri="{FF2B5EF4-FFF2-40B4-BE49-F238E27FC236}">
                  <a16:creationId xmlns:a16="http://schemas.microsoft.com/office/drawing/2014/main" id="{29A286C2-85E9-48D1-BE68-2C9A192A0934}"/>
                </a:ext>
              </a:extLst>
            </p:cNvPr>
            <p:cNvSpPr/>
            <p:nvPr/>
          </p:nvSpPr>
          <p:spPr>
            <a:xfrm flipH="1">
              <a:off x="7546189" y="639713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03358E67-406F-441B-8D4F-294FAA94DBDC}"/>
                </a:ext>
              </a:extLst>
            </p:cNvPr>
            <p:cNvSpPr/>
            <p:nvPr/>
          </p:nvSpPr>
          <p:spPr>
            <a:xfrm flipH="1">
              <a:off x="7546189" y="634145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4F9FC26B-4D71-4CE9-B51D-0E909BAEAAB5}"/>
                </a:ext>
              </a:extLst>
            </p:cNvPr>
            <p:cNvSpPr/>
            <p:nvPr/>
          </p:nvSpPr>
          <p:spPr>
            <a:xfrm flipH="1">
              <a:off x="7546189" y="632908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BDA34241-31F6-4EC1-9E72-57F6D3062FA2}"/>
                </a:ext>
              </a:extLst>
            </p:cNvPr>
            <p:cNvSpPr/>
            <p:nvPr/>
          </p:nvSpPr>
          <p:spPr>
            <a:xfrm flipH="1">
              <a:off x="7546189" y="627031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4E5148B5-5C02-4646-A35E-B989E11820BF}"/>
                </a:ext>
              </a:extLst>
            </p:cNvPr>
            <p:cNvSpPr/>
            <p:nvPr/>
          </p:nvSpPr>
          <p:spPr>
            <a:xfrm flipH="1">
              <a:off x="7546189" y="626103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4D69F65E-E8F7-4DB6-9789-837F05DCB2C2}"/>
                </a:ext>
              </a:extLst>
            </p:cNvPr>
            <p:cNvSpPr/>
            <p:nvPr/>
          </p:nvSpPr>
          <p:spPr>
            <a:xfrm flipH="1">
              <a:off x="7546189" y="620226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48F79227-892C-4E35-9338-651A3BA02843}"/>
                </a:ext>
              </a:extLst>
            </p:cNvPr>
            <p:cNvSpPr/>
            <p:nvPr/>
          </p:nvSpPr>
          <p:spPr>
            <a:xfrm flipH="1">
              <a:off x="7546189" y="618989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D0E3756C-F67D-4E94-B1FC-105BA65F25E9}"/>
                </a:ext>
              </a:extLst>
            </p:cNvPr>
            <p:cNvSpPr/>
            <p:nvPr/>
          </p:nvSpPr>
          <p:spPr>
            <a:xfrm flipH="1">
              <a:off x="7546189" y="613421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5D695A6C-3C68-4291-BD4F-58AD1479F306}"/>
                </a:ext>
              </a:extLst>
            </p:cNvPr>
            <p:cNvSpPr/>
            <p:nvPr/>
          </p:nvSpPr>
          <p:spPr>
            <a:xfrm flipH="1">
              <a:off x="7546189" y="612184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A8BE6994-ED09-44A5-AD33-8D7B66373DB0}"/>
                </a:ext>
              </a:extLst>
            </p:cNvPr>
            <p:cNvSpPr/>
            <p:nvPr/>
          </p:nvSpPr>
          <p:spPr>
            <a:xfrm flipH="1">
              <a:off x="7546189" y="606307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54B5D48F-E396-40FB-A51A-6D52DB711D21}"/>
                </a:ext>
              </a:extLst>
            </p:cNvPr>
            <p:cNvSpPr/>
            <p:nvPr/>
          </p:nvSpPr>
          <p:spPr>
            <a:xfrm flipH="1">
              <a:off x="7546189" y="605379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F5F68A95-D6B2-4DBC-87DF-DF9EC48EFE19}"/>
                </a:ext>
              </a:extLst>
            </p:cNvPr>
            <p:cNvSpPr/>
            <p:nvPr/>
          </p:nvSpPr>
          <p:spPr>
            <a:xfrm flipH="1">
              <a:off x="7546189" y="599503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30E863AC-62CE-477B-9A36-0BFA6E147C79}"/>
                </a:ext>
              </a:extLst>
            </p:cNvPr>
            <p:cNvSpPr/>
            <p:nvPr/>
          </p:nvSpPr>
          <p:spPr>
            <a:xfrm flipH="1">
              <a:off x="7546189" y="598265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33B0542C-F2B3-4098-B043-DE37FD136D43}"/>
                </a:ext>
              </a:extLst>
            </p:cNvPr>
            <p:cNvSpPr/>
            <p:nvPr/>
          </p:nvSpPr>
          <p:spPr>
            <a:xfrm flipH="1">
              <a:off x="7546189" y="592698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DE507E26-B64F-4B13-861D-CBCE64DB71AB}"/>
                </a:ext>
              </a:extLst>
            </p:cNvPr>
            <p:cNvSpPr/>
            <p:nvPr/>
          </p:nvSpPr>
          <p:spPr>
            <a:xfrm flipH="1">
              <a:off x="7546189" y="591461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36CFE0E2-264C-404F-AE23-E12393CD5108}"/>
                </a:ext>
              </a:extLst>
            </p:cNvPr>
            <p:cNvSpPr/>
            <p:nvPr/>
          </p:nvSpPr>
          <p:spPr>
            <a:xfrm flipH="1">
              <a:off x="7546189" y="585584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971C0292-F8F2-409F-8AD7-38722B888C8C}"/>
                </a:ext>
              </a:extLst>
            </p:cNvPr>
            <p:cNvSpPr/>
            <p:nvPr/>
          </p:nvSpPr>
          <p:spPr>
            <a:xfrm flipH="1">
              <a:off x="7546189" y="584656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256810B2-EC6C-48E4-A98E-0092370FB06C}"/>
                </a:ext>
              </a:extLst>
            </p:cNvPr>
            <p:cNvSpPr/>
            <p:nvPr/>
          </p:nvSpPr>
          <p:spPr>
            <a:xfrm flipH="1">
              <a:off x="7546189" y="578779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5B892F54-D9CC-4D2A-9C1A-0A2A25809EA2}"/>
                </a:ext>
              </a:extLst>
            </p:cNvPr>
            <p:cNvSpPr/>
            <p:nvPr/>
          </p:nvSpPr>
          <p:spPr>
            <a:xfrm flipH="1">
              <a:off x="7546189" y="577542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9AAE2274-5C93-4CCA-8F9A-19353D56FEDA}"/>
                </a:ext>
              </a:extLst>
            </p:cNvPr>
            <p:cNvSpPr/>
            <p:nvPr/>
          </p:nvSpPr>
          <p:spPr>
            <a:xfrm flipH="1">
              <a:off x="7546189" y="571974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29240567-DEA8-489B-B82B-340029A6C25B}"/>
                </a:ext>
              </a:extLst>
            </p:cNvPr>
            <p:cNvSpPr/>
            <p:nvPr/>
          </p:nvSpPr>
          <p:spPr>
            <a:xfrm flipH="1">
              <a:off x="7546189" y="570737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DDDFF88A-D8E8-4CC2-9525-D5567DE4EC69}"/>
                </a:ext>
              </a:extLst>
            </p:cNvPr>
            <p:cNvSpPr/>
            <p:nvPr/>
          </p:nvSpPr>
          <p:spPr>
            <a:xfrm flipH="1">
              <a:off x="7546189" y="564860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2B74C5EF-FF68-42B4-9AA8-EAC02FF7FB61}"/>
                </a:ext>
              </a:extLst>
            </p:cNvPr>
            <p:cNvSpPr/>
            <p:nvPr/>
          </p:nvSpPr>
          <p:spPr>
            <a:xfrm flipH="1">
              <a:off x="7546189" y="563932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1899B52A-436D-42F8-A2EB-8441B09FBD14}"/>
                </a:ext>
              </a:extLst>
            </p:cNvPr>
            <p:cNvSpPr/>
            <p:nvPr/>
          </p:nvSpPr>
          <p:spPr>
            <a:xfrm flipH="1">
              <a:off x="7546189" y="558055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5EC582D3-F674-40CF-AA2E-665D55F38D29}"/>
                </a:ext>
              </a:extLst>
            </p:cNvPr>
            <p:cNvSpPr/>
            <p:nvPr/>
          </p:nvSpPr>
          <p:spPr>
            <a:xfrm flipH="1">
              <a:off x="7546189" y="556818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A32AE1F9-08CD-4CD3-B32E-D5DABBC84604}"/>
                </a:ext>
              </a:extLst>
            </p:cNvPr>
            <p:cNvSpPr/>
            <p:nvPr/>
          </p:nvSpPr>
          <p:spPr>
            <a:xfrm flipH="1">
              <a:off x="7546189" y="551250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B996D792-9EFB-43A8-B0B5-C211A3DE19E6}"/>
                </a:ext>
              </a:extLst>
            </p:cNvPr>
            <p:cNvSpPr/>
            <p:nvPr/>
          </p:nvSpPr>
          <p:spPr>
            <a:xfrm flipH="1">
              <a:off x="7546189" y="550013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DE1F8DCD-0505-49DB-B0A4-32B488F6EE61}"/>
                </a:ext>
              </a:extLst>
            </p:cNvPr>
            <p:cNvSpPr/>
            <p:nvPr/>
          </p:nvSpPr>
          <p:spPr>
            <a:xfrm flipH="1">
              <a:off x="7546189" y="544136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9" name="任意多边形: 形状 698">
              <a:extLst>
                <a:ext uri="{FF2B5EF4-FFF2-40B4-BE49-F238E27FC236}">
                  <a16:creationId xmlns:a16="http://schemas.microsoft.com/office/drawing/2014/main" id="{CB3FC442-F22A-4B80-8E1F-463729BE0973}"/>
                </a:ext>
              </a:extLst>
            </p:cNvPr>
            <p:cNvSpPr/>
            <p:nvPr/>
          </p:nvSpPr>
          <p:spPr>
            <a:xfrm flipH="1">
              <a:off x="7546189" y="543208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0" name="任意多边形: 形状 699">
              <a:extLst>
                <a:ext uri="{FF2B5EF4-FFF2-40B4-BE49-F238E27FC236}">
                  <a16:creationId xmlns:a16="http://schemas.microsoft.com/office/drawing/2014/main" id="{E854CBCA-3BF9-4E13-B6DC-6E5613C919D1}"/>
                </a:ext>
              </a:extLst>
            </p:cNvPr>
            <p:cNvSpPr/>
            <p:nvPr/>
          </p:nvSpPr>
          <p:spPr>
            <a:xfrm flipH="1">
              <a:off x="7546189" y="537332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1" name="任意多边形: 形状 700">
              <a:extLst>
                <a:ext uri="{FF2B5EF4-FFF2-40B4-BE49-F238E27FC236}">
                  <a16:creationId xmlns:a16="http://schemas.microsoft.com/office/drawing/2014/main" id="{B8AB0892-B63F-4F4D-98F1-A9E4F90411A0}"/>
                </a:ext>
              </a:extLst>
            </p:cNvPr>
            <p:cNvSpPr/>
            <p:nvPr/>
          </p:nvSpPr>
          <p:spPr>
            <a:xfrm flipH="1">
              <a:off x="7546189" y="536094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2" name="任意多边形: 形状 701">
              <a:extLst>
                <a:ext uri="{FF2B5EF4-FFF2-40B4-BE49-F238E27FC236}">
                  <a16:creationId xmlns:a16="http://schemas.microsoft.com/office/drawing/2014/main" id="{0EB0A4D2-9CCC-4731-90B2-860BB40C6856}"/>
                </a:ext>
              </a:extLst>
            </p:cNvPr>
            <p:cNvSpPr/>
            <p:nvPr/>
          </p:nvSpPr>
          <p:spPr>
            <a:xfrm flipH="1">
              <a:off x="7546189" y="530527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3" name="任意多边形: 形状 702">
              <a:extLst>
                <a:ext uri="{FF2B5EF4-FFF2-40B4-BE49-F238E27FC236}">
                  <a16:creationId xmlns:a16="http://schemas.microsoft.com/office/drawing/2014/main" id="{2BC5E176-C01C-4EEA-89AC-2C1E0F187CFF}"/>
                </a:ext>
              </a:extLst>
            </p:cNvPr>
            <p:cNvSpPr/>
            <p:nvPr/>
          </p:nvSpPr>
          <p:spPr>
            <a:xfrm flipH="1">
              <a:off x="7546189" y="529290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4" name="任意多边形: 形状 703">
              <a:extLst>
                <a:ext uri="{FF2B5EF4-FFF2-40B4-BE49-F238E27FC236}">
                  <a16:creationId xmlns:a16="http://schemas.microsoft.com/office/drawing/2014/main" id="{C07E3C48-733F-44D9-9F85-D1DE16F3107D}"/>
                </a:ext>
              </a:extLst>
            </p:cNvPr>
            <p:cNvSpPr/>
            <p:nvPr/>
          </p:nvSpPr>
          <p:spPr>
            <a:xfrm flipH="1">
              <a:off x="7546189" y="523413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5" name="任意多边形: 形状 704">
              <a:extLst>
                <a:ext uri="{FF2B5EF4-FFF2-40B4-BE49-F238E27FC236}">
                  <a16:creationId xmlns:a16="http://schemas.microsoft.com/office/drawing/2014/main" id="{44EF0E65-E7FA-4108-B9E2-C6CF1ADFB3FC}"/>
                </a:ext>
              </a:extLst>
            </p:cNvPr>
            <p:cNvSpPr/>
            <p:nvPr/>
          </p:nvSpPr>
          <p:spPr>
            <a:xfrm flipH="1">
              <a:off x="7546189" y="522485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1 h 0"/>
                <a:gd name="connsiteX3" fmla="*/ 0 w 371170"/>
                <a:gd name="connsiteY3" fmla="*/ 2165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1"/>
                  </a:lnTo>
                  <a:lnTo>
                    <a:pt x="0" y="21651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6" name="任意多边形: 形状 705">
              <a:extLst>
                <a:ext uri="{FF2B5EF4-FFF2-40B4-BE49-F238E27FC236}">
                  <a16:creationId xmlns:a16="http://schemas.microsoft.com/office/drawing/2014/main" id="{169BEA56-77E3-4ACC-AC4E-BD15B11CFCEA}"/>
                </a:ext>
              </a:extLst>
            </p:cNvPr>
            <p:cNvSpPr/>
            <p:nvPr/>
          </p:nvSpPr>
          <p:spPr>
            <a:xfrm flipH="1">
              <a:off x="7546189" y="516608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7" name="任意多边形: 形状 706">
              <a:extLst>
                <a:ext uri="{FF2B5EF4-FFF2-40B4-BE49-F238E27FC236}">
                  <a16:creationId xmlns:a16="http://schemas.microsoft.com/office/drawing/2014/main" id="{209EA078-B5EF-4F01-96FB-83CE33DDD7F5}"/>
                </a:ext>
              </a:extLst>
            </p:cNvPr>
            <p:cNvSpPr/>
            <p:nvPr/>
          </p:nvSpPr>
          <p:spPr>
            <a:xfrm flipH="1">
              <a:off x="7546189" y="515371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8" name="任意多边形: 形状 707">
              <a:extLst>
                <a:ext uri="{FF2B5EF4-FFF2-40B4-BE49-F238E27FC236}">
                  <a16:creationId xmlns:a16="http://schemas.microsoft.com/office/drawing/2014/main" id="{731A3C8C-7141-444E-9980-B7240DFCA7BE}"/>
                </a:ext>
              </a:extLst>
            </p:cNvPr>
            <p:cNvSpPr/>
            <p:nvPr/>
          </p:nvSpPr>
          <p:spPr>
            <a:xfrm flipH="1">
              <a:off x="7546189" y="509803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9" name="任意多边形: 形状 708">
              <a:extLst>
                <a:ext uri="{FF2B5EF4-FFF2-40B4-BE49-F238E27FC236}">
                  <a16:creationId xmlns:a16="http://schemas.microsoft.com/office/drawing/2014/main" id="{F8539101-3523-47EF-B1BF-CDBCB69DB64C}"/>
                </a:ext>
              </a:extLst>
            </p:cNvPr>
            <p:cNvSpPr/>
            <p:nvPr/>
          </p:nvSpPr>
          <p:spPr>
            <a:xfrm flipH="1">
              <a:off x="7546189" y="508566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0" name="任意多边形: 形状 709">
              <a:extLst>
                <a:ext uri="{FF2B5EF4-FFF2-40B4-BE49-F238E27FC236}">
                  <a16:creationId xmlns:a16="http://schemas.microsoft.com/office/drawing/2014/main" id="{5C561D72-0FB0-443C-B743-321642627309}"/>
                </a:ext>
              </a:extLst>
            </p:cNvPr>
            <p:cNvSpPr/>
            <p:nvPr/>
          </p:nvSpPr>
          <p:spPr>
            <a:xfrm flipH="1">
              <a:off x="7546189" y="502689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1" name="任意多边形: 形状 710">
              <a:extLst>
                <a:ext uri="{FF2B5EF4-FFF2-40B4-BE49-F238E27FC236}">
                  <a16:creationId xmlns:a16="http://schemas.microsoft.com/office/drawing/2014/main" id="{9B096143-39EC-444A-9D94-80DC3ACE6902}"/>
                </a:ext>
              </a:extLst>
            </p:cNvPr>
            <p:cNvSpPr/>
            <p:nvPr/>
          </p:nvSpPr>
          <p:spPr>
            <a:xfrm flipH="1">
              <a:off x="7546189" y="501761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2" name="任意多边形: 形状 711">
              <a:extLst>
                <a:ext uri="{FF2B5EF4-FFF2-40B4-BE49-F238E27FC236}">
                  <a16:creationId xmlns:a16="http://schemas.microsoft.com/office/drawing/2014/main" id="{E82C936B-5F94-48DD-B9AA-AEEB105207AE}"/>
                </a:ext>
              </a:extLst>
            </p:cNvPr>
            <p:cNvSpPr/>
            <p:nvPr/>
          </p:nvSpPr>
          <p:spPr>
            <a:xfrm flipH="1">
              <a:off x="7546189" y="495884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3" name="任意多边形: 形状 712">
              <a:extLst>
                <a:ext uri="{FF2B5EF4-FFF2-40B4-BE49-F238E27FC236}">
                  <a16:creationId xmlns:a16="http://schemas.microsoft.com/office/drawing/2014/main" id="{12181474-AEAC-48E7-B8CA-3FFFD5CCA712}"/>
                </a:ext>
              </a:extLst>
            </p:cNvPr>
            <p:cNvSpPr/>
            <p:nvPr/>
          </p:nvSpPr>
          <p:spPr>
            <a:xfrm flipH="1">
              <a:off x="7546189" y="494647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4" name="任意多边形: 形状 713">
              <a:extLst>
                <a:ext uri="{FF2B5EF4-FFF2-40B4-BE49-F238E27FC236}">
                  <a16:creationId xmlns:a16="http://schemas.microsoft.com/office/drawing/2014/main" id="{03802A0C-091C-41E9-ABC5-1AE48F303675}"/>
                </a:ext>
              </a:extLst>
            </p:cNvPr>
            <p:cNvSpPr/>
            <p:nvPr/>
          </p:nvSpPr>
          <p:spPr>
            <a:xfrm flipH="1">
              <a:off x="7546189" y="489079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5" name="任意多边形: 形状 714">
              <a:extLst>
                <a:ext uri="{FF2B5EF4-FFF2-40B4-BE49-F238E27FC236}">
                  <a16:creationId xmlns:a16="http://schemas.microsoft.com/office/drawing/2014/main" id="{2C0CDB1F-35B3-4015-80AA-0F19275B0D24}"/>
                </a:ext>
              </a:extLst>
            </p:cNvPr>
            <p:cNvSpPr/>
            <p:nvPr/>
          </p:nvSpPr>
          <p:spPr>
            <a:xfrm flipH="1">
              <a:off x="7546189" y="4878427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6" name="任意多边形: 形状 715">
              <a:extLst>
                <a:ext uri="{FF2B5EF4-FFF2-40B4-BE49-F238E27FC236}">
                  <a16:creationId xmlns:a16="http://schemas.microsoft.com/office/drawing/2014/main" id="{D8E51ABF-62D5-4B8B-8BD9-7AFA60A836ED}"/>
                </a:ext>
              </a:extLst>
            </p:cNvPr>
            <p:cNvSpPr/>
            <p:nvPr/>
          </p:nvSpPr>
          <p:spPr>
            <a:xfrm flipH="1">
              <a:off x="7546189" y="481965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7" name="任意多边形: 形状 716">
              <a:extLst>
                <a:ext uri="{FF2B5EF4-FFF2-40B4-BE49-F238E27FC236}">
                  <a16:creationId xmlns:a16="http://schemas.microsoft.com/office/drawing/2014/main" id="{4FD86771-3F29-40BA-BE10-3067803BEEA5}"/>
                </a:ext>
              </a:extLst>
            </p:cNvPr>
            <p:cNvSpPr/>
            <p:nvPr/>
          </p:nvSpPr>
          <p:spPr>
            <a:xfrm flipH="1">
              <a:off x="7546189" y="4810379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8" name="任意多边形: 形状 717">
              <a:extLst>
                <a:ext uri="{FF2B5EF4-FFF2-40B4-BE49-F238E27FC236}">
                  <a16:creationId xmlns:a16="http://schemas.microsoft.com/office/drawing/2014/main" id="{42E2ECCE-EA18-4A23-B94E-AB8491252694}"/>
                </a:ext>
              </a:extLst>
            </p:cNvPr>
            <p:cNvSpPr/>
            <p:nvPr/>
          </p:nvSpPr>
          <p:spPr>
            <a:xfrm flipH="1">
              <a:off x="7546189" y="475161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9" name="任意多边形: 形状 718">
              <a:extLst>
                <a:ext uri="{FF2B5EF4-FFF2-40B4-BE49-F238E27FC236}">
                  <a16:creationId xmlns:a16="http://schemas.microsoft.com/office/drawing/2014/main" id="{1A70A17C-5F78-4C70-9F45-FD27A9AB7018}"/>
                </a:ext>
              </a:extLst>
            </p:cNvPr>
            <p:cNvSpPr/>
            <p:nvPr/>
          </p:nvSpPr>
          <p:spPr>
            <a:xfrm flipH="1">
              <a:off x="7546189" y="4739238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0" name="任意多边形: 形状 719">
              <a:extLst>
                <a:ext uri="{FF2B5EF4-FFF2-40B4-BE49-F238E27FC236}">
                  <a16:creationId xmlns:a16="http://schemas.microsoft.com/office/drawing/2014/main" id="{B79E7A72-E8A3-45AE-9184-9A86BF5E9081}"/>
                </a:ext>
              </a:extLst>
            </p:cNvPr>
            <p:cNvSpPr/>
            <p:nvPr/>
          </p:nvSpPr>
          <p:spPr>
            <a:xfrm flipH="1">
              <a:off x="7546189" y="4683563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1" name="任意多边形: 形状 720">
              <a:extLst>
                <a:ext uri="{FF2B5EF4-FFF2-40B4-BE49-F238E27FC236}">
                  <a16:creationId xmlns:a16="http://schemas.microsoft.com/office/drawing/2014/main" id="{6100A569-9FC8-487C-A9C5-A973D79B1506}"/>
                </a:ext>
              </a:extLst>
            </p:cNvPr>
            <p:cNvSpPr/>
            <p:nvPr/>
          </p:nvSpPr>
          <p:spPr>
            <a:xfrm flipH="1">
              <a:off x="7546189" y="4671190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2" name="任意多边形: 形状 721">
              <a:extLst>
                <a:ext uri="{FF2B5EF4-FFF2-40B4-BE49-F238E27FC236}">
                  <a16:creationId xmlns:a16="http://schemas.microsoft.com/office/drawing/2014/main" id="{63AD1CE4-0E69-4D0C-B473-192AAF7EFA1C}"/>
                </a:ext>
              </a:extLst>
            </p:cNvPr>
            <p:cNvSpPr/>
            <p:nvPr/>
          </p:nvSpPr>
          <p:spPr>
            <a:xfrm flipH="1">
              <a:off x="7546189" y="461242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3" name="任意多边形: 形状 722">
              <a:extLst>
                <a:ext uri="{FF2B5EF4-FFF2-40B4-BE49-F238E27FC236}">
                  <a16:creationId xmlns:a16="http://schemas.microsoft.com/office/drawing/2014/main" id="{B8B91897-EA45-498F-890F-7A98571A160D}"/>
                </a:ext>
              </a:extLst>
            </p:cNvPr>
            <p:cNvSpPr/>
            <p:nvPr/>
          </p:nvSpPr>
          <p:spPr>
            <a:xfrm flipH="1">
              <a:off x="7546189" y="4603142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4" name="任意多边形: 形状 723">
              <a:extLst>
                <a:ext uri="{FF2B5EF4-FFF2-40B4-BE49-F238E27FC236}">
                  <a16:creationId xmlns:a16="http://schemas.microsoft.com/office/drawing/2014/main" id="{511BDE65-F1BD-4900-A0AE-8A3237F3826E}"/>
                </a:ext>
              </a:extLst>
            </p:cNvPr>
            <p:cNvSpPr/>
            <p:nvPr/>
          </p:nvSpPr>
          <p:spPr>
            <a:xfrm flipH="1">
              <a:off x="7546189" y="454437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5" name="任意多边形: 形状 724">
              <a:extLst>
                <a:ext uri="{FF2B5EF4-FFF2-40B4-BE49-F238E27FC236}">
                  <a16:creationId xmlns:a16="http://schemas.microsoft.com/office/drawing/2014/main" id="{E85D388F-3CC0-4B84-8567-2F1856CCCEB0}"/>
                </a:ext>
              </a:extLst>
            </p:cNvPr>
            <p:cNvSpPr/>
            <p:nvPr/>
          </p:nvSpPr>
          <p:spPr>
            <a:xfrm flipH="1">
              <a:off x="7546189" y="4532001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6" name="任意多边形: 形状 725">
              <a:extLst>
                <a:ext uri="{FF2B5EF4-FFF2-40B4-BE49-F238E27FC236}">
                  <a16:creationId xmlns:a16="http://schemas.microsoft.com/office/drawing/2014/main" id="{4E928AF1-CD97-4771-B3E5-79016F890D1C}"/>
                </a:ext>
              </a:extLst>
            </p:cNvPr>
            <p:cNvSpPr/>
            <p:nvPr/>
          </p:nvSpPr>
          <p:spPr>
            <a:xfrm flipH="1">
              <a:off x="7546189" y="447632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7" name="任意多边形: 形状 726">
              <a:extLst>
                <a:ext uri="{FF2B5EF4-FFF2-40B4-BE49-F238E27FC236}">
                  <a16:creationId xmlns:a16="http://schemas.microsoft.com/office/drawing/2014/main" id="{8EE52982-0E4C-4111-B029-F0A0BEE4CD2C}"/>
                </a:ext>
              </a:extLst>
            </p:cNvPr>
            <p:cNvSpPr/>
            <p:nvPr/>
          </p:nvSpPr>
          <p:spPr>
            <a:xfrm flipH="1">
              <a:off x="7546189" y="4463954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8" name="任意多边形: 形状 727">
              <a:extLst>
                <a:ext uri="{FF2B5EF4-FFF2-40B4-BE49-F238E27FC236}">
                  <a16:creationId xmlns:a16="http://schemas.microsoft.com/office/drawing/2014/main" id="{F8B3C742-5025-4015-B75C-0CBC955D9132}"/>
                </a:ext>
              </a:extLst>
            </p:cNvPr>
            <p:cNvSpPr/>
            <p:nvPr/>
          </p:nvSpPr>
          <p:spPr>
            <a:xfrm flipH="1">
              <a:off x="7546189" y="4405185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0 w 37117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9" name="任意多边形: 形状 728">
              <a:extLst>
                <a:ext uri="{FF2B5EF4-FFF2-40B4-BE49-F238E27FC236}">
                  <a16:creationId xmlns:a16="http://schemas.microsoft.com/office/drawing/2014/main" id="{CB5DF016-3A8D-488D-989F-22A16C07A0B4}"/>
                </a:ext>
              </a:extLst>
            </p:cNvPr>
            <p:cNvSpPr/>
            <p:nvPr/>
          </p:nvSpPr>
          <p:spPr>
            <a:xfrm flipH="1">
              <a:off x="7546189" y="4395906"/>
              <a:ext cx="371170" cy="30931"/>
            </a:xfrm>
            <a:custGeom>
              <a:avLst/>
              <a:gdLst>
                <a:gd name="connsiteX0" fmla="*/ 0 w 371170"/>
                <a:gd name="connsiteY0" fmla="*/ 0 h 0"/>
                <a:gd name="connsiteX1" fmla="*/ 395915 w 371170"/>
                <a:gd name="connsiteY1" fmla="*/ 0 h 0"/>
                <a:gd name="connsiteX2" fmla="*/ 395915 w 371170"/>
                <a:gd name="connsiteY2" fmla="*/ 21652 h 0"/>
                <a:gd name="connsiteX3" fmla="*/ 0 w 371170"/>
                <a:gd name="connsiteY3" fmla="*/ 2165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>
                  <a:moveTo>
                    <a:pt x="0" y="0"/>
                  </a:moveTo>
                  <a:lnTo>
                    <a:pt x="395915" y="0"/>
                  </a:lnTo>
                  <a:lnTo>
                    <a:pt x="395915" y="21652"/>
                  </a:lnTo>
                  <a:lnTo>
                    <a:pt x="0" y="21652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0" name="任意多边形: 形状 729">
              <a:extLst>
                <a:ext uri="{FF2B5EF4-FFF2-40B4-BE49-F238E27FC236}">
                  <a16:creationId xmlns:a16="http://schemas.microsoft.com/office/drawing/2014/main" id="{6FC501B3-DE8A-479A-993F-104E90B61DEC}"/>
                </a:ext>
              </a:extLst>
            </p:cNvPr>
            <p:cNvSpPr/>
            <p:nvPr/>
          </p:nvSpPr>
          <p:spPr>
            <a:xfrm flipH="1">
              <a:off x="7527630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1" name="任意多边形: 形状 730">
              <a:extLst>
                <a:ext uri="{FF2B5EF4-FFF2-40B4-BE49-F238E27FC236}">
                  <a16:creationId xmlns:a16="http://schemas.microsoft.com/office/drawing/2014/main" id="{DAF177C6-7184-4F34-9DFA-7EEC1A24D20D}"/>
                </a:ext>
              </a:extLst>
            </p:cNvPr>
            <p:cNvSpPr/>
            <p:nvPr/>
          </p:nvSpPr>
          <p:spPr>
            <a:xfrm flipH="1">
              <a:off x="7540002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2" name="任意多边形: 形状 731">
              <a:extLst>
                <a:ext uri="{FF2B5EF4-FFF2-40B4-BE49-F238E27FC236}">
                  <a16:creationId xmlns:a16="http://schemas.microsoft.com/office/drawing/2014/main" id="{8432D74D-62B6-493C-A5B2-37254CAA20DC}"/>
                </a:ext>
              </a:extLst>
            </p:cNvPr>
            <p:cNvSpPr/>
            <p:nvPr/>
          </p:nvSpPr>
          <p:spPr>
            <a:xfrm flipH="1">
              <a:off x="7564747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3" name="任意多边形: 形状 732">
              <a:extLst>
                <a:ext uri="{FF2B5EF4-FFF2-40B4-BE49-F238E27FC236}">
                  <a16:creationId xmlns:a16="http://schemas.microsoft.com/office/drawing/2014/main" id="{0E65E379-7E33-4A9B-B661-A25A9C76973B}"/>
                </a:ext>
              </a:extLst>
            </p:cNvPr>
            <p:cNvSpPr/>
            <p:nvPr/>
          </p:nvSpPr>
          <p:spPr>
            <a:xfrm flipH="1">
              <a:off x="7577119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4" name="任意多边形: 形状 733">
              <a:extLst>
                <a:ext uri="{FF2B5EF4-FFF2-40B4-BE49-F238E27FC236}">
                  <a16:creationId xmlns:a16="http://schemas.microsoft.com/office/drawing/2014/main" id="{D6948AEB-BF6D-49E2-BE89-C15E68D35531}"/>
                </a:ext>
              </a:extLst>
            </p:cNvPr>
            <p:cNvSpPr/>
            <p:nvPr/>
          </p:nvSpPr>
          <p:spPr>
            <a:xfrm flipH="1">
              <a:off x="7598771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5" name="任意多边形: 形状 734">
              <a:extLst>
                <a:ext uri="{FF2B5EF4-FFF2-40B4-BE49-F238E27FC236}">
                  <a16:creationId xmlns:a16="http://schemas.microsoft.com/office/drawing/2014/main" id="{A0A60189-5E01-4D6A-9C15-B1360F59EFE8}"/>
                </a:ext>
              </a:extLst>
            </p:cNvPr>
            <p:cNvSpPr/>
            <p:nvPr/>
          </p:nvSpPr>
          <p:spPr>
            <a:xfrm flipH="1">
              <a:off x="7611143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6" name="任意多边形: 形状 735">
              <a:extLst>
                <a:ext uri="{FF2B5EF4-FFF2-40B4-BE49-F238E27FC236}">
                  <a16:creationId xmlns:a16="http://schemas.microsoft.com/office/drawing/2014/main" id="{4A507FFE-940D-4B39-8078-0338007E9E62}"/>
                </a:ext>
              </a:extLst>
            </p:cNvPr>
            <p:cNvSpPr/>
            <p:nvPr/>
          </p:nvSpPr>
          <p:spPr>
            <a:xfrm flipH="1">
              <a:off x="7635888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7" name="任意多边形: 形状 736">
              <a:extLst>
                <a:ext uri="{FF2B5EF4-FFF2-40B4-BE49-F238E27FC236}">
                  <a16:creationId xmlns:a16="http://schemas.microsoft.com/office/drawing/2014/main" id="{1C08DF99-2E9D-44AC-8274-8F22E06E7844}"/>
                </a:ext>
              </a:extLst>
            </p:cNvPr>
            <p:cNvSpPr/>
            <p:nvPr/>
          </p:nvSpPr>
          <p:spPr>
            <a:xfrm flipH="1">
              <a:off x="7648260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8" name="任意多边形: 形状 737">
              <a:extLst>
                <a:ext uri="{FF2B5EF4-FFF2-40B4-BE49-F238E27FC236}">
                  <a16:creationId xmlns:a16="http://schemas.microsoft.com/office/drawing/2014/main" id="{1612CB8C-8852-4654-92C1-FD28CDFD8DD9}"/>
                </a:ext>
              </a:extLst>
            </p:cNvPr>
            <p:cNvSpPr/>
            <p:nvPr/>
          </p:nvSpPr>
          <p:spPr>
            <a:xfrm flipH="1">
              <a:off x="7673005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9" name="任意多边形: 形状 738">
              <a:extLst>
                <a:ext uri="{FF2B5EF4-FFF2-40B4-BE49-F238E27FC236}">
                  <a16:creationId xmlns:a16="http://schemas.microsoft.com/office/drawing/2014/main" id="{7394BD19-6F4C-4F7E-963A-06FE6D04F945}"/>
                </a:ext>
              </a:extLst>
            </p:cNvPr>
            <p:cNvSpPr/>
            <p:nvPr/>
          </p:nvSpPr>
          <p:spPr>
            <a:xfrm flipH="1">
              <a:off x="7682284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0" name="任意多边形: 形状 739">
              <a:extLst>
                <a:ext uri="{FF2B5EF4-FFF2-40B4-BE49-F238E27FC236}">
                  <a16:creationId xmlns:a16="http://schemas.microsoft.com/office/drawing/2014/main" id="{A42E599C-CB00-495A-80D3-03A8D7D3B75C}"/>
                </a:ext>
              </a:extLst>
            </p:cNvPr>
            <p:cNvSpPr/>
            <p:nvPr/>
          </p:nvSpPr>
          <p:spPr>
            <a:xfrm flipH="1">
              <a:off x="7707029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1" name="任意多边形: 形状 740">
              <a:extLst>
                <a:ext uri="{FF2B5EF4-FFF2-40B4-BE49-F238E27FC236}">
                  <a16:creationId xmlns:a16="http://schemas.microsoft.com/office/drawing/2014/main" id="{F4835155-FCD1-4625-8FC1-EE77E98842DB}"/>
                </a:ext>
              </a:extLst>
            </p:cNvPr>
            <p:cNvSpPr/>
            <p:nvPr/>
          </p:nvSpPr>
          <p:spPr>
            <a:xfrm flipH="1">
              <a:off x="7719401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2" name="任意多边形: 形状 741">
              <a:extLst>
                <a:ext uri="{FF2B5EF4-FFF2-40B4-BE49-F238E27FC236}">
                  <a16:creationId xmlns:a16="http://schemas.microsoft.com/office/drawing/2014/main" id="{1491A6E9-2725-4594-B0A9-CD16234679C4}"/>
                </a:ext>
              </a:extLst>
            </p:cNvPr>
            <p:cNvSpPr/>
            <p:nvPr/>
          </p:nvSpPr>
          <p:spPr>
            <a:xfrm flipH="1">
              <a:off x="7744146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3" name="任意多边形: 形状 742">
              <a:extLst>
                <a:ext uri="{FF2B5EF4-FFF2-40B4-BE49-F238E27FC236}">
                  <a16:creationId xmlns:a16="http://schemas.microsoft.com/office/drawing/2014/main" id="{7B63B580-5F8F-47A7-ADCD-07A4FC616432}"/>
                </a:ext>
              </a:extLst>
            </p:cNvPr>
            <p:cNvSpPr/>
            <p:nvPr/>
          </p:nvSpPr>
          <p:spPr>
            <a:xfrm flipH="1">
              <a:off x="7756518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4" name="任意多边形: 形状 743">
              <a:extLst>
                <a:ext uri="{FF2B5EF4-FFF2-40B4-BE49-F238E27FC236}">
                  <a16:creationId xmlns:a16="http://schemas.microsoft.com/office/drawing/2014/main" id="{1C5D5096-B60F-47F8-BEBD-B258D4D59139}"/>
                </a:ext>
              </a:extLst>
            </p:cNvPr>
            <p:cNvSpPr/>
            <p:nvPr/>
          </p:nvSpPr>
          <p:spPr>
            <a:xfrm flipH="1">
              <a:off x="7778170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5" name="任意多边形: 形状 744">
              <a:extLst>
                <a:ext uri="{FF2B5EF4-FFF2-40B4-BE49-F238E27FC236}">
                  <a16:creationId xmlns:a16="http://schemas.microsoft.com/office/drawing/2014/main" id="{8ED84A19-83AF-421E-AD87-26971DA3F93A}"/>
                </a:ext>
              </a:extLst>
            </p:cNvPr>
            <p:cNvSpPr/>
            <p:nvPr/>
          </p:nvSpPr>
          <p:spPr>
            <a:xfrm flipH="1">
              <a:off x="7790542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6" name="任意多边形: 形状 745">
              <a:extLst>
                <a:ext uri="{FF2B5EF4-FFF2-40B4-BE49-F238E27FC236}">
                  <a16:creationId xmlns:a16="http://schemas.microsoft.com/office/drawing/2014/main" id="{B66A203E-867E-4718-8CEF-1AB90C30C90F}"/>
                </a:ext>
              </a:extLst>
            </p:cNvPr>
            <p:cNvSpPr/>
            <p:nvPr/>
          </p:nvSpPr>
          <p:spPr>
            <a:xfrm flipH="1">
              <a:off x="7815287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7" name="任意多边形: 形状 746">
              <a:extLst>
                <a:ext uri="{FF2B5EF4-FFF2-40B4-BE49-F238E27FC236}">
                  <a16:creationId xmlns:a16="http://schemas.microsoft.com/office/drawing/2014/main" id="{4CB703E0-7408-432A-972D-36EAD59F39B4}"/>
                </a:ext>
              </a:extLst>
            </p:cNvPr>
            <p:cNvSpPr/>
            <p:nvPr/>
          </p:nvSpPr>
          <p:spPr>
            <a:xfrm flipH="1">
              <a:off x="7827659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8" name="任意多边形: 形状 747">
              <a:extLst>
                <a:ext uri="{FF2B5EF4-FFF2-40B4-BE49-F238E27FC236}">
                  <a16:creationId xmlns:a16="http://schemas.microsoft.com/office/drawing/2014/main" id="{B9E95B9E-1A55-439C-BD97-9597489E2DB5}"/>
                </a:ext>
              </a:extLst>
            </p:cNvPr>
            <p:cNvSpPr/>
            <p:nvPr/>
          </p:nvSpPr>
          <p:spPr>
            <a:xfrm flipH="1">
              <a:off x="7852404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9" name="任意多边形: 形状 748">
              <a:extLst>
                <a:ext uri="{FF2B5EF4-FFF2-40B4-BE49-F238E27FC236}">
                  <a16:creationId xmlns:a16="http://schemas.microsoft.com/office/drawing/2014/main" id="{0DAAE38A-34F8-4ED8-8F62-3686D9F7487C}"/>
                </a:ext>
              </a:extLst>
            </p:cNvPr>
            <p:cNvSpPr/>
            <p:nvPr/>
          </p:nvSpPr>
          <p:spPr>
            <a:xfrm flipH="1">
              <a:off x="7861683" y="433713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9595B5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0" name="任意多边形: 形状 749">
              <a:extLst>
                <a:ext uri="{FF2B5EF4-FFF2-40B4-BE49-F238E27FC236}">
                  <a16:creationId xmlns:a16="http://schemas.microsoft.com/office/drawing/2014/main" id="{4DB35A44-1E68-4789-8CD6-91114B53AEEE}"/>
                </a:ext>
              </a:extLst>
            </p:cNvPr>
            <p:cNvSpPr/>
            <p:nvPr/>
          </p:nvSpPr>
          <p:spPr>
            <a:xfrm flipH="1">
              <a:off x="7140995" y="4337137"/>
              <a:ext cx="371170" cy="2196089"/>
            </a:xfrm>
            <a:custGeom>
              <a:avLst/>
              <a:gdLst>
                <a:gd name="connsiteX0" fmla="*/ 0 w 371170"/>
                <a:gd name="connsiteY0" fmla="*/ 0 h 2196089"/>
                <a:gd name="connsiteX1" fmla="*/ 395915 w 371170"/>
                <a:gd name="connsiteY1" fmla="*/ 77327 h 2196089"/>
                <a:gd name="connsiteX2" fmla="*/ 395915 w 371170"/>
                <a:gd name="connsiteY2" fmla="*/ 2217741 h 2196089"/>
                <a:gd name="connsiteX3" fmla="*/ 0 w 371170"/>
                <a:gd name="connsiteY3" fmla="*/ 2140414 h 2196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2196089">
                  <a:moveTo>
                    <a:pt x="0" y="0"/>
                  </a:moveTo>
                  <a:lnTo>
                    <a:pt x="395915" y="77327"/>
                  </a:lnTo>
                  <a:lnTo>
                    <a:pt x="395915" y="2217741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1" name="任意多边形: 形状 750">
              <a:extLst>
                <a:ext uri="{FF2B5EF4-FFF2-40B4-BE49-F238E27FC236}">
                  <a16:creationId xmlns:a16="http://schemas.microsoft.com/office/drawing/2014/main" id="{03C805C1-6B84-40FD-B809-85E59D40799B}"/>
                </a:ext>
              </a:extLst>
            </p:cNvPr>
            <p:cNvSpPr/>
            <p:nvPr/>
          </p:nvSpPr>
          <p:spPr>
            <a:xfrm flipH="1">
              <a:off x="7122436" y="4324765"/>
              <a:ext cx="402101" cy="2227020"/>
            </a:xfrm>
            <a:custGeom>
              <a:avLst/>
              <a:gdLst>
                <a:gd name="connsiteX0" fmla="*/ 417566 w 402100"/>
                <a:gd name="connsiteY0" fmla="*/ 2245578 h 2227019"/>
                <a:gd name="connsiteX1" fmla="*/ 0 w 402100"/>
                <a:gd name="connsiteY1" fmla="*/ 2165158 h 2227019"/>
                <a:gd name="connsiteX2" fmla="*/ 0 w 402100"/>
                <a:gd name="connsiteY2" fmla="*/ 0 h 2227019"/>
                <a:gd name="connsiteX3" fmla="*/ 417566 w 402100"/>
                <a:gd name="connsiteY3" fmla="*/ 80420 h 2227019"/>
                <a:gd name="connsiteX4" fmla="*/ 417566 w 402100"/>
                <a:gd name="connsiteY4" fmla="*/ 2245578 h 2227019"/>
                <a:gd name="connsiteX5" fmla="*/ 24745 w 402100"/>
                <a:gd name="connsiteY5" fmla="*/ 2143507 h 2227019"/>
                <a:gd name="connsiteX6" fmla="*/ 395915 w 402100"/>
                <a:gd name="connsiteY6" fmla="*/ 2214648 h 2227019"/>
                <a:gd name="connsiteX7" fmla="*/ 395915 w 402100"/>
                <a:gd name="connsiteY7" fmla="*/ 98979 h 2227019"/>
                <a:gd name="connsiteX8" fmla="*/ 24745 w 402100"/>
                <a:gd name="connsiteY8" fmla="*/ 27838 h 2227019"/>
                <a:gd name="connsiteX9" fmla="*/ 24745 w 402100"/>
                <a:gd name="connsiteY9" fmla="*/ 2143507 h 2227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100" h="2227019">
                  <a:moveTo>
                    <a:pt x="417566" y="2245578"/>
                  </a:moveTo>
                  <a:lnTo>
                    <a:pt x="0" y="2165158"/>
                  </a:lnTo>
                  <a:lnTo>
                    <a:pt x="0" y="0"/>
                  </a:lnTo>
                  <a:lnTo>
                    <a:pt x="417566" y="80420"/>
                  </a:lnTo>
                  <a:lnTo>
                    <a:pt x="417566" y="2245578"/>
                  </a:lnTo>
                  <a:close/>
                  <a:moveTo>
                    <a:pt x="24745" y="2143507"/>
                  </a:moveTo>
                  <a:lnTo>
                    <a:pt x="395915" y="2214648"/>
                  </a:lnTo>
                  <a:lnTo>
                    <a:pt x="395915" y="98979"/>
                  </a:lnTo>
                  <a:lnTo>
                    <a:pt x="24745" y="27838"/>
                  </a:lnTo>
                  <a:lnTo>
                    <a:pt x="24745" y="2143507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2" name="任意多边形: 形状 751">
              <a:extLst>
                <a:ext uri="{FF2B5EF4-FFF2-40B4-BE49-F238E27FC236}">
                  <a16:creationId xmlns:a16="http://schemas.microsoft.com/office/drawing/2014/main" id="{ADCB5098-0716-496F-8E39-EA0F4CCC66E7}"/>
                </a:ext>
              </a:extLst>
            </p:cNvPr>
            <p:cNvSpPr/>
            <p:nvPr/>
          </p:nvSpPr>
          <p:spPr>
            <a:xfrm flipH="1">
              <a:off x="7140995" y="6409503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3" name="任意多边形: 形状 752">
              <a:extLst>
                <a:ext uri="{FF2B5EF4-FFF2-40B4-BE49-F238E27FC236}">
                  <a16:creationId xmlns:a16="http://schemas.microsoft.com/office/drawing/2014/main" id="{5A65E181-1498-4F60-8CDC-5840AA2263E5}"/>
                </a:ext>
              </a:extLst>
            </p:cNvPr>
            <p:cNvSpPr/>
            <p:nvPr/>
          </p:nvSpPr>
          <p:spPr>
            <a:xfrm flipH="1">
              <a:off x="7144266" y="639973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4" name="任意多边形: 形状 753">
              <a:extLst>
                <a:ext uri="{FF2B5EF4-FFF2-40B4-BE49-F238E27FC236}">
                  <a16:creationId xmlns:a16="http://schemas.microsoft.com/office/drawing/2014/main" id="{780385C5-0EB8-4899-8E57-FC3AE0628B20}"/>
                </a:ext>
              </a:extLst>
            </p:cNvPr>
            <p:cNvSpPr/>
            <p:nvPr/>
          </p:nvSpPr>
          <p:spPr>
            <a:xfrm flipH="1">
              <a:off x="7140995" y="634145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5" name="任意多边形: 形状 754">
              <a:extLst>
                <a:ext uri="{FF2B5EF4-FFF2-40B4-BE49-F238E27FC236}">
                  <a16:creationId xmlns:a16="http://schemas.microsoft.com/office/drawing/2014/main" id="{F1149086-9863-48F2-9D91-5E24A2CDA45E}"/>
                </a:ext>
              </a:extLst>
            </p:cNvPr>
            <p:cNvSpPr/>
            <p:nvPr/>
          </p:nvSpPr>
          <p:spPr>
            <a:xfrm flipH="1">
              <a:off x="7143176" y="633095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6" name="任意多边形: 形状 755">
              <a:extLst>
                <a:ext uri="{FF2B5EF4-FFF2-40B4-BE49-F238E27FC236}">
                  <a16:creationId xmlns:a16="http://schemas.microsoft.com/office/drawing/2014/main" id="{5F68813D-03CD-44EB-A6FD-418BBEA77AED}"/>
                </a:ext>
              </a:extLst>
            </p:cNvPr>
            <p:cNvSpPr/>
            <p:nvPr/>
          </p:nvSpPr>
          <p:spPr>
            <a:xfrm flipH="1">
              <a:off x="7140995" y="6270314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7" name="任意多边形: 形状 756">
              <a:extLst>
                <a:ext uri="{FF2B5EF4-FFF2-40B4-BE49-F238E27FC236}">
                  <a16:creationId xmlns:a16="http://schemas.microsoft.com/office/drawing/2014/main" id="{8748C860-97E1-48F6-A5FF-367F7D44FF0C}"/>
                </a:ext>
              </a:extLst>
            </p:cNvPr>
            <p:cNvSpPr/>
            <p:nvPr/>
          </p:nvSpPr>
          <p:spPr>
            <a:xfrm flipH="1">
              <a:off x="7142243" y="626205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8" name="任意多边形: 形状 757">
              <a:extLst>
                <a:ext uri="{FF2B5EF4-FFF2-40B4-BE49-F238E27FC236}">
                  <a16:creationId xmlns:a16="http://schemas.microsoft.com/office/drawing/2014/main" id="{47638C83-BDF1-4172-B4D5-48539CD1F6A1}"/>
                </a:ext>
              </a:extLst>
            </p:cNvPr>
            <p:cNvSpPr/>
            <p:nvPr/>
          </p:nvSpPr>
          <p:spPr>
            <a:xfrm flipH="1">
              <a:off x="7140995" y="6202266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9" name="任意多边形: 形状 758">
              <a:extLst>
                <a:ext uri="{FF2B5EF4-FFF2-40B4-BE49-F238E27FC236}">
                  <a16:creationId xmlns:a16="http://schemas.microsoft.com/office/drawing/2014/main" id="{940FF4C9-FE72-4494-811B-F2C69105188A}"/>
                </a:ext>
              </a:extLst>
            </p:cNvPr>
            <p:cNvSpPr/>
            <p:nvPr/>
          </p:nvSpPr>
          <p:spPr>
            <a:xfrm flipH="1">
              <a:off x="7144319" y="6192559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0" name="任意多边形: 形状 759">
              <a:extLst>
                <a:ext uri="{FF2B5EF4-FFF2-40B4-BE49-F238E27FC236}">
                  <a16:creationId xmlns:a16="http://schemas.microsoft.com/office/drawing/2014/main" id="{0724160E-C546-4378-B3DD-136D2C2F469A}"/>
                </a:ext>
              </a:extLst>
            </p:cNvPr>
            <p:cNvSpPr/>
            <p:nvPr/>
          </p:nvSpPr>
          <p:spPr>
            <a:xfrm flipH="1">
              <a:off x="7140995" y="613421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1" name="任意多边形: 形状 760">
              <a:extLst>
                <a:ext uri="{FF2B5EF4-FFF2-40B4-BE49-F238E27FC236}">
                  <a16:creationId xmlns:a16="http://schemas.microsoft.com/office/drawing/2014/main" id="{A2EDFAA8-483E-448D-88CE-A813A45B73CF}"/>
                </a:ext>
              </a:extLst>
            </p:cNvPr>
            <p:cNvSpPr/>
            <p:nvPr/>
          </p:nvSpPr>
          <p:spPr>
            <a:xfrm flipH="1">
              <a:off x="7143287" y="6123717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2" name="任意多边形: 形状 761">
              <a:extLst>
                <a:ext uri="{FF2B5EF4-FFF2-40B4-BE49-F238E27FC236}">
                  <a16:creationId xmlns:a16="http://schemas.microsoft.com/office/drawing/2014/main" id="{198D5196-EE1F-46A0-97A6-FF9BBF484B25}"/>
                </a:ext>
              </a:extLst>
            </p:cNvPr>
            <p:cNvSpPr/>
            <p:nvPr/>
          </p:nvSpPr>
          <p:spPr>
            <a:xfrm flipH="1">
              <a:off x="7140995" y="606307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3" name="任意多边形: 形状 762">
              <a:extLst>
                <a:ext uri="{FF2B5EF4-FFF2-40B4-BE49-F238E27FC236}">
                  <a16:creationId xmlns:a16="http://schemas.microsoft.com/office/drawing/2014/main" id="{4491FCB4-D77D-46A3-B5E7-99F42766B3B8}"/>
                </a:ext>
              </a:extLst>
            </p:cNvPr>
            <p:cNvSpPr/>
            <p:nvPr/>
          </p:nvSpPr>
          <p:spPr>
            <a:xfrm flipH="1">
              <a:off x="7142295" y="6054845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4" name="任意多边形: 形状 763">
              <a:extLst>
                <a:ext uri="{FF2B5EF4-FFF2-40B4-BE49-F238E27FC236}">
                  <a16:creationId xmlns:a16="http://schemas.microsoft.com/office/drawing/2014/main" id="{9920B416-7EFE-4242-841B-67B4A30618C1}"/>
                </a:ext>
              </a:extLst>
            </p:cNvPr>
            <p:cNvSpPr/>
            <p:nvPr/>
          </p:nvSpPr>
          <p:spPr>
            <a:xfrm flipH="1">
              <a:off x="7140995" y="5995030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5" name="任意多边形: 形状 764">
              <a:extLst>
                <a:ext uri="{FF2B5EF4-FFF2-40B4-BE49-F238E27FC236}">
                  <a16:creationId xmlns:a16="http://schemas.microsoft.com/office/drawing/2014/main" id="{44966913-B63E-4C0D-89D1-41AFCAD098E6}"/>
                </a:ext>
              </a:extLst>
            </p:cNvPr>
            <p:cNvSpPr/>
            <p:nvPr/>
          </p:nvSpPr>
          <p:spPr>
            <a:xfrm flipH="1">
              <a:off x="7144371" y="598535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6" name="任意多边形: 形状 765">
              <a:extLst>
                <a:ext uri="{FF2B5EF4-FFF2-40B4-BE49-F238E27FC236}">
                  <a16:creationId xmlns:a16="http://schemas.microsoft.com/office/drawing/2014/main" id="{5656EA44-9494-4455-BE26-3EC6A43F05DD}"/>
                </a:ext>
              </a:extLst>
            </p:cNvPr>
            <p:cNvSpPr/>
            <p:nvPr/>
          </p:nvSpPr>
          <p:spPr>
            <a:xfrm flipH="1">
              <a:off x="7140995" y="5926982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7" name="任意多边形: 形状 766">
              <a:extLst>
                <a:ext uri="{FF2B5EF4-FFF2-40B4-BE49-F238E27FC236}">
                  <a16:creationId xmlns:a16="http://schemas.microsoft.com/office/drawing/2014/main" id="{67D478E0-6903-49A5-B378-BCA4E14EDA32}"/>
                </a:ext>
              </a:extLst>
            </p:cNvPr>
            <p:cNvSpPr/>
            <p:nvPr/>
          </p:nvSpPr>
          <p:spPr>
            <a:xfrm flipH="1">
              <a:off x="7143339" y="591651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8" name="任意多边形: 形状 767">
              <a:extLst>
                <a:ext uri="{FF2B5EF4-FFF2-40B4-BE49-F238E27FC236}">
                  <a16:creationId xmlns:a16="http://schemas.microsoft.com/office/drawing/2014/main" id="{AC54D1B5-62A1-4D35-9BBB-2AC1723ADE3A}"/>
                </a:ext>
              </a:extLst>
            </p:cNvPr>
            <p:cNvSpPr/>
            <p:nvPr/>
          </p:nvSpPr>
          <p:spPr>
            <a:xfrm flipH="1">
              <a:off x="7140995" y="5855841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9" name="任意多边形: 形状 768">
              <a:extLst>
                <a:ext uri="{FF2B5EF4-FFF2-40B4-BE49-F238E27FC236}">
                  <a16:creationId xmlns:a16="http://schemas.microsoft.com/office/drawing/2014/main" id="{D14A5D2F-68F4-42BA-8B6F-EB3CC20BE7C7}"/>
                </a:ext>
              </a:extLst>
            </p:cNvPr>
            <p:cNvSpPr/>
            <p:nvPr/>
          </p:nvSpPr>
          <p:spPr>
            <a:xfrm flipH="1">
              <a:off x="7142348" y="5847639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0" name="任意多边形: 形状 769">
              <a:extLst>
                <a:ext uri="{FF2B5EF4-FFF2-40B4-BE49-F238E27FC236}">
                  <a16:creationId xmlns:a16="http://schemas.microsoft.com/office/drawing/2014/main" id="{A0672E93-A7F1-49FE-8F46-24C875BA094B}"/>
                </a:ext>
              </a:extLst>
            </p:cNvPr>
            <p:cNvSpPr/>
            <p:nvPr/>
          </p:nvSpPr>
          <p:spPr>
            <a:xfrm flipH="1">
              <a:off x="7140995" y="5787793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1" name="任意多边形: 形状 770">
              <a:extLst>
                <a:ext uri="{FF2B5EF4-FFF2-40B4-BE49-F238E27FC236}">
                  <a16:creationId xmlns:a16="http://schemas.microsoft.com/office/drawing/2014/main" id="{77D16060-D9BE-418B-9080-564D23344D38}"/>
                </a:ext>
              </a:extLst>
            </p:cNvPr>
            <p:cNvSpPr/>
            <p:nvPr/>
          </p:nvSpPr>
          <p:spPr>
            <a:xfrm flipH="1">
              <a:off x="7144420" y="577817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2" name="任意多边形: 形状 771">
              <a:extLst>
                <a:ext uri="{FF2B5EF4-FFF2-40B4-BE49-F238E27FC236}">
                  <a16:creationId xmlns:a16="http://schemas.microsoft.com/office/drawing/2014/main" id="{C72F7F30-512B-429A-B718-80DA588F522E}"/>
                </a:ext>
              </a:extLst>
            </p:cNvPr>
            <p:cNvSpPr/>
            <p:nvPr/>
          </p:nvSpPr>
          <p:spPr>
            <a:xfrm flipH="1">
              <a:off x="7140995" y="571974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3" name="任意多边形: 形状 772">
              <a:extLst>
                <a:ext uri="{FF2B5EF4-FFF2-40B4-BE49-F238E27FC236}">
                  <a16:creationId xmlns:a16="http://schemas.microsoft.com/office/drawing/2014/main" id="{B33A1F0E-F1F8-4FD2-A73F-B5794102B97D}"/>
                </a:ext>
              </a:extLst>
            </p:cNvPr>
            <p:cNvSpPr/>
            <p:nvPr/>
          </p:nvSpPr>
          <p:spPr>
            <a:xfrm flipH="1">
              <a:off x="7143391" y="5709336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4" name="任意多边形: 形状 773">
              <a:extLst>
                <a:ext uri="{FF2B5EF4-FFF2-40B4-BE49-F238E27FC236}">
                  <a16:creationId xmlns:a16="http://schemas.microsoft.com/office/drawing/2014/main" id="{7F21F859-F84C-4514-B4E1-E2FC46DD2EFC}"/>
                </a:ext>
              </a:extLst>
            </p:cNvPr>
            <p:cNvSpPr/>
            <p:nvPr/>
          </p:nvSpPr>
          <p:spPr>
            <a:xfrm flipH="1">
              <a:off x="7140995" y="564860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5" name="任意多边形: 形状 774">
              <a:extLst>
                <a:ext uri="{FF2B5EF4-FFF2-40B4-BE49-F238E27FC236}">
                  <a16:creationId xmlns:a16="http://schemas.microsoft.com/office/drawing/2014/main" id="{9CFC36B8-5EB0-46D1-B800-50045101D3DF}"/>
                </a:ext>
              </a:extLst>
            </p:cNvPr>
            <p:cNvSpPr/>
            <p:nvPr/>
          </p:nvSpPr>
          <p:spPr>
            <a:xfrm flipH="1">
              <a:off x="7142400" y="564046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6" name="任意多边形: 形状 775">
              <a:extLst>
                <a:ext uri="{FF2B5EF4-FFF2-40B4-BE49-F238E27FC236}">
                  <a16:creationId xmlns:a16="http://schemas.microsoft.com/office/drawing/2014/main" id="{1EA7CF41-C606-4E1E-AA9E-9C639AB2517D}"/>
                </a:ext>
              </a:extLst>
            </p:cNvPr>
            <p:cNvSpPr/>
            <p:nvPr/>
          </p:nvSpPr>
          <p:spPr>
            <a:xfrm flipH="1">
              <a:off x="7140995" y="5580557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7" name="任意多边形: 形状 776">
              <a:extLst>
                <a:ext uri="{FF2B5EF4-FFF2-40B4-BE49-F238E27FC236}">
                  <a16:creationId xmlns:a16="http://schemas.microsoft.com/office/drawing/2014/main" id="{C162D0C8-8B1C-4448-ACA4-28F1A754D1B0}"/>
                </a:ext>
              </a:extLst>
            </p:cNvPr>
            <p:cNvSpPr/>
            <p:nvPr/>
          </p:nvSpPr>
          <p:spPr>
            <a:xfrm flipH="1">
              <a:off x="7144404" y="557103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8" name="任意多边形: 形状 777">
              <a:extLst>
                <a:ext uri="{FF2B5EF4-FFF2-40B4-BE49-F238E27FC236}">
                  <a16:creationId xmlns:a16="http://schemas.microsoft.com/office/drawing/2014/main" id="{81BF8F9B-EB1D-4118-A6A9-C0F9F15D6A0F}"/>
                </a:ext>
              </a:extLst>
            </p:cNvPr>
            <p:cNvSpPr/>
            <p:nvPr/>
          </p:nvSpPr>
          <p:spPr>
            <a:xfrm flipH="1">
              <a:off x="7140995" y="5512509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9" name="任意多边形: 形状 778">
              <a:extLst>
                <a:ext uri="{FF2B5EF4-FFF2-40B4-BE49-F238E27FC236}">
                  <a16:creationId xmlns:a16="http://schemas.microsoft.com/office/drawing/2014/main" id="{F7BD77FE-A143-4384-8CDD-37709E4B1E48}"/>
                </a:ext>
              </a:extLst>
            </p:cNvPr>
            <p:cNvSpPr/>
            <p:nvPr/>
          </p:nvSpPr>
          <p:spPr>
            <a:xfrm flipH="1">
              <a:off x="7143444" y="5502130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0" name="任意多边形: 形状 779">
              <a:extLst>
                <a:ext uri="{FF2B5EF4-FFF2-40B4-BE49-F238E27FC236}">
                  <a16:creationId xmlns:a16="http://schemas.microsoft.com/office/drawing/2014/main" id="{EBAB0E50-1C92-49A4-92C8-6B17155AD530}"/>
                </a:ext>
              </a:extLst>
            </p:cNvPr>
            <p:cNvSpPr/>
            <p:nvPr/>
          </p:nvSpPr>
          <p:spPr>
            <a:xfrm flipH="1">
              <a:off x="7140995" y="544136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1" name="任意多边形: 形状 780">
              <a:extLst>
                <a:ext uri="{FF2B5EF4-FFF2-40B4-BE49-F238E27FC236}">
                  <a16:creationId xmlns:a16="http://schemas.microsoft.com/office/drawing/2014/main" id="{78706C24-FFC8-4392-8F2C-980F655A7003}"/>
                </a:ext>
              </a:extLst>
            </p:cNvPr>
            <p:cNvSpPr/>
            <p:nvPr/>
          </p:nvSpPr>
          <p:spPr>
            <a:xfrm flipH="1">
              <a:off x="7142449" y="543325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2" name="任意多边形: 形状 781">
              <a:extLst>
                <a:ext uri="{FF2B5EF4-FFF2-40B4-BE49-F238E27FC236}">
                  <a16:creationId xmlns:a16="http://schemas.microsoft.com/office/drawing/2014/main" id="{9DBF3641-85E9-4949-A6BA-FDF161E93B2C}"/>
                </a:ext>
              </a:extLst>
            </p:cNvPr>
            <p:cNvSpPr/>
            <p:nvPr/>
          </p:nvSpPr>
          <p:spPr>
            <a:xfrm flipH="1">
              <a:off x="7140995" y="5373320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3" name="任意多边形: 形状 782">
              <a:extLst>
                <a:ext uri="{FF2B5EF4-FFF2-40B4-BE49-F238E27FC236}">
                  <a16:creationId xmlns:a16="http://schemas.microsoft.com/office/drawing/2014/main" id="{571411DA-9EBA-4778-AFE3-0BAA8AA4A471}"/>
                </a:ext>
              </a:extLst>
            </p:cNvPr>
            <p:cNvSpPr/>
            <p:nvPr/>
          </p:nvSpPr>
          <p:spPr>
            <a:xfrm flipH="1">
              <a:off x="7144519" y="5363797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4" name="任意多边形: 形状 783">
              <a:extLst>
                <a:ext uri="{FF2B5EF4-FFF2-40B4-BE49-F238E27FC236}">
                  <a16:creationId xmlns:a16="http://schemas.microsoft.com/office/drawing/2014/main" id="{215DD93A-7591-490C-A3D0-1114B04EA4B2}"/>
                </a:ext>
              </a:extLst>
            </p:cNvPr>
            <p:cNvSpPr/>
            <p:nvPr/>
          </p:nvSpPr>
          <p:spPr>
            <a:xfrm flipH="1">
              <a:off x="7140995" y="5305272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5" name="任意多边形: 形状 784">
              <a:extLst>
                <a:ext uri="{FF2B5EF4-FFF2-40B4-BE49-F238E27FC236}">
                  <a16:creationId xmlns:a16="http://schemas.microsoft.com/office/drawing/2014/main" id="{B8E4ED12-6897-4363-90AC-7E1380BB4522}"/>
                </a:ext>
              </a:extLst>
            </p:cNvPr>
            <p:cNvSpPr/>
            <p:nvPr/>
          </p:nvSpPr>
          <p:spPr>
            <a:xfrm flipH="1">
              <a:off x="7143493" y="529492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6" name="任意多边形: 形状 785">
              <a:extLst>
                <a:ext uri="{FF2B5EF4-FFF2-40B4-BE49-F238E27FC236}">
                  <a16:creationId xmlns:a16="http://schemas.microsoft.com/office/drawing/2014/main" id="{00BF0954-A9F8-4D2E-917C-DC73E5BACE9D}"/>
                </a:ext>
              </a:extLst>
            </p:cNvPr>
            <p:cNvSpPr/>
            <p:nvPr/>
          </p:nvSpPr>
          <p:spPr>
            <a:xfrm flipH="1">
              <a:off x="7140995" y="5234131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7" name="任意多边形: 形状 786">
              <a:extLst>
                <a:ext uri="{FF2B5EF4-FFF2-40B4-BE49-F238E27FC236}">
                  <a16:creationId xmlns:a16="http://schemas.microsoft.com/office/drawing/2014/main" id="{EEFFE18D-314C-4F92-9E05-40E04C4EC415}"/>
                </a:ext>
              </a:extLst>
            </p:cNvPr>
            <p:cNvSpPr/>
            <p:nvPr/>
          </p:nvSpPr>
          <p:spPr>
            <a:xfrm flipH="1">
              <a:off x="7142501" y="522608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8" name="任意多边形: 形状 787">
              <a:extLst>
                <a:ext uri="{FF2B5EF4-FFF2-40B4-BE49-F238E27FC236}">
                  <a16:creationId xmlns:a16="http://schemas.microsoft.com/office/drawing/2014/main" id="{3AC3BCF0-3E38-4464-B22F-2A620AEC2218}"/>
                </a:ext>
              </a:extLst>
            </p:cNvPr>
            <p:cNvSpPr/>
            <p:nvPr/>
          </p:nvSpPr>
          <p:spPr>
            <a:xfrm flipH="1">
              <a:off x="7140995" y="5166084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9" name="任意多边形: 形状 788">
              <a:extLst>
                <a:ext uri="{FF2B5EF4-FFF2-40B4-BE49-F238E27FC236}">
                  <a16:creationId xmlns:a16="http://schemas.microsoft.com/office/drawing/2014/main" id="{767EF102-8AA7-4414-BBAD-400FAF8E0321}"/>
                </a:ext>
              </a:extLst>
            </p:cNvPr>
            <p:cNvSpPr/>
            <p:nvPr/>
          </p:nvSpPr>
          <p:spPr>
            <a:xfrm flipH="1">
              <a:off x="7144571" y="515659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0" name="任意多边形: 形状 789">
              <a:extLst>
                <a:ext uri="{FF2B5EF4-FFF2-40B4-BE49-F238E27FC236}">
                  <a16:creationId xmlns:a16="http://schemas.microsoft.com/office/drawing/2014/main" id="{406B8A55-649D-4BEA-9666-F58D6DEF0DAF}"/>
                </a:ext>
              </a:extLst>
            </p:cNvPr>
            <p:cNvSpPr/>
            <p:nvPr/>
          </p:nvSpPr>
          <p:spPr>
            <a:xfrm flipH="1">
              <a:off x="7140995" y="5098036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1" name="任意多边形: 形状 790">
              <a:extLst>
                <a:ext uri="{FF2B5EF4-FFF2-40B4-BE49-F238E27FC236}">
                  <a16:creationId xmlns:a16="http://schemas.microsoft.com/office/drawing/2014/main" id="{2BB22F1C-71E1-4D8A-8803-1E2D7B2BC031}"/>
                </a:ext>
              </a:extLst>
            </p:cNvPr>
            <p:cNvSpPr/>
            <p:nvPr/>
          </p:nvSpPr>
          <p:spPr>
            <a:xfrm flipH="1">
              <a:off x="7143545" y="5087749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3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3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2" name="任意多边形: 形状 791">
              <a:extLst>
                <a:ext uri="{FF2B5EF4-FFF2-40B4-BE49-F238E27FC236}">
                  <a16:creationId xmlns:a16="http://schemas.microsoft.com/office/drawing/2014/main" id="{C66D2EA0-A578-4D38-B0DF-B5B9171421EB}"/>
                </a:ext>
              </a:extLst>
            </p:cNvPr>
            <p:cNvSpPr/>
            <p:nvPr/>
          </p:nvSpPr>
          <p:spPr>
            <a:xfrm flipH="1">
              <a:off x="7140995" y="502689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3" name="任意多边形: 形状 792">
              <a:extLst>
                <a:ext uri="{FF2B5EF4-FFF2-40B4-BE49-F238E27FC236}">
                  <a16:creationId xmlns:a16="http://schemas.microsoft.com/office/drawing/2014/main" id="{D3BC60F9-20C9-4629-9126-B0A09B74FCBF}"/>
                </a:ext>
              </a:extLst>
            </p:cNvPr>
            <p:cNvSpPr/>
            <p:nvPr/>
          </p:nvSpPr>
          <p:spPr>
            <a:xfrm flipH="1">
              <a:off x="7142550" y="5018877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4" name="任意多边形: 形状 793">
              <a:extLst>
                <a:ext uri="{FF2B5EF4-FFF2-40B4-BE49-F238E27FC236}">
                  <a16:creationId xmlns:a16="http://schemas.microsoft.com/office/drawing/2014/main" id="{0361D31F-458F-4A10-8B97-2CB30537B4DE}"/>
                </a:ext>
              </a:extLst>
            </p:cNvPr>
            <p:cNvSpPr/>
            <p:nvPr/>
          </p:nvSpPr>
          <p:spPr>
            <a:xfrm flipH="1">
              <a:off x="7140995" y="4958847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5" name="任意多边形: 形状 794">
              <a:extLst>
                <a:ext uri="{FF2B5EF4-FFF2-40B4-BE49-F238E27FC236}">
                  <a16:creationId xmlns:a16="http://schemas.microsoft.com/office/drawing/2014/main" id="{6C525C8D-75E6-4155-BBE5-1C232DF3EF8C}"/>
                </a:ext>
              </a:extLst>
            </p:cNvPr>
            <p:cNvSpPr/>
            <p:nvPr/>
          </p:nvSpPr>
          <p:spPr>
            <a:xfrm flipH="1">
              <a:off x="7141553" y="4950004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6" name="任意多边形: 形状 795">
              <a:extLst>
                <a:ext uri="{FF2B5EF4-FFF2-40B4-BE49-F238E27FC236}">
                  <a16:creationId xmlns:a16="http://schemas.microsoft.com/office/drawing/2014/main" id="{EEEECA9D-7E15-4A63-9393-80AE618EF654}"/>
                </a:ext>
              </a:extLst>
            </p:cNvPr>
            <p:cNvSpPr/>
            <p:nvPr/>
          </p:nvSpPr>
          <p:spPr>
            <a:xfrm flipH="1">
              <a:off x="7140995" y="4890799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7" name="任意多边形: 形状 796">
              <a:extLst>
                <a:ext uri="{FF2B5EF4-FFF2-40B4-BE49-F238E27FC236}">
                  <a16:creationId xmlns:a16="http://schemas.microsoft.com/office/drawing/2014/main" id="{FFD0B28E-EBE8-41CB-A26A-8B963A3BFF91}"/>
                </a:ext>
              </a:extLst>
            </p:cNvPr>
            <p:cNvSpPr/>
            <p:nvPr/>
          </p:nvSpPr>
          <p:spPr>
            <a:xfrm flipH="1">
              <a:off x="7143597" y="488054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8" name="任意多边形: 形状 797">
              <a:extLst>
                <a:ext uri="{FF2B5EF4-FFF2-40B4-BE49-F238E27FC236}">
                  <a16:creationId xmlns:a16="http://schemas.microsoft.com/office/drawing/2014/main" id="{B18E95D6-B43C-4A62-BA80-6E35F1983BAB}"/>
                </a:ext>
              </a:extLst>
            </p:cNvPr>
            <p:cNvSpPr/>
            <p:nvPr/>
          </p:nvSpPr>
          <p:spPr>
            <a:xfrm flipH="1">
              <a:off x="7140995" y="4819658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9" name="任意多边形: 形状 798">
              <a:extLst>
                <a:ext uri="{FF2B5EF4-FFF2-40B4-BE49-F238E27FC236}">
                  <a16:creationId xmlns:a16="http://schemas.microsoft.com/office/drawing/2014/main" id="{5D89EA2E-1C9B-49E0-BBED-093352AA8740}"/>
                </a:ext>
              </a:extLst>
            </p:cNvPr>
            <p:cNvSpPr/>
            <p:nvPr/>
          </p:nvSpPr>
          <p:spPr>
            <a:xfrm flipH="1">
              <a:off x="7142631" y="481167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0" name="任意多边形: 形状 799">
              <a:extLst>
                <a:ext uri="{FF2B5EF4-FFF2-40B4-BE49-F238E27FC236}">
                  <a16:creationId xmlns:a16="http://schemas.microsoft.com/office/drawing/2014/main" id="{B88672CF-9222-40F4-B3E2-59CB05958780}"/>
                </a:ext>
              </a:extLst>
            </p:cNvPr>
            <p:cNvSpPr/>
            <p:nvPr/>
          </p:nvSpPr>
          <p:spPr>
            <a:xfrm flipH="1">
              <a:off x="7140995" y="4751610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1" name="任意多边形: 形状 800">
              <a:extLst>
                <a:ext uri="{FF2B5EF4-FFF2-40B4-BE49-F238E27FC236}">
                  <a16:creationId xmlns:a16="http://schemas.microsoft.com/office/drawing/2014/main" id="{B3030913-7A0D-4E23-A320-5D745AC1C76B}"/>
                </a:ext>
              </a:extLst>
            </p:cNvPr>
            <p:cNvSpPr/>
            <p:nvPr/>
          </p:nvSpPr>
          <p:spPr>
            <a:xfrm flipH="1">
              <a:off x="7141605" y="474279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2" name="任意多边形: 形状 801">
              <a:extLst>
                <a:ext uri="{FF2B5EF4-FFF2-40B4-BE49-F238E27FC236}">
                  <a16:creationId xmlns:a16="http://schemas.microsoft.com/office/drawing/2014/main" id="{C79BBED6-B805-47F7-AF3F-87EC7B601722}"/>
                </a:ext>
              </a:extLst>
            </p:cNvPr>
            <p:cNvSpPr/>
            <p:nvPr/>
          </p:nvSpPr>
          <p:spPr>
            <a:xfrm flipH="1">
              <a:off x="7140995" y="4683563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3" name="任意多边形: 形状 802">
              <a:extLst>
                <a:ext uri="{FF2B5EF4-FFF2-40B4-BE49-F238E27FC236}">
                  <a16:creationId xmlns:a16="http://schemas.microsoft.com/office/drawing/2014/main" id="{A5DA3CA2-FAC2-43FD-9306-9582FD25F14D}"/>
                </a:ext>
              </a:extLst>
            </p:cNvPr>
            <p:cNvSpPr/>
            <p:nvPr/>
          </p:nvSpPr>
          <p:spPr>
            <a:xfrm flipH="1">
              <a:off x="7143650" y="4673368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4" name="任意多边形: 形状 803">
              <a:extLst>
                <a:ext uri="{FF2B5EF4-FFF2-40B4-BE49-F238E27FC236}">
                  <a16:creationId xmlns:a16="http://schemas.microsoft.com/office/drawing/2014/main" id="{B470A290-6AA6-47E8-928F-73803E68C96C}"/>
                </a:ext>
              </a:extLst>
            </p:cNvPr>
            <p:cNvSpPr/>
            <p:nvPr/>
          </p:nvSpPr>
          <p:spPr>
            <a:xfrm flipH="1">
              <a:off x="7140995" y="4612422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5" name="任意多边形: 形状 804">
              <a:extLst>
                <a:ext uri="{FF2B5EF4-FFF2-40B4-BE49-F238E27FC236}">
                  <a16:creationId xmlns:a16="http://schemas.microsoft.com/office/drawing/2014/main" id="{7FD9A2ED-AE1D-48DC-81D3-9FF5E918A0D6}"/>
                </a:ext>
              </a:extLst>
            </p:cNvPr>
            <p:cNvSpPr/>
            <p:nvPr/>
          </p:nvSpPr>
          <p:spPr>
            <a:xfrm flipH="1">
              <a:off x="7142683" y="4604465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6" name="任意多边形: 形状 805">
              <a:extLst>
                <a:ext uri="{FF2B5EF4-FFF2-40B4-BE49-F238E27FC236}">
                  <a16:creationId xmlns:a16="http://schemas.microsoft.com/office/drawing/2014/main" id="{F9AC2F29-9FB2-4585-B39F-D9A27045A96C}"/>
                </a:ext>
              </a:extLst>
            </p:cNvPr>
            <p:cNvSpPr/>
            <p:nvPr/>
          </p:nvSpPr>
          <p:spPr>
            <a:xfrm flipH="1">
              <a:off x="7140995" y="4544374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7" name="任意多边形: 形状 806">
              <a:extLst>
                <a:ext uri="{FF2B5EF4-FFF2-40B4-BE49-F238E27FC236}">
                  <a16:creationId xmlns:a16="http://schemas.microsoft.com/office/drawing/2014/main" id="{BBFB2834-510A-49E5-B6EB-E5CCB7BF5351}"/>
                </a:ext>
              </a:extLst>
            </p:cNvPr>
            <p:cNvSpPr/>
            <p:nvPr/>
          </p:nvSpPr>
          <p:spPr>
            <a:xfrm flipH="1">
              <a:off x="7141654" y="4535623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8" name="任意多边形: 形状 807">
              <a:extLst>
                <a:ext uri="{FF2B5EF4-FFF2-40B4-BE49-F238E27FC236}">
                  <a16:creationId xmlns:a16="http://schemas.microsoft.com/office/drawing/2014/main" id="{156C549C-8511-4D80-995F-24EEC08B6FF2}"/>
                </a:ext>
              </a:extLst>
            </p:cNvPr>
            <p:cNvSpPr/>
            <p:nvPr/>
          </p:nvSpPr>
          <p:spPr>
            <a:xfrm flipH="1">
              <a:off x="7140995" y="4476326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9" name="任意多边形: 形状 808">
              <a:extLst>
                <a:ext uri="{FF2B5EF4-FFF2-40B4-BE49-F238E27FC236}">
                  <a16:creationId xmlns:a16="http://schemas.microsoft.com/office/drawing/2014/main" id="{729A6D00-C684-4287-9EBE-5892DC903D4A}"/>
                </a:ext>
              </a:extLst>
            </p:cNvPr>
            <p:cNvSpPr/>
            <p:nvPr/>
          </p:nvSpPr>
          <p:spPr>
            <a:xfrm flipH="1">
              <a:off x="7144043" y="4466111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18 w 371170"/>
                <a:gd name="connsiteY1" fmla="*/ 0 h 92792"/>
                <a:gd name="connsiteX2" fmla="*/ 398861 w 371170"/>
                <a:gd name="connsiteY2" fmla="*/ 76480 h 92792"/>
                <a:gd name="connsiteX3" fmla="*/ 394742 w 371170"/>
                <a:gd name="connsiteY3" fmla="*/ 9773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18" y="0"/>
                  </a:lnTo>
                  <a:lnTo>
                    <a:pt x="398861" y="76480"/>
                  </a:lnTo>
                  <a:lnTo>
                    <a:pt x="394742" y="9773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0" name="任意多边形: 形状 809">
              <a:extLst>
                <a:ext uri="{FF2B5EF4-FFF2-40B4-BE49-F238E27FC236}">
                  <a16:creationId xmlns:a16="http://schemas.microsoft.com/office/drawing/2014/main" id="{624DA288-36E0-4E6C-ACE4-89759BFFB54D}"/>
                </a:ext>
              </a:extLst>
            </p:cNvPr>
            <p:cNvSpPr/>
            <p:nvPr/>
          </p:nvSpPr>
          <p:spPr>
            <a:xfrm flipH="1">
              <a:off x="7140995" y="4405185"/>
              <a:ext cx="371170" cy="61862"/>
            </a:xfrm>
            <a:custGeom>
              <a:avLst/>
              <a:gdLst>
                <a:gd name="connsiteX0" fmla="*/ 0 w 371170"/>
                <a:gd name="connsiteY0" fmla="*/ 0 h 61861"/>
                <a:gd name="connsiteX1" fmla="*/ 395915 w 371170"/>
                <a:gd name="connsiteY1" fmla="*/ 77327 h 61861"/>
                <a:gd name="connsiteX2" fmla="*/ 0 w 371170"/>
                <a:gd name="connsiteY2" fmla="*/ 0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1170" h="61861">
                  <a:moveTo>
                    <a:pt x="0" y="0"/>
                  </a:moveTo>
                  <a:lnTo>
                    <a:pt x="395915" y="77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1" name="任意多边形: 形状 810">
              <a:extLst>
                <a:ext uri="{FF2B5EF4-FFF2-40B4-BE49-F238E27FC236}">
                  <a16:creationId xmlns:a16="http://schemas.microsoft.com/office/drawing/2014/main" id="{AD134B31-38B4-4F86-BB23-6D3BED5B691B}"/>
                </a:ext>
              </a:extLst>
            </p:cNvPr>
            <p:cNvSpPr/>
            <p:nvPr/>
          </p:nvSpPr>
          <p:spPr>
            <a:xfrm flipH="1">
              <a:off x="7142661" y="4397290"/>
              <a:ext cx="371170" cy="92792"/>
            </a:xfrm>
            <a:custGeom>
              <a:avLst/>
              <a:gdLst>
                <a:gd name="connsiteX0" fmla="*/ 0 w 371170"/>
                <a:gd name="connsiteY0" fmla="*/ 21255 h 92792"/>
                <a:gd name="connsiteX1" fmla="*/ 4120 w 371170"/>
                <a:gd name="connsiteY1" fmla="*/ 0 h 92792"/>
                <a:gd name="connsiteX2" fmla="*/ 398863 w 371170"/>
                <a:gd name="connsiteY2" fmla="*/ 76520 h 92792"/>
                <a:gd name="connsiteX3" fmla="*/ 394742 w 371170"/>
                <a:gd name="connsiteY3" fmla="*/ 97775 h 9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170" h="92792">
                  <a:moveTo>
                    <a:pt x="0" y="21255"/>
                  </a:moveTo>
                  <a:lnTo>
                    <a:pt x="4120" y="0"/>
                  </a:lnTo>
                  <a:lnTo>
                    <a:pt x="398863" y="76520"/>
                  </a:lnTo>
                  <a:lnTo>
                    <a:pt x="394742" y="97775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2" name="任意多边形: 形状 811">
              <a:extLst>
                <a:ext uri="{FF2B5EF4-FFF2-40B4-BE49-F238E27FC236}">
                  <a16:creationId xmlns:a16="http://schemas.microsoft.com/office/drawing/2014/main" id="{D9048D47-12B5-45D7-9D27-BF30C661FA04}"/>
                </a:ext>
              </a:extLst>
            </p:cNvPr>
            <p:cNvSpPr/>
            <p:nvPr/>
          </p:nvSpPr>
          <p:spPr>
            <a:xfrm flipH="1">
              <a:off x="7122436" y="4408278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3" name="任意多边形: 形状 812">
              <a:extLst>
                <a:ext uri="{FF2B5EF4-FFF2-40B4-BE49-F238E27FC236}">
                  <a16:creationId xmlns:a16="http://schemas.microsoft.com/office/drawing/2014/main" id="{3CD33C33-47A8-46FE-9053-9E8BFF98F3BB}"/>
                </a:ext>
              </a:extLst>
            </p:cNvPr>
            <p:cNvSpPr/>
            <p:nvPr/>
          </p:nvSpPr>
          <p:spPr>
            <a:xfrm flipH="1">
              <a:off x="7134809" y="4408278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4" name="任意多边形: 形状 813">
              <a:extLst>
                <a:ext uri="{FF2B5EF4-FFF2-40B4-BE49-F238E27FC236}">
                  <a16:creationId xmlns:a16="http://schemas.microsoft.com/office/drawing/2014/main" id="{6C271211-53B8-4E79-832D-B8B806C54214}"/>
                </a:ext>
              </a:extLst>
            </p:cNvPr>
            <p:cNvSpPr/>
            <p:nvPr/>
          </p:nvSpPr>
          <p:spPr>
            <a:xfrm flipH="1">
              <a:off x="7159553" y="439899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5" name="任意多边形: 形状 814">
              <a:extLst>
                <a:ext uri="{FF2B5EF4-FFF2-40B4-BE49-F238E27FC236}">
                  <a16:creationId xmlns:a16="http://schemas.microsoft.com/office/drawing/2014/main" id="{9E5308D1-1DF6-49C2-A88F-29DDF0219716}"/>
                </a:ext>
              </a:extLst>
            </p:cNvPr>
            <p:cNvSpPr/>
            <p:nvPr/>
          </p:nvSpPr>
          <p:spPr>
            <a:xfrm flipH="1">
              <a:off x="7168832" y="439899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6" name="任意多边形: 形状 815">
              <a:extLst>
                <a:ext uri="{FF2B5EF4-FFF2-40B4-BE49-F238E27FC236}">
                  <a16:creationId xmlns:a16="http://schemas.microsoft.com/office/drawing/2014/main" id="{6F3FBC4E-AE10-4FEB-945A-B3FEB4C37F56}"/>
                </a:ext>
              </a:extLst>
            </p:cNvPr>
            <p:cNvSpPr/>
            <p:nvPr/>
          </p:nvSpPr>
          <p:spPr>
            <a:xfrm flipH="1">
              <a:off x="7193577" y="439281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7" name="任意多边形: 形状 816">
              <a:extLst>
                <a:ext uri="{FF2B5EF4-FFF2-40B4-BE49-F238E27FC236}">
                  <a16:creationId xmlns:a16="http://schemas.microsoft.com/office/drawing/2014/main" id="{6B201B45-E838-45A8-BBF0-63B2308C706C}"/>
                </a:ext>
              </a:extLst>
            </p:cNvPr>
            <p:cNvSpPr/>
            <p:nvPr/>
          </p:nvSpPr>
          <p:spPr>
            <a:xfrm flipH="1">
              <a:off x="7205949" y="439281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8" name="任意多边形: 形状 817">
              <a:extLst>
                <a:ext uri="{FF2B5EF4-FFF2-40B4-BE49-F238E27FC236}">
                  <a16:creationId xmlns:a16="http://schemas.microsoft.com/office/drawing/2014/main" id="{30E4B218-2743-4AF7-9E52-1F0DE6146869}"/>
                </a:ext>
              </a:extLst>
            </p:cNvPr>
            <p:cNvSpPr/>
            <p:nvPr/>
          </p:nvSpPr>
          <p:spPr>
            <a:xfrm flipH="1">
              <a:off x="7230694" y="4386626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9" name="任意多边形: 形状 818">
              <a:extLst>
                <a:ext uri="{FF2B5EF4-FFF2-40B4-BE49-F238E27FC236}">
                  <a16:creationId xmlns:a16="http://schemas.microsoft.com/office/drawing/2014/main" id="{86EB962F-21C1-4CAB-B6E8-7C7C32EB7363}"/>
                </a:ext>
              </a:extLst>
            </p:cNvPr>
            <p:cNvSpPr/>
            <p:nvPr/>
          </p:nvSpPr>
          <p:spPr>
            <a:xfrm flipH="1">
              <a:off x="7239973" y="4386627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0" name="任意多边形: 形状 819">
              <a:extLst>
                <a:ext uri="{FF2B5EF4-FFF2-40B4-BE49-F238E27FC236}">
                  <a16:creationId xmlns:a16="http://schemas.microsoft.com/office/drawing/2014/main" id="{061C4B5B-2A5B-4D2F-91C0-1487D9CA769C}"/>
                </a:ext>
              </a:extLst>
            </p:cNvPr>
            <p:cNvSpPr/>
            <p:nvPr/>
          </p:nvSpPr>
          <p:spPr>
            <a:xfrm flipH="1">
              <a:off x="7264718" y="4380440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1" name="任意多边形: 形状 820">
              <a:extLst>
                <a:ext uri="{FF2B5EF4-FFF2-40B4-BE49-F238E27FC236}">
                  <a16:creationId xmlns:a16="http://schemas.microsoft.com/office/drawing/2014/main" id="{84E5C836-F340-485C-AE5B-7CC0CCDB1711}"/>
                </a:ext>
              </a:extLst>
            </p:cNvPr>
            <p:cNvSpPr/>
            <p:nvPr/>
          </p:nvSpPr>
          <p:spPr>
            <a:xfrm flipH="1">
              <a:off x="7277090" y="4380440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2" name="任意多边形: 形状 821">
              <a:extLst>
                <a:ext uri="{FF2B5EF4-FFF2-40B4-BE49-F238E27FC236}">
                  <a16:creationId xmlns:a16="http://schemas.microsoft.com/office/drawing/2014/main" id="{268AAA81-386A-4CE8-BA55-73EB042CA733}"/>
                </a:ext>
              </a:extLst>
            </p:cNvPr>
            <p:cNvSpPr/>
            <p:nvPr/>
          </p:nvSpPr>
          <p:spPr>
            <a:xfrm flipH="1">
              <a:off x="7301835" y="4371161"/>
              <a:ext cx="30931" cy="2134227"/>
            </a:xfrm>
            <a:custGeom>
              <a:avLst/>
              <a:gdLst>
                <a:gd name="connsiteX0" fmla="*/ 0 w 0"/>
                <a:gd name="connsiteY0" fmla="*/ 2143507 h 2134227"/>
                <a:gd name="connsiteX1" fmla="*/ 0 w 0"/>
                <a:gd name="connsiteY1" fmla="*/ 0 h 2134227"/>
                <a:gd name="connsiteX2" fmla="*/ 0 w 0"/>
                <a:gd name="connsiteY2" fmla="*/ 2143507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2143507"/>
                  </a:moveTo>
                  <a:lnTo>
                    <a:pt x="0" y="0"/>
                  </a:lnTo>
                  <a:lnTo>
                    <a:pt x="0" y="2143507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3" name="任意多边形: 形状 822">
              <a:extLst>
                <a:ext uri="{FF2B5EF4-FFF2-40B4-BE49-F238E27FC236}">
                  <a16:creationId xmlns:a16="http://schemas.microsoft.com/office/drawing/2014/main" id="{DC48A0B1-6C7B-4D6A-8588-6630BF56B8C5}"/>
                </a:ext>
              </a:extLst>
            </p:cNvPr>
            <p:cNvSpPr/>
            <p:nvPr/>
          </p:nvSpPr>
          <p:spPr>
            <a:xfrm flipH="1">
              <a:off x="7314207" y="4371161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4" name="任意多边形: 形状 823">
              <a:extLst>
                <a:ext uri="{FF2B5EF4-FFF2-40B4-BE49-F238E27FC236}">
                  <a16:creationId xmlns:a16="http://schemas.microsoft.com/office/drawing/2014/main" id="{59F1BB80-8E3C-42EA-9D92-24446D316E0D}"/>
                </a:ext>
              </a:extLst>
            </p:cNvPr>
            <p:cNvSpPr/>
            <p:nvPr/>
          </p:nvSpPr>
          <p:spPr>
            <a:xfrm flipH="1">
              <a:off x="7338952" y="4364975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5" name="任意多边形: 形状 824">
              <a:extLst>
                <a:ext uri="{FF2B5EF4-FFF2-40B4-BE49-F238E27FC236}">
                  <a16:creationId xmlns:a16="http://schemas.microsoft.com/office/drawing/2014/main" id="{C59E2774-FE6C-434C-AA75-FF324295BBF3}"/>
                </a:ext>
              </a:extLst>
            </p:cNvPr>
            <p:cNvSpPr/>
            <p:nvPr/>
          </p:nvSpPr>
          <p:spPr>
            <a:xfrm flipH="1">
              <a:off x="7348231" y="4364975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6" name="任意多边形: 形状 825">
              <a:extLst>
                <a:ext uri="{FF2B5EF4-FFF2-40B4-BE49-F238E27FC236}">
                  <a16:creationId xmlns:a16="http://schemas.microsoft.com/office/drawing/2014/main" id="{7EE29102-16C2-4CD2-BC13-84547243E1AA}"/>
                </a:ext>
              </a:extLst>
            </p:cNvPr>
            <p:cNvSpPr/>
            <p:nvPr/>
          </p:nvSpPr>
          <p:spPr>
            <a:xfrm flipH="1">
              <a:off x="7372976" y="435878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7" name="任意多边形: 形状 826">
              <a:extLst>
                <a:ext uri="{FF2B5EF4-FFF2-40B4-BE49-F238E27FC236}">
                  <a16:creationId xmlns:a16="http://schemas.microsoft.com/office/drawing/2014/main" id="{0BE5A196-9237-4BAF-A0F7-7EA75152E16F}"/>
                </a:ext>
              </a:extLst>
            </p:cNvPr>
            <p:cNvSpPr/>
            <p:nvPr/>
          </p:nvSpPr>
          <p:spPr>
            <a:xfrm flipH="1">
              <a:off x="7385348" y="4358789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1 w 0"/>
                <a:gd name="connsiteY1" fmla="*/ 0 h 2134227"/>
                <a:gd name="connsiteX2" fmla="*/ 21651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1" y="0"/>
                  </a:lnTo>
                  <a:lnTo>
                    <a:pt x="21651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8" name="任意多边形: 形状 827">
              <a:extLst>
                <a:ext uri="{FF2B5EF4-FFF2-40B4-BE49-F238E27FC236}">
                  <a16:creationId xmlns:a16="http://schemas.microsoft.com/office/drawing/2014/main" id="{A7A9C459-FCA4-48AA-9D44-8CC199A1A60D}"/>
                </a:ext>
              </a:extLst>
            </p:cNvPr>
            <p:cNvSpPr/>
            <p:nvPr/>
          </p:nvSpPr>
          <p:spPr>
            <a:xfrm flipH="1">
              <a:off x="7410093" y="435260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0414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04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9" name="任意多边形: 形状 828">
              <a:extLst>
                <a:ext uri="{FF2B5EF4-FFF2-40B4-BE49-F238E27FC236}">
                  <a16:creationId xmlns:a16="http://schemas.microsoft.com/office/drawing/2014/main" id="{75374F24-274D-46C2-82FE-A01E92FB1083}"/>
                </a:ext>
              </a:extLst>
            </p:cNvPr>
            <p:cNvSpPr/>
            <p:nvPr/>
          </p:nvSpPr>
          <p:spPr>
            <a:xfrm flipH="1">
              <a:off x="7419372" y="435260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0" name="任意多边形: 形状 829">
              <a:extLst>
                <a:ext uri="{FF2B5EF4-FFF2-40B4-BE49-F238E27FC236}">
                  <a16:creationId xmlns:a16="http://schemas.microsoft.com/office/drawing/2014/main" id="{A7675511-87A9-4E75-BEF8-76F2709D7332}"/>
                </a:ext>
              </a:extLst>
            </p:cNvPr>
            <p:cNvSpPr/>
            <p:nvPr/>
          </p:nvSpPr>
          <p:spPr>
            <a:xfrm flipH="1">
              <a:off x="7444117" y="434332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0 w 0"/>
                <a:gd name="connsiteY1" fmla="*/ 2143507 h 2134227"/>
                <a:gd name="connsiteX2" fmla="*/ 0 w 0"/>
                <a:gd name="connsiteY2" fmla="*/ 0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0" y="21435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1" name="任意多边形: 形状 830">
              <a:extLst>
                <a:ext uri="{FF2B5EF4-FFF2-40B4-BE49-F238E27FC236}">
                  <a16:creationId xmlns:a16="http://schemas.microsoft.com/office/drawing/2014/main" id="{78321DF9-B470-48A4-8ABC-A27E96FC8A5C}"/>
                </a:ext>
              </a:extLst>
            </p:cNvPr>
            <p:cNvSpPr/>
            <p:nvPr/>
          </p:nvSpPr>
          <p:spPr>
            <a:xfrm flipH="1">
              <a:off x="7456489" y="4343323"/>
              <a:ext cx="30931" cy="2134227"/>
            </a:xfrm>
            <a:custGeom>
              <a:avLst/>
              <a:gdLst>
                <a:gd name="connsiteX0" fmla="*/ 0 w 0"/>
                <a:gd name="connsiteY0" fmla="*/ 0 h 2134227"/>
                <a:gd name="connsiteX1" fmla="*/ 21652 w 0"/>
                <a:gd name="connsiteY1" fmla="*/ 0 h 2134227"/>
                <a:gd name="connsiteX2" fmla="*/ 21652 w 0"/>
                <a:gd name="connsiteY2" fmla="*/ 2140414 h 2134227"/>
                <a:gd name="connsiteX3" fmla="*/ 0 w 0"/>
                <a:gd name="connsiteY3" fmla="*/ 2140414 h 213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h="2134227">
                  <a:moveTo>
                    <a:pt x="0" y="0"/>
                  </a:moveTo>
                  <a:lnTo>
                    <a:pt x="21652" y="0"/>
                  </a:lnTo>
                  <a:lnTo>
                    <a:pt x="21652" y="2140414"/>
                  </a:lnTo>
                  <a:lnTo>
                    <a:pt x="0" y="2140414"/>
                  </a:lnTo>
                  <a:close/>
                </a:path>
              </a:pathLst>
            </a:custGeom>
            <a:solidFill>
              <a:srgbClr val="6D6D8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2" name="任意多边形: 形状 831">
              <a:extLst>
                <a:ext uri="{FF2B5EF4-FFF2-40B4-BE49-F238E27FC236}">
                  <a16:creationId xmlns:a16="http://schemas.microsoft.com/office/drawing/2014/main" id="{3E4451CE-F791-4D9F-98AF-2B979E1DBAF8}"/>
                </a:ext>
              </a:extLst>
            </p:cNvPr>
            <p:cNvSpPr/>
            <p:nvPr/>
          </p:nvSpPr>
          <p:spPr>
            <a:xfrm flipH="1">
              <a:off x="8412252" y="6056891"/>
              <a:ext cx="216516" cy="773271"/>
            </a:xfrm>
            <a:custGeom>
              <a:avLst/>
              <a:gdLst>
                <a:gd name="connsiteX0" fmla="*/ 0 w 216515"/>
                <a:gd name="connsiteY0" fmla="*/ 0 h 773270"/>
                <a:gd name="connsiteX1" fmla="*/ 241261 w 216515"/>
                <a:gd name="connsiteY1" fmla="*/ 0 h 773270"/>
                <a:gd name="connsiteX2" fmla="*/ 241261 w 216515"/>
                <a:gd name="connsiteY2" fmla="*/ 798016 h 773270"/>
                <a:gd name="connsiteX3" fmla="*/ 0 w 216515"/>
                <a:gd name="connsiteY3" fmla="*/ 798016 h 773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773270">
                  <a:moveTo>
                    <a:pt x="0" y="0"/>
                  </a:moveTo>
                  <a:lnTo>
                    <a:pt x="241261" y="0"/>
                  </a:lnTo>
                  <a:lnTo>
                    <a:pt x="241261" y="798016"/>
                  </a:lnTo>
                  <a:lnTo>
                    <a:pt x="0" y="798016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3" name="任意多边形: 形状 832">
              <a:extLst>
                <a:ext uri="{FF2B5EF4-FFF2-40B4-BE49-F238E27FC236}">
                  <a16:creationId xmlns:a16="http://schemas.microsoft.com/office/drawing/2014/main" id="{454CCEBA-03DE-4016-8846-5B6951598723}"/>
                </a:ext>
              </a:extLst>
            </p:cNvPr>
            <p:cNvSpPr/>
            <p:nvPr/>
          </p:nvSpPr>
          <p:spPr>
            <a:xfrm flipH="1">
              <a:off x="10837230" y="5308365"/>
              <a:ext cx="154654" cy="1330026"/>
            </a:xfrm>
            <a:custGeom>
              <a:avLst/>
              <a:gdLst>
                <a:gd name="connsiteX0" fmla="*/ 0 w 154654"/>
                <a:gd name="connsiteY0" fmla="*/ 55675 h 1330025"/>
                <a:gd name="connsiteX1" fmla="*/ 163933 w 154654"/>
                <a:gd name="connsiteY1" fmla="*/ 0 h 1330025"/>
                <a:gd name="connsiteX2" fmla="*/ 163933 w 154654"/>
                <a:gd name="connsiteY2" fmla="*/ 1299095 h 1330025"/>
                <a:gd name="connsiteX3" fmla="*/ 0 w 154654"/>
                <a:gd name="connsiteY3" fmla="*/ 1354770 h 133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1330025">
                  <a:moveTo>
                    <a:pt x="0" y="55675"/>
                  </a:moveTo>
                  <a:lnTo>
                    <a:pt x="163933" y="0"/>
                  </a:lnTo>
                  <a:lnTo>
                    <a:pt x="163933" y="1299095"/>
                  </a:lnTo>
                  <a:lnTo>
                    <a:pt x="0" y="135477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4" name="任意多边形: 形状 833">
              <a:extLst>
                <a:ext uri="{FF2B5EF4-FFF2-40B4-BE49-F238E27FC236}">
                  <a16:creationId xmlns:a16="http://schemas.microsoft.com/office/drawing/2014/main" id="{E08147D8-7C67-4F2D-995C-FE81590B0841}"/>
                </a:ext>
              </a:extLst>
            </p:cNvPr>
            <p:cNvSpPr/>
            <p:nvPr/>
          </p:nvSpPr>
          <p:spPr>
            <a:xfrm flipH="1">
              <a:off x="10837230" y="654559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5" name="任意多边形: 形状 834">
              <a:extLst>
                <a:ext uri="{FF2B5EF4-FFF2-40B4-BE49-F238E27FC236}">
                  <a16:creationId xmlns:a16="http://schemas.microsoft.com/office/drawing/2014/main" id="{77FD6B3F-FB72-4283-83BF-26C3263CE17A}"/>
                </a:ext>
              </a:extLst>
            </p:cNvPr>
            <p:cNvSpPr/>
            <p:nvPr/>
          </p:nvSpPr>
          <p:spPr>
            <a:xfrm flipH="1">
              <a:off x="10844015" y="6530834"/>
              <a:ext cx="154654" cy="61862"/>
            </a:xfrm>
            <a:custGeom>
              <a:avLst/>
              <a:gdLst>
                <a:gd name="connsiteX0" fmla="*/ 0 w 154654"/>
                <a:gd name="connsiteY0" fmla="*/ 56012 h 61861"/>
                <a:gd name="connsiteX1" fmla="*/ 167173 w 154654"/>
                <a:gd name="connsiteY1" fmla="*/ 0 h 61861"/>
                <a:gd name="connsiteX2" fmla="*/ 177983 w 154654"/>
                <a:gd name="connsiteY2" fmla="*/ 32262 h 61861"/>
                <a:gd name="connsiteX3" fmla="*/ 10809 w 154654"/>
                <a:gd name="connsiteY3" fmla="*/ 88274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12"/>
                  </a:moveTo>
                  <a:lnTo>
                    <a:pt x="167173" y="0"/>
                  </a:lnTo>
                  <a:lnTo>
                    <a:pt x="177983" y="32262"/>
                  </a:lnTo>
                  <a:lnTo>
                    <a:pt x="10809" y="8827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6" name="任意多边形: 形状 835">
              <a:extLst>
                <a:ext uri="{FF2B5EF4-FFF2-40B4-BE49-F238E27FC236}">
                  <a16:creationId xmlns:a16="http://schemas.microsoft.com/office/drawing/2014/main" id="{1F26596F-775D-4B03-B4A2-5869E46D13E6}"/>
                </a:ext>
              </a:extLst>
            </p:cNvPr>
            <p:cNvSpPr/>
            <p:nvPr/>
          </p:nvSpPr>
          <p:spPr>
            <a:xfrm flipH="1">
              <a:off x="10837230" y="6483737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7" name="任意多边形: 形状 836">
              <a:extLst>
                <a:ext uri="{FF2B5EF4-FFF2-40B4-BE49-F238E27FC236}">
                  <a16:creationId xmlns:a16="http://schemas.microsoft.com/office/drawing/2014/main" id="{0527A799-7715-4F89-A4B8-F346F54CBE8B}"/>
                </a:ext>
              </a:extLst>
            </p:cNvPr>
            <p:cNvSpPr/>
            <p:nvPr/>
          </p:nvSpPr>
          <p:spPr>
            <a:xfrm flipH="1">
              <a:off x="10844193" y="6468853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8" name="任意多边形: 形状 837">
              <a:extLst>
                <a:ext uri="{FF2B5EF4-FFF2-40B4-BE49-F238E27FC236}">
                  <a16:creationId xmlns:a16="http://schemas.microsoft.com/office/drawing/2014/main" id="{CD965015-7CBD-4612-9CEE-94E85C19888C}"/>
                </a:ext>
              </a:extLst>
            </p:cNvPr>
            <p:cNvSpPr/>
            <p:nvPr/>
          </p:nvSpPr>
          <p:spPr>
            <a:xfrm flipH="1">
              <a:off x="10837230" y="6421875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9" name="任意多边形: 形状 838">
              <a:extLst>
                <a:ext uri="{FF2B5EF4-FFF2-40B4-BE49-F238E27FC236}">
                  <a16:creationId xmlns:a16="http://schemas.microsoft.com/office/drawing/2014/main" id="{F9582E33-067B-43D8-A153-AA9EC821CA18}"/>
                </a:ext>
              </a:extLst>
            </p:cNvPr>
            <p:cNvSpPr/>
            <p:nvPr/>
          </p:nvSpPr>
          <p:spPr>
            <a:xfrm flipH="1">
              <a:off x="10843981" y="6407252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91 w 154654"/>
                <a:gd name="connsiteY1" fmla="*/ 0 h 61861"/>
                <a:gd name="connsiteX2" fmla="*/ 177993 w 154654"/>
                <a:gd name="connsiteY2" fmla="*/ 32265 h 61861"/>
                <a:gd name="connsiteX3" fmla="*/ 10803 w 154654"/>
                <a:gd name="connsiteY3" fmla="*/ 8824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91" y="0"/>
                  </a:lnTo>
                  <a:lnTo>
                    <a:pt x="177993" y="32265"/>
                  </a:lnTo>
                  <a:lnTo>
                    <a:pt x="10803" y="8824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0" name="任意多边形: 形状 839">
              <a:extLst>
                <a:ext uri="{FF2B5EF4-FFF2-40B4-BE49-F238E27FC236}">
                  <a16:creationId xmlns:a16="http://schemas.microsoft.com/office/drawing/2014/main" id="{F5646D6E-12CC-414D-AF4D-ED869FABFA22}"/>
                </a:ext>
              </a:extLst>
            </p:cNvPr>
            <p:cNvSpPr/>
            <p:nvPr/>
          </p:nvSpPr>
          <p:spPr>
            <a:xfrm flipH="1">
              <a:off x="10837230" y="6360014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1" name="任意多边形: 形状 840">
              <a:extLst>
                <a:ext uri="{FF2B5EF4-FFF2-40B4-BE49-F238E27FC236}">
                  <a16:creationId xmlns:a16="http://schemas.microsoft.com/office/drawing/2014/main" id="{0EA5F1B0-8004-461F-ABF2-DB094A235925}"/>
                </a:ext>
              </a:extLst>
            </p:cNvPr>
            <p:cNvSpPr/>
            <p:nvPr/>
          </p:nvSpPr>
          <p:spPr>
            <a:xfrm flipH="1">
              <a:off x="10844162" y="6345130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2" name="任意多边形: 形状 841">
              <a:extLst>
                <a:ext uri="{FF2B5EF4-FFF2-40B4-BE49-F238E27FC236}">
                  <a16:creationId xmlns:a16="http://schemas.microsoft.com/office/drawing/2014/main" id="{2F1217B8-CAC5-4421-93C8-D26D237A8D1D}"/>
                </a:ext>
              </a:extLst>
            </p:cNvPr>
            <p:cNvSpPr/>
            <p:nvPr/>
          </p:nvSpPr>
          <p:spPr>
            <a:xfrm flipH="1">
              <a:off x="10837230" y="6298152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3" name="任意多边形: 形状 842">
              <a:extLst>
                <a:ext uri="{FF2B5EF4-FFF2-40B4-BE49-F238E27FC236}">
                  <a16:creationId xmlns:a16="http://schemas.microsoft.com/office/drawing/2014/main" id="{6624DC17-DD52-4C47-B091-3933EE68BFDE}"/>
                </a:ext>
              </a:extLst>
            </p:cNvPr>
            <p:cNvSpPr/>
            <p:nvPr/>
          </p:nvSpPr>
          <p:spPr>
            <a:xfrm flipH="1">
              <a:off x="10844147" y="6283268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4" name="任意多边形: 形状 843">
              <a:extLst>
                <a:ext uri="{FF2B5EF4-FFF2-40B4-BE49-F238E27FC236}">
                  <a16:creationId xmlns:a16="http://schemas.microsoft.com/office/drawing/2014/main" id="{DC1B439F-5B7F-4107-9B47-1DD5FB452622}"/>
                </a:ext>
              </a:extLst>
            </p:cNvPr>
            <p:cNvSpPr/>
            <p:nvPr/>
          </p:nvSpPr>
          <p:spPr>
            <a:xfrm flipH="1">
              <a:off x="10837230" y="6236290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5" name="任意多边形: 形状 844">
              <a:extLst>
                <a:ext uri="{FF2B5EF4-FFF2-40B4-BE49-F238E27FC236}">
                  <a16:creationId xmlns:a16="http://schemas.microsoft.com/office/drawing/2014/main" id="{145240DB-1C96-4F14-9473-D8B0B55D6F07}"/>
                </a:ext>
              </a:extLst>
            </p:cNvPr>
            <p:cNvSpPr/>
            <p:nvPr/>
          </p:nvSpPr>
          <p:spPr>
            <a:xfrm flipH="1">
              <a:off x="10843782" y="6221497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6" name="任意多边形: 形状 845">
              <a:extLst>
                <a:ext uri="{FF2B5EF4-FFF2-40B4-BE49-F238E27FC236}">
                  <a16:creationId xmlns:a16="http://schemas.microsoft.com/office/drawing/2014/main" id="{F3BCACAF-656C-437B-ACC5-E827DE65B3F2}"/>
                </a:ext>
              </a:extLst>
            </p:cNvPr>
            <p:cNvSpPr/>
            <p:nvPr/>
          </p:nvSpPr>
          <p:spPr>
            <a:xfrm flipH="1">
              <a:off x="10837230" y="617442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7" name="任意多边形: 形状 846">
              <a:extLst>
                <a:ext uri="{FF2B5EF4-FFF2-40B4-BE49-F238E27FC236}">
                  <a16:creationId xmlns:a16="http://schemas.microsoft.com/office/drawing/2014/main" id="{89E6FEEB-547D-44B7-81E8-BC138B6C04C1}"/>
                </a:ext>
              </a:extLst>
            </p:cNvPr>
            <p:cNvSpPr/>
            <p:nvPr/>
          </p:nvSpPr>
          <p:spPr>
            <a:xfrm flipH="1">
              <a:off x="10843841" y="6159694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8" name="任意多边形: 形状 847">
              <a:extLst>
                <a:ext uri="{FF2B5EF4-FFF2-40B4-BE49-F238E27FC236}">
                  <a16:creationId xmlns:a16="http://schemas.microsoft.com/office/drawing/2014/main" id="{B4CEBF85-94CA-4B40-8ABB-6206611DA2C1}"/>
                </a:ext>
              </a:extLst>
            </p:cNvPr>
            <p:cNvSpPr/>
            <p:nvPr/>
          </p:nvSpPr>
          <p:spPr>
            <a:xfrm flipH="1">
              <a:off x="10837230" y="6112567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9" name="任意多边形: 形状 848">
              <a:extLst>
                <a:ext uri="{FF2B5EF4-FFF2-40B4-BE49-F238E27FC236}">
                  <a16:creationId xmlns:a16="http://schemas.microsoft.com/office/drawing/2014/main" id="{64DADD62-628E-46FB-B0AB-C5165B29B3B4}"/>
                </a:ext>
              </a:extLst>
            </p:cNvPr>
            <p:cNvSpPr/>
            <p:nvPr/>
          </p:nvSpPr>
          <p:spPr>
            <a:xfrm flipH="1">
              <a:off x="10843763" y="6097767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0" name="任意多边形: 形状 849">
              <a:extLst>
                <a:ext uri="{FF2B5EF4-FFF2-40B4-BE49-F238E27FC236}">
                  <a16:creationId xmlns:a16="http://schemas.microsoft.com/office/drawing/2014/main" id="{6628D4E3-2CA5-4C54-B024-B5CB66FDF2DF}"/>
                </a:ext>
              </a:extLst>
            </p:cNvPr>
            <p:cNvSpPr/>
            <p:nvPr/>
          </p:nvSpPr>
          <p:spPr>
            <a:xfrm flipH="1">
              <a:off x="10837230" y="6050705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1" name="任意多边形: 形状 850">
              <a:extLst>
                <a:ext uri="{FF2B5EF4-FFF2-40B4-BE49-F238E27FC236}">
                  <a16:creationId xmlns:a16="http://schemas.microsoft.com/office/drawing/2014/main" id="{6F415FA0-9534-43B8-AA63-D91C17DDBB5A}"/>
                </a:ext>
              </a:extLst>
            </p:cNvPr>
            <p:cNvSpPr/>
            <p:nvPr/>
          </p:nvSpPr>
          <p:spPr>
            <a:xfrm flipH="1">
              <a:off x="10843751" y="6035902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2 h 61861"/>
                <a:gd name="connsiteX3" fmla="*/ 10813 w 154654"/>
                <a:gd name="connsiteY3" fmla="*/ 8829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2"/>
                  </a:lnTo>
                  <a:lnTo>
                    <a:pt x="10813" y="8829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2" name="任意多边形: 形状 851">
              <a:extLst>
                <a:ext uri="{FF2B5EF4-FFF2-40B4-BE49-F238E27FC236}">
                  <a16:creationId xmlns:a16="http://schemas.microsoft.com/office/drawing/2014/main" id="{B4001491-26EB-4C17-B0FC-4AC4355465E9}"/>
                </a:ext>
              </a:extLst>
            </p:cNvPr>
            <p:cNvSpPr/>
            <p:nvPr/>
          </p:nvSpPr>
          <p:spPr>
            <a:xfrm flipH="1">
              <a:off x="10837230" y="5988844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3" name="任意多边形: 形状 852">
              <a:extLst>
                <a:ext uri="{FF2B5EF4-FFF2-40B4-BE49-F238E27FC236}">
                  <a16:creationId xmlns:a16="http://schemas.microsoft.com/office/drawing/2014/main" id="{77E0DC6B-F253-4CA1-B9FF-830C65E2BE86}"/>
                </a:ext>
              </a:extLst>
            </p:cNvPr>
            <p:cNvSpPr/>
            <p:nvPr/>
          </p:nvSpPr>
          <p:spPr>
            <a:xfrm flipH="1">
              <a:off x="10843914" y="5973947"/>
              <a:ext cx="154654" cy="61862"/>
            </a:xfrm>
            <a:custGeom>
              <a:avLst/>
              <a:gdLst>
                <a:gd name="connsiteX0" fmla="*/ 0 w 154654"/>
                <a:gd name="connsiteY0" fmla="*/ 55995 h 61861"/>
                <a:gd name="connsiteX1" fmla="*/ 167173 w 154654"/>
                <a:gd name="connsiteY1" fmla="*/ 0 h 61861"/>
                <a:gd name="connsiteX2" fmla="*/ 177979 w 154654"/>
                <a:gd name="connsiteY2" fmla="*/ 32262 h 61861"/>
                <a:gd name="connsiteX3" fmla="*/ 10806 w 154654"/>
                <a:gd name="connsiteY3" fmla="*/ 8825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95"/>
                  </a:moveTo>
                  <a:lnTo>
                    <a:pt x="167173" y="0"/>
                  </a:lnTo>
                  <a:lnTo>
                    <a:pt x="177979" y="32262"/>
                  </a:lnTo>
                  <a:lnTo>
                    <a:pt x="10806" y="88256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4" name="任意多边形: 形状 853">
              <a:extLst>
                <a:ext uri="{FF2B5EF4-FFF2-40B4-BE49-F238E27FC236}">
                  <a16:creationId xmlns:a16="http://schemas.microsoft.com/office/drawing/2014/main" id="{9E80A703-4FB6-4D4B-A484-0A6EEB37F607}"/>
                </a:ext>
              </a:extLst>
            </p:cNvPr>
            <p:cNvSpPr/>
            <p:nvPr/>
          </p:nvSpPr>
          <p:spPr>
            <a:xfrm flipH="1">
              <a:off x="10837230" y="5926982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5" name="任意多边形: 形状 854">
              <a:extLst>
                <a:ext uri="{FF2B5EF4-FFF2-40B4-BE49-F238E27FC236}">
                  <a16:creationId xmlns:a16="http://schemas.microsoft.com/office/drawing/2014/main" id="{5F3DECE0-A865-4EB1-8DDD-D4C5FFFEFF40}"/>
                </a:ext>
              </a:extLst>
            </p:cNvPr>
            <p:cNvSpPr/>
            <p:nvPr/>
          </p:nvSpPr>
          <p:spPr>
            <a:xfrm flipH="1">
              <a:off x="10844051" y="5912101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73 w 154654"/>
                <a:gd name="connsiteY1" fmla="*/ 0 h 61861"/>
                <a:gd name="connsiteX2" fmla="*/ 177976 w 154654"/>
                <a:gd name="connsiteY2" fmla="*/ 32262 h 61861"/>
                <a:gd name="connsiteX3" fmla="*/ 10803 w 154654"/>
                <a:gd name="connsiteY3" fmla="*/ 88239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73" y="0"/>
                  </a:lnTo>
                  <a:lnTo>
                    <a:pt x="177976" y="32262"/>
                  </a:lnTo>
                  <a:lnTo>
                    <a:pt x="10803" y="88239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6" name="任意多边形: 形状 855">
              <a:extLst>
                <a:ext uri="{FF2B5EF4-FFF2-40B4-BE49-F238E27FC236}">
                  <a16:creationId xmlns:a16="http://schemas.microsoft.com/office/drawing/2014/main" id="{0E8E7D6C-B668-49C1-88FC-D0C28A2BD125}"/>
                </a:ext>
              </a:extLst>
            </p:cNvPr>
            <p:cNvSpPr/>
            <p:nvPr/>
          </p:nvSpPr>
          <p:spPr>
            <a:xfrm flipH="1">
              <a:off x="10837230" y="5865120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7" name="任意多边形: 形状 856">
              <a:extLst>
                <a:ext uri="{FF2B5EF4-FFF2-40B4-BE49-F238E27FC236}">
                  <a16:creationId xmlns:a16="http://schemas.microsoft.com/office/drawing/2014/main" id="{DFB59213-05D7-4532-91D7-9733927A7254}"/>
                </a:ext>
              </a:extLst>
            </p:cNvPr>
            <p:cNvSpPr/>
            <p:nvPr/>
          </p:nvSpPr>
          <p:spPr>
            <a:xfrm flipH="1">
              <a:off x="10843889" y="5850223"/>
              <a:ext cx="154654" cy="61862"/>
            </a:xfrm>
            <a:custGeom>
              <a:avLst/>
              <a:gdLst>
                <a:gd name="connsiteX0" fmla="*/ 0 w 154654"/>
                <a:gd name="connsiteY0" fmla="*/ 55995 h 61861"/>
                <a:gd name="connsiteX1" fmla="*/ 167173 w 154654"/>
                <a:gd name="connsiteY1" fmla="*/ 0 h 61861"/>
                <a:gd name="connsiteX2" fmla="*/ 177979 w 154654"/>
                <a:gd name="connsiteY2" fmla="*/ 32262 h 61861"/>
                <a:gd name="connsiteX3" fmla="*/ 10806 w 154654"/>
                <a:gd name="connsiteY3" fmla="*/ 8825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95"/>
                  </a:moveTo>
                  <a:lnTo>
                    <a:pt x="167173" y="0"/>
                  </a:lnTo>
                  <a:lnTo>
                    <a:pt x="177979" y="32262"/>
                  </a:lnTo>
                  <a:lnTo>
                    <a:pt x="10806" y="88256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8" name="任意多边形: 形状 857">
              <a:extLst>
                <a:ext uri="{FF2B5EF4-FFF2-40B4-BE49-F238E27FC236}">
                  <a16:creationId xmlns:a16="http://schemas.microsoft.com/office/drawing/2014/main" id="{BD54961C-05F6-4CA9-8E21-27E58EBBFE20}"/>
                </a:ext>
              </a:extLst>
            </p:cNvPr>
            <p:cNvSpPr/>
            <p:nvPr/>
          </p:nvSpPr>
          <p:spPr>
            <a:xfrm flipH="1">
              <a:off x="10837230" y="580325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9" name="任意多边形: 形状 858">
              <a:extLst>
                <a:ext uri="{FF2B5EF4-FFF2-40B4-BE49-F238E27FC236}">
                  <a16:creationId xmlns:a16="http://schemas.microsoft.com/office/drawing/2014/main" id="{1FC72CBD-9858-496A-AEE6-001F50357803}"/>
                </a:ext>
              </a:extLst>
            </p:cNvPr>
            <p:cNvSpPr/>
            <p:nvPr/>
          </p:nvSpPr>
          <p:spPr>
            <a:xfrm flipH="1">
              <a:off x="10843839" y="5788586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91 w 154654"/>
                <a:gd name="connsiteY1" fmla="*/ 0 h 61861"/>
                <a:gd name="connsiteX2" fmla="*/ 177993 w 154654"/>
                <a:gd name="connsiteY2" fmla="*/ 32265 h 61861"/>
                <a:gd name="connsiteX3" fmla="*/ 10803 w 154654"/>
                <a:gd name="connsiteY3" fmla="*/ 8824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91" y="0"/>
                  </a:lnTo>
                  <a:lnTo>
                    <a:pt x="177993" y="32265"/>
                  </a:lnTo>
                  <a:lnTo>
                    <a:pt x="10803" y="8824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0" name="任意多边形: 形状 859">
              <a:extLst>
                <a:ext uri="{FF2B5EF4-FFF2-40B4-BE49-F238E27FC236}">
                  <a16:creationId xmlns:a16="http://schemas.microsoft.com/office/drawing/2014/main" id="{2D9FBCB4-B269-4EB2-8D4D-DFBC566776A0}"/>
                </a:ext>
              </a:extLst>
            </p:cNvPr>
            <p:cNvSpPr/>
            <p:nvPr/>
          </p:nvSpPr>
          <p:spPr>
            <a:xfrm flipH="1">
              <a:off x="10837230" y="5741397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1" name="任意多边形: 形状 860">
              <a:extLst>
                <a:ext uri="{FF2B5EF4-FFF2-40B4-BE49-F238E27FC236}">
                  <a16:creationId xmlns:a16="http://schemas.microsoft.com/office/drawing/2014/main" id="{3D0F1CA8-E5C1-4B36-9C66-A7BFF2654F18}"/>
                </a:ext>
              </a:extLst>
            </p:cNvPr>
            <p:cNvSpPr/>
            <p:nvPr/>
          </p:nvSpPr>
          <p:spPr>
            <a:xfrm flipH="1">
              <a:off x="10844682" y="5723640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2" name="任意多边形: 形状 861">
              <a:extLst>
                <a:ext uri="{FF2B5EF4-FFF2-40B4-BE49-F238E27FC236}">
                  <a16:creationId xmlns:a16="http://schemas.microsoft.com/office/drawing/2014/main" id="{1BFA5608-A629-4C06-A6EE-12391DE84FE2}"/>
                </a:ext>
              </a:extLst>
            </p:cNvPr>
            <p:cNvSpPr/>
            <p:nvPr/>
          </p:nvSpPr>
          <p:spPr>
            <a:xfrm flipH="1">
              <a:off x="10837230" y="5679535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3" name="任意多边形: 形状 862">
              <a:extLst>
                <a:ext uri="{FF2B5EF4-FFF2-40B4-BE49-F238E27FC236}">
                  <a16:creationId xmlns:a16="http://schemas.microsoft.com/office/drawing/2014/main" id="{5C519B2C-553C-45D8-8BA6-ACB2A64104DC}"/>
                </a:ext>
              </a:extLst>
            </p:cNvPr>
            <p:cNvSpPr/>
            <p:nvPr/>
          </p:nvSpPr>
          <p:spPr>
            <a:xfrm flipH="1">
              <a:off x="10844669" y="5661775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4" name="任意多边形: 形状 863">
              <a:extLst>
                <a:ext uri="{FF2B5EF4-FFF2-40B4-BE49-F238E27FC236}">
                  <a16:creationId xmlns:a16="http://schemas.microsoft.com/office/drawing/2014/main" id="{1CDC7D0F-ABFF-466A-AFB2-36390CC24E61}"/>
                </a:ext>
              </a:extLst>
            </p:cNvPr>
            <p:cNvSpPr/>
            <p:nvPr/>
          </p:nvSpPr>
          <p:spPr>
            <a:xfrm flipH="1">
              <a:off x="10837230" y="5617674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5" name="任意多边形: 形状 864">
              <a:extLst>
                <a:ext uri="{FF2B5EF4-FFF2-40B4-BE49-F238E27FC236}">
                  <a16:creationId xmlns:a16="http://schemas.microsoft.com/office/drawing/2014/main" id="{0A3480CA-C43B-420F-B100-1F15866E49EF}"/>
                </a:ext>
              </a:extLst>
            </p:cNvPr>
            <p:cNvSpPr/>
            <p:nvPr/>
          </p:nvSpPr>
          <p:spPr>
            <a:xfrm flipH="1">
              <a:off x="10844660" y="5599910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6" name="任意多边形: 形状 865">
              <a:extLst>
                <a:ext uri="{FF2B5EF4-FFF2-40B4-BE49-F238E27FC236}">
                  <a16:creationId xmlns:a16="http://schemas.microsoft.com/office/drawing/2014/main" id="{18DEC0D6-71DA-46FC-AAFE-8B37704DFC72}"/>
                </a:ext>
              </a:extLst>
            </p:cNvPr>
            <p:cNvSpPr/>
            <p:nvPr/>
          </p:nvSpPr>
          <p:spPr>
            <a:xfrm flipH="1">
              <a:off x="10837230" y="5555812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7" name="任意多边形: 形状 866">
              <a:extLst>
                <a:ext uri="{FF2B5EF4-FFF2-40B4-BE49-F238E27FC236}">
                  <a16:creationId xmlns:a16="http://schemas.microsoft.com/office/drawing/2014/main" id="{444DC5AB-C8CC-4454-92B1-5C1B4E97066D}"/>
                </a:ext>
              </a:extLst>
            </p:cNvPr>
            <p:cNvSpPr/>
            <p:nvPr/>
          </p:nvSpPr>
          <p:spPr>
            <a:xfrm flipH="1">
              <a:off x="10844703" y="5538101"/>
              <a:ext cx="154654" cy="61862"/>
            </a:xfrm>
            <a:custGeom>
              <a:avLst/>
              <a:gdLst>
                <a:gd name="connsiteX0" fmla="*/ 0 w 154654"/>
                <a:gd name="connsiteY0" fmla="*/ 56030 h 61861"/>
                <a:gd name="connsiteX1" fmla="*/ 167173 w 154654"/>
                <a:gd name="connsiteY1" fmla="*/ 0 h 61861"/>
                <a:gd name="connsiteX2" fmla="*/ 177986 w 154654"/>
                <a:gd name="connsiteY2" fmla="*/ 32261 h 61861"/>
                <a:gd name="connsiteX3" fmla="*/ 10813 w 154654"/>
                <a:gd name="connsiteY3" fmla="*/ 88291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6030"/>
                  </a:moveTo>
                  <a:lnTo>
                    <a:pt x="167173" y="0"/>
                  </a:lnTo>
                  <a:lnTo>
                    <a:pt x="177986" y="32261"/>
                  </a:lnTo>
                  <a:lnTo>
                    <a:pt x="10813" y="88291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8" name="任意多边形: 形状 867">
              <a:extLst>
                <a:ext uri="{FF2B5EF4-FFF2-40B4-BE49-F238E27FC236}">
                  <a16:creationId xmlns:a16="http://schemas.microsoft.com/office/drawing/2014/main" id="{0A126D42-02B4-4D9C-8B53-4364631EDB35}"/>
                </a:ext>
              </a:extLst>
            </p:cNvPr>
            <p:cNvSpPr/>
            <p:nvPr/>
          </p:nvSpPr>
          <p:spPr>
            <a:xfrm flipH="1">
              <a:off x="10837230" y="5493950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9" name="任意多边形: 形状 868">
              <a:extLst>
                <a:ext uri="{FF2B5EF4-FFF2-40B4-BE49-F238E27FC236}">
                  <a16:creationId xmlns:a16="http://schemas.microsoft.com/office/drawing/2014/main" id="{12EFFDAF-EC36-4021-A334-357B9D1E0241}"/>
                </a:ext>
              </a:extLst>
            </p:cNvPr>
            <p:cNvSpPr/>
            <p:nvPr/>
          </p:nvSpPr>
          <p:spPr>
            <a:xfrm flipH="1">
              <a:off x="10844750" y="5476317"/>
              <a:ext cx="154654" cy="61862"/>
            </a:xfrm>
            <a:custGeom>
              <a:avLst/>
              <a:gdLst>
                <a:gd name="connsiteX0" fmla="*/ 0 w 154654"/>
                <a:gd name="connsiteY0" fmla="*/ 55977 h 61861"/>
                <a:gd name="connsiteX1" fmla="*/ 167191 w 154654"/>
                <a:gd name="connsiteY1" fmla="*/ 0 h 61861"/>
                <a:gd name="connsiteX2" fmla="*/ 177993 w 154654"/>
                <a:gd name="connsiteY2" fmla="*/ 32265 h 61861"/>
                <a:gd name="connsiteX3" fmla="*/ 10803 w 154654"/>
                <a:gd name="connsiteY3" fmla="*/ 88242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77"/>
                  </a:moveTo>
                  <a:lnTo>
                    <a:pt x="167191" y="0"/>
                  </a:lnTo>
                  <a:lnTo>
                    <a:pt x="177993" y="32265"/>
                  </a:lnTo>
                  <a:lnTo>
                    <a:pt x="10803" y="88242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0" name="任意多边形: 形状 869">
              <a:extLst>
                <a:ext uri="{FF2B5EF4-FFF2-40B4-BE49-F238E27FC236}">
                  <a16:creationId xmlns:a16="http://schemas.microsoft.com/office/drawing/2014/main" id="{6CECF6F2-DD80-49A5-85D3-AA0D202460A5}"/>
                </a:ext>
              </a:extLst>
            </p:cNvPr>
            <p:cNvSpPr/>
            <p:nvPr/>
          </p:nvSpPr>
          <p:spPr>
            <a:xfrm flipH="1">
              <a:off x="10837230" y="5432089"/>
              <a:ext cx="154654" cy="30931"/>
            </a:xfrm>
            <a:custGeom>
              <a:avLst/>
              <a:gdLst>
                <a:gd name="connsiteX0" fmla="*/ 0 w 154654"/>
                <a:gd name="connsiteY0" fmla="*/ 55675 h 30930"/>
                <a:gd name="connsiteX1" fmla="*/ 167027 w 154654"/>
                <a:gd name="connsiteY1" fmla="*/ 0 h 30930"/>
                <a:gd name="connsiteX2" fmla="*/ 0 w 154654"/>
                <a:gd name="connsiteY2" fmla="*/ 55675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4654" h="30930">
                  <a:moveTo>
                    <a:pt x="0" y="55675"/>
                  </a:moveTo>
                  <a:lnTo>
                    <a:pt x="167027" y="0"/>
                  </a:lnTo>
                  <a:lnTo>
                    <a:pt x="0" y="55675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1" name="任意多边形: 形状 870">
              <a:extLst>
                <a:ext uri="{FF2B5EF4-FFF2-40B4-BE49-F238E27FC236}">
                  <a16:creationId xmlns:a16="http://schemas.microsoft.com/office/drawing/2014/main" id="{632ABC9E-6657-46E6-A2F4-C10A3BDA8D3B}"/>
                </a:ext>
              </a:extLst>
            </p:cNvPr>
            <p:cNvSpPr/>
            <p:nvPr/>
          </p:nvSpPr>
          <p:spPr>
            <a:xfrm flipH="1">
              <a:off x="10844779" y="5414253"/>
              <a:ext cx="154654" cy="61862"/>
            </a:xfrm>
            <a:custGeom>
              <a:avLst/>
              <a:gdLst>
                <a:gd name="connsiteX0" fmla="*/ 0 w 154654"/>
                <a:gd name="connsiteY0" fmla="*/ 55995 h 61861"/>
                <a:gd name="connsiteX1" fmla="*/ 167173 w 154654"/>
                <a:gd name="connsiteY1" fmla="*/ 0 h 61861"/>
                <a:gd name="connsiteX2" fmla="*/ 177979 w 154654"/>
                <a:gd name="connsiteY2" fmla="*/ 32261 h 61861"/>
                <a:gd name="connsiteX3" fmla="*/ 10806 w 154654"/>
                <a:gd name="connsiteY3" fmla="*/ 88256 h 61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654" h="61861">
                  <a:moveTo>
                    <a:pt x="0" y="55995"/>
                  </a:moveTo>
                  <a:lnTo>
                    <a:pt x="167173" y="0"/>
                  </a:lnTo>
                  <a:lnTo>
                    <a:pt x="177979" y="32261"/>
                  </a:lnTo>
                  <a:lnTo>
                    <a:pt x="10806" y="88256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2" name="任意多边形: 形状 871">
              <a:extLst>
                <a:ext uri="{FF2B5EF4-FFF2-40B4-BE49-F238E27FC236}">
                  <a16:creationId xmlns:a16="http://schemas.microsoft.com/office/drawing/2014/main" id="{1B89E318-EB90-477D-A51B-54AB14460AD5}"/>
                </a:ext>
              </a:extLst>
            </p:cNvPr>
            <p:cNvSpPr/>
            <p:nvPr/>
          </p:nvSpPr>
          <p:spPr>
            <a:xfrm flipH="1">
              <a:off x="10147472" y="5308365"/>
              <a:ext cx="680478" cy="1299095"/>
            </a:xfrm>
            <a:custGeom>
              <a:avLst/>
              <a:gdLst>
                <a:gd name="connsiteX0" fmla="*/ 0 w 680478"/>
                <a:gd name="connsiteY0" fmla="*/ 0 h 1299094"/>
                <a:gd name="connsiteX1" fmla="*/ 683571 w 680478"/>
                <a:gd name="connsiteY1" fmla="*/ 0 h 1299094"/>
                <a:gd name="connsiteX2" fmla="*/ 683571 w 680478"/>
                <a:gd name="connsiteY2" fmla="*/ 1299095 h 1299094"/>
                <a:gd name="connsiteX3" fmla="*/ 0 w 680478"/>
                <a:gd name="connsiteY3" fmla="*/ 1299095 h 129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1299094">
                  <a:moveTo>
                    <a:pt x="0" y="0"/>
                  </a:moveTo>
                  <a:lnTo>
                    <a:pt x="683571" y="0"/>
                  </a:lnTo>
                  <a:lnTo>
                    <a:pt x="683571" y="1299095"/>
                  </a:lnTo>
                  <a:lnTo>
                    <a:pt x="0" y="1299095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3" name="任意多边形: 形状 872">
              <a:extLst>
                <a:ext uri="{FF2B5EF4-FFF2-40B4-BE49-F238E27FC236}">
                  <a16:creationId xmlns:a16="http://schemas.microsoft.com/office/drawing/2014/main" id="{9EF8D4CE-2178-464B-90E2-8AE6B2476CDA}"/>
                </a:ext>
              </a:extLst>
            </p:cNvPr>
            <p:cNvSpPr/>
            <p:nvPr/>
          </p:nvSpPr>
          <p:spPr>
            <a:xfrm flipH="1">
              <a:off x="10147472" y="654559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4" name="任意多边形: 形状 873">
              <a:extLst>
                <a:ext uri="{FF2B5EF4-FFF2-40B4-BE49-F238E27FC236}">
                  <a16:creationId xmlns:a16="http://schemas.microsoft.com/office/drawing/2014/main" id="{B7ABBA4E-166A-4639-9AD6-96C963979C91}"/>
                </a:ext>
              </a:extLst>
            </p:cNvPr>
            <p:cNvSpPr/>
            <p:nvPr/>
          </p:nvSpPr>
          <p:spPr>
            <a:xfrm flipH="1">
              <a:off x="10147472" y="6530133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5" name="任意多边形: 形状 874">
              <a:extLst>
                <a:ext uri="{FF2B5EF4-FFF2-40B4-BE49-F238E27FC236}">
                  <a16:creationId xmlns:a16="http://schemas.microsoft.com/office/drawing/2014/main" id="{DE5A4590-C709-4B2F-815D-0339666DC787}"/>
                </a:ext>
              </a:extLst>
            </p:cNvPr>
            <p:cNvSpPr/>
            <p:nvPr/>
          </p:nvSpPr>
          <p:spPr>
            <a:xfrm flipH="1">
              <a:off x="10147472" y="6483737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6" name="任意多边形: 形状 875">
              <a:extLst>
                <a:ext uri="{FF2B5EF4-FFF2-40B4-BE49-F238E27FC236}">
                  <a16:creationId xmlns:a16="http://schemas.microsoft.com/office/drawing/2014/main" id="{5BD56C0B-2019-4D79-BD0F-135D59315A4A}"/>
                </a:ext>
              </a:extLst>
            </p:cNvPr>
            <p:cNvSpPr/>
            <p:nvPr/>
          </p:nvSpPr>
          <p:spPr>
            <a:xfrm flipH="1">
              <a:off x="10147472" y="6468272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7" name="任意多边形: 形状 876">
              <a:extLst>
                <a:ext uri="{FF2B5EF4-FFF2-40B4-BE49-F238E27FC236}">
                  <a16:creationId xmlns:a16="http://schemas.microsoft.com/office/drawing/2014/main" id="{48218C12-1F8C-4720-88D1-043F4A7BED8D}"/>
                </a:ext>
              </a:extLst>
            </p:cNvPr>
            <p:cNvSpPr/>
            <p:nvPr/>
          </p:nvSpPr>
          <p:spPr>
            <a:xfrm flipH="1">
              <a:off x="10147472" y="6421875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8" name="任意多边形: 形状 877">
              <a:extLst>
                <a:ext uri="{FF2B5EF4-FFF2-40B4-BE49-F238E27FC236}">
                  <a16:creationId xmlns:a16="http://schemas.microsoft.com/office/drawing/2014/main" id="{266A3D0E-4882-460B-B931-A0C4CA0E85C1}"/>
                </a:ext>
              </a:extLst>
            </p:cNvPr>
            <p:cNvSpPr/>
            <p:nvPr/>
          </p:nvSpPr>
          <p:spPr>
            <a:xfrm flipH="1">
              <a:off x="10147472" y="640641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9" name="任意多边形: 形状 878">
              <a:extLst>
                <a:ext uri="{FF2B5EF4-FFF2-40B4-BE49-F238E27FC236}">
                  <a16:creationId xmlns:a16="http://schemas.microsoft.com/office/drawing/2014/main" id="{6D3CBA94-8348-47D2-8B47-E351FA4CB02B}"/>
                </a:ext>
              </a:extLst>
            </p:cNvPr>
            <p:cNvSpPr/>
            <p:nvPr/>
          </p:nvSpPr>
          <p:spPr>
            <a:xfrm flipH="1">
              <a:off x="10147472" y="6360014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0" name="任意多边形: 形状 879">
              <a:extLst>
                <a:ext uri="{FF2B5EF4-FFF2-40B4-BE49-F238E27FC236}">
                  <a16:creationId xmlns:a16="http://schemas.microsoft.com/office/drawing/2014/main" id="{646B63EF-09A3-4559-AA2C-61C73722E534}"/>
                </a:ext>
              </a:extLst>
            </p:cNvPr>
            <p:cNvSpPr/>
            <p:nvPr/>
          </p:nvSpPr>
          <p:spPr>
            <a:xfrm flipH="1">
              <a:off x="10147472" y="6344548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1" name="任意多边形: 形状 880">
              <a:extLst>
                <a:ext uri="{FF2B5EF4-FFF2-40B4-BE49-F238E27FC236}">
                  <a16:creationId xmlns:a16="http://schemas.microsoft.com/office/drawing/2014/main" id="{203E0220-FC9E-42A7-A2C2-5EFCB1CC0896}"/>
                </a:ext>
              </a:extLst>
            </p:cNvPr>
            <p:cNvSpPr/>
            <p:nvPr/>
          </p:nvSpPr>
          <p:spPr>
            <a:xfrm flipH="1">
              <a:off x="10147472" y="6298152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2" name="任意多边形: 形状 881">
              <a:extLst>
                <a:ext uri="{FF2B5EF4-FFF2-40B4-BE49-F238E27FC236}">
                  <a16:creationId xmlns:a16="http://schemas.microsoft.com/office/drawing/2014/main" id="{62DC7FBF-2E0B-419E-8706-40117014BB0C}"/>
                </a:ext>
              </a:extLst>
            </p:cNvPr>
            <p:cNvSpPr/>
            <p:nvPr/>
          </p:nvSpPr>
          <p:spPr>
            <a:xfrm flipH="1">
              <a:off x="10147472" y="6282687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3" name="任意多边形: 形状 882">
              <a:extLst>
                <a:ext uri="{FF2B5EF4-FFF2-40B4-BE49-F238E27FC236}">
                  <a16:creationId xmlns:a16="http://schemas.microsoft.com/office/drawing/2014/main" id="{01CE24A3-F074-46BA-B8D6-B9233C7C44A0}"/>
                </a:ext>
              </a:extLst>
            </p:cNvPr>
            <p:cNvSpPr/>
            <p:nvPr/>
          </p:nvSpPr>
          <p:spPr>
            <a:xfrm flipH="1">
              <a:off x="10147472" y="6236290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4" name="任意多边形: 形状 883">
              <a:extLst>
                <a:ext uri="{FF2B5EF4-FFF2-40B4-BE49-F238E27FC236}">
                  <a16:creationId xmlns:a16="http://schemas.microsoft.com/office/drawing/2014/main" id="{D410A4E5-A000-4FF8-98BE-CF50534C9A5C}"/>
                </a:ext>
              </a:extLst>
            </p:cNvPr>
            <p:cNvSpPr/>
            <p:nvPr/>
          </p:nvSpPr>
          <p:spPr>
            <a:xfrm flipH="1">
              <a:off x="10147472" y="6220825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5" name="任意多边形: 形状 884">
              <a:extLst>
                <a:ext uri="{FF2B5EF4-FFF2-40B4-BE49-F238E27FC236}">
                  <a16:creationId xmlns:a16="http://schemas.microsoft.com/office/drawing/2014/main" id="{FFE57699-C992-4EC4-96A6-1E7361529C01}"/>
                </a:ext>
              </a:extLst>
            </p:cNvPr>
            <p:cNvSpPr/>
            <p:nvPr/>
          </p:nvSpPr>
          <p:spPr>
            <a:xfrm flipH="1">
              <a:off x="10147472" y="617442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6" name="任意多边形: 形状 885">
              <a:extLst>
                <a:ext uri="{FF2B5EF4-FFF2-40B4-BE49-F238E27FC236}">
                  <a16:creationId xmlns:a16="http://schemas.microsoft.com/office/drawing/2014/main" id="{A48C21B2-2F18-4C67-B9CD-F5666D128AB4}"/>
                </a:ext>
              </a:extLst>
            </p:cNvPr>
            <p:cNvSpPr/>
            <p:nvPr/>
          </p:nvSpPr>
          <p:spPr>
            <a:xfrm flipH="1">
              <a:off x="10147472" y="6158963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7" name="任意多边形: 形状 886">
              <a:extLst>
                <a:ext uri="{FF2B5EF4-FFF2-40B4-BE49-F238E27FC236}">
                  <a16:creationId xmlns:a16="http://schemas.microsoft.com/office/drawing/2014/main" id="{DE2736FF-E794-4805-9468-9CA81D0C3278}"/>
                </a:ext>
              </a:extLst>
            </p:cNvPr>
            <p:cNvSpPr/>
            <p:nvPr/>
          </p:nvSpPr>
          <p:spPr>
            <a:xfrm flipH="1">
              <a:off x="10147472" y="6112567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8" name="任意多边形: 形状 887">
              <a:extLst>
                <a:ext uri="{FF2B5EF4-FFF2-40B4-BE49-F238E27FC236}">
                  <a16:creationId xmlns:a16="http://schemas.microsoft.com/office/drawing/2014/main" id="{FA27CFCB-9AA8-4C54-A5F8-9621C887F481}"/>
                </a:ext>
              </a:extLst>
            </p:cNvPr>
            <p:cNvSpPr/>
            <p:nvPr/>
          </p:nvSpPr>
          <p:spPr>
            <a:xfrm flipH="1">
              <a:off x="10147472" y="6097102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9" name="任意多边形: 形状 888">
              <a:extLst>
                <a:ext uri="{FF2B5EF4-FFF2-40B4-BE49-F238E27FC236}">
                  <a16:creationId xmlns:a16="http://schemas.microsoft.com/office/drawing/2014/main" id="{B11D5427-3D71-40E3-A416-6E15ED6672AC}"/>
                </a:ext>
              </a:extLst>
            </p:cNvPr>
            <p:cNvSpPr/>
            <p:nvPr/>
          </p:nvSpPr>
          <p:spPr>
            <a:xfrm flipH="1">
              <a:off x="10147472" y="6050705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0" name="任意多边形: 形状 889">
              <a:extLst>
                <a:ext uri="{FF2B5EF4-FFF2-40B4-BE49-F238E27FC236}">
                  <a16:creationId xmlns:a16="http://schemas.microsoft.com/office/drawing/2014/main" id="{4212AFF8-AFE6-4A1B-891F-DDE979277E65}"/>
                </a:ext>
              </a:extLst>
            </p:cNvPr>
            <p:cNvSpPr/>
            <p:nvPr/>
          </p:nvSpPr>
          <p:spPr>
            <a:xfrm flipH="1">
              <a:off x="10147472" y="603524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1" name="任意多边形: 形状 890">
              <a:extLst>
                <a:ext uri="{FF2B5EF4-FFF2-40B4-BE49-F238E27FC236}">
                  <a16:creationId xmlns:a16="http://schemas.microsoft.com/office/drawing/2014/main" id="{E5245AEC-5EDF-4D76-81FB-F9EF4FADFE55}"/>
                </a:ext>
              </a:extLst>
            </p:cNvPr>
            <p:cNvSpPr/>
            <p:nvPr/>
          </p:nvSpPr>
          <p:spPr>
            <a:xfrm flipH="1">
              <a:off x="10147472" y="5988844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2" name="任意多边形: 形状 891">
              <a:extLst>
                <a:ext uri="{FF2B5EF4-FFF2-40B4-BE49-F238E27FC236}">
                  <a16:creationId xmlns:a16="http://schemas.microsoft.com/office/drawing/2014/main" id="{AB4BF1DF-9F93-4D12-8781-DA64EFA64C40}"/>
                </a:ext>
              </a:extLst>
            </p:cNvPr>
            <p:cNvSpPr/>
            <p:nvPr/>
          </p:nvSpPr>
          <p:spPr>
            <a:xfrm flipH="1">
              <a:off x="10147472" y="5973378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3" name="任意多边形: 形状 892">
              <a:extLst>
                <a:ext uri="{FF2B5EF4-FFF2-40B4-BE49-F238E27FC236}">
                  <a16:creationId xmlns:a16="http://schemas.microsoft.com/office/drawing/2014/main" id="{E29E3269-7C47-4318-9563-D09B8EDA96EF}"/>
                </a:ext>
              </a:extLst>
            </p:cNvPr>
            <p:cNvSpPr/>
            <p:nvPr/>
          </p:nvSpPr>
          <p:spPr>
            <a:xfrm flipH="1">
              <a:off x="10147472" y="5926982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4" name="任意多边形: 形状 893">
              <a:extLst>
                <a:ext uri="{FF2B5EF4-FFF2-40B4-BE49-F238E27FC236}">
                  <a16:creationId xmlns:a16="http://schemas.microsoft.com/office/drawing/2014/main" id="{8FF1ED5E-CB86-46F1-A581-E20D885F3115}"/>
                </a:ext>
              </a:extLst>
            </p:cNvPr>
            <p:cNvSpPr/>
            <p:nvPr/>
          </p:nvSpPr>
          <p:spPr>
            <a:xfrm flipH="1">
              <a:off x="10147472" y="5911517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5" name="任意多边形: 形状 894">
              <a:extLst>
                <a:ext uri="{FF2B5EF4-FFF2-40B4-BE49-F238E27FC236}">
                  <a16:creationId xmlns:a16="http://schemas.microsoft.com/office/drawing/2014/main" id="{4D3D769A-97DC-40C4-936F-719652A03B72}"/>
                </a:ext>
              </a:extLst>
            </p:cNvPr>
            <p:cNvSpPr/>
            <p:nvPr/>
          </p:nvSpPr>
          <p:spPr>
            <a:xfrm flipH="1">
              <a:off x="10147472" y="5865120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6" name="任意多边形: 形状 895">
              <a:extLst>
                <a:ext uri="{FF2B5EF4-FFF2-40B4-BE49-F238E27FC236}">
                  <a16:creationId xmlns:a16="http://schemas.microsoft.com/office/drawing/2014/main" id="{BB49B69C-603E-4C54-822E-387C111A264B}"/>
                </a:ext>
              </a:extLst>
            </p:cNvPr>
            <p:cNvSpPr/>
            <p:nvPr/>
          </p:nvSpPr>
          <p:spPr>
            <a:xfrm flipH="1">
              <a:off x="10147472" y="5849655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7" name="任意多边形: 形状 896">
              <a:extLst>
                <a:ext uri="{FF2B5EF4-FFF2-40B4-BE49-F238E27FC236}">
                  <a16:creationId xmlns:a16="http://schemas.microsoft.com/office/drawing/2014/main" id="{5831F5D5-4B39-44D6-8ECB-B831CA212CF4}"/>
                </a:ext>
              </a:extLst>
            </p:cNvPr>
            <p:cNvSpPr/>
            <p:nvPr/>
          </p:nvSpPr>
          <p:spPr>
            <a:xfrm flipH="1">
              <a:off x="10147472" y="580325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8" name="任意多边形: 形状 897">
              <a:extLst>
                <a:ext uri="{FF2B5EF4-FFF2-40B4-BE49-F238E27FC236}">
                  <a16:creationId xmlns:a16="http://schemas.microsoft.com/office/drawing/2014/main" id="{DB3B4BB9-CF4F-4371-82F7-972941847CC6}"/>
                </a:ext>
              </a:extLst>
            </p:cNvPr>
            <p:cNvSpPr/>
            <p:nvPr/>
          </p:nvSpPr>
          <p:spPr>
            <a:xfrm flipH="1">
              <a:off x="10147472" y="578470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9" name="任意多边形: 形状 898">
              <a:extLst>
                <a:ext uri="{FF2B5EF4-FFF2-40B4-BE49-F238E27FC236}">
                  <a16:creationId xmlns:a16="http://schemas.microsoft.com/office/drawing/2014/main" id="{36AF1001-2465-4062-B0D6-D037CC8CE1B6}"/>
                </a:ext>
              </a:extLst>
            </p:cNvPr>
            <p:cNvSpPr/>
            <p:nvPr/>
          </p:nvSpPr>
          <p:spPr>
            <a:xfrm flipH="1">
              <a:off x="10147472" y="5741397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0" name="任意多边形: 形状 899">
              <a:extLst>
                <a:ext uri="{FF2B5EF4-FFF2-40B4-BE49-F238E27FC236}">
                  <a16:creationId xmlns:a16="http://schemas.microsoft.com/office/drawing/2014/main" id="{F4EEB3FE-20C9-4828-8110-6E0C5B7148E2}"/>
                </a:ext>
              </a:extLst>
            </p:cNvPr>
            <p:cNvSpPr/>
            <p:nvPr/>
          </p:nvSpPr>
          <p:spPr>
            <a:xfrm flipH="1">
              <a:off x="10147472" y="5722838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1" name="任意多边形: 形状 900">
              <a:extLst>
                <a:ext uri="{FF2B5EF4-FFF2-40B4-BE49-F238E27FC236}">
                  <a16:creationId xmlns:a16="http://schemas.microsoft.com/office/drawing/2014/main" id="{CB3908A1-ADA4-4FB7-879F-E6BDD8874C19}"/>
                </a:ext>
              </a:extLst>
            </p:cNvPr>
            <p:cNvSpPr/>
            <p:nvPr/>
          </p:nvSpPr>
          <p:spPr>
            <a:xfrm flipH="1">
              <a:off x="10147472" y="5679535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2" name="任意多边形: 形状 901">
              <a:extLst>
                <a:ext uri="{FF2B5EF4-FFF2-40B4-BE49-F238E27FC236}">
                  <a16:creationId xmlns:a16="http://schemas.microsoft.com/office/drawing/2014/main" id="{6AE9C671-AF2F-4298-BDCA-2D3E87BF6664}"/>
                </a:ext>
              </a:extLst>
            </p:cNvPr>
            <p:cNvSpPr/>
            <p:nvPr/>
          </p:nvSpPr>
          <p:spPr>
            <a:xfrm flipH="1">
              <a:off x="10147472" y="5660977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3" name="任意多边形: 形状 902">
              <a:extLst>
                <a:ext uri="{FF2B5EF4-FFF2-40B4-BE49-F238E27FC236}">
                  <a16:creationId xmlns:a16="http://schemas.microsoft.com/office/drawing/2014/main" id="{E58809BA-A650-44E9-9293-11E11B742CB5}"/>
                </a:ext>
              </a:extLst>
            </p:cNvPr>
            <p:cNvSpPr/>
            <p:nvPr/>
          </p:nvSpPr>
          <p:spPr>
            <a:xfrm flipH="1">
              <a:off x="10147472" y="5617674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4" name="任意多边形: 形状 903">
              <a:extLst>
                <a:ext uri="{FF2B5EF4-FFF2-40B4-BE49-F238E27FC236}">
                  <a16:creationId xmlns:a16="http://schemas.microsoft.com/office/drawing/2014/main" id="{FD038E29-D2A3-4464-A65F-5CEFD84C323F}"/>
                </a:ext>
              </a:extLst>
            </p:cNvPr>
            <p:cNvSpPr/>
            <p:nvPr/>
          </p:nvSpPr>
          <p:spPr>
            <a:xfrm flipH="1">
              <a:off x="10147472" y="5599115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5" name="任意多边形: 形状 904">
              <a:extLst>
                <a:ext uri="{FF2B5EF4-FFF2-40B4-BE49-F238E27FC236}">
                  <a16:creationId xmlns:a16="http://schemas.microsoft.com/office/drawing/2014/main" id="{2713ACB3-2707-4C8E-BDA4-49BCDF9DB942}"/>
                </a:ext>
              </a:extLst>
            </p:cNvPr>
            <p:cNvSpPr/>
            <p:nvPr/>
          </p:nvSpPr>
          <p:spPr>
            <a:xfrm flipH="1">
              <a:off x="10147472" y="5555812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6" name="任意多边形: 形状 905">
              <a:extLst>
                <a:ext uri="{FF2B5EF4-FFF2-40B4-BE49-F238E27FC236}">
                  <a16:creationId xmlns:a16="http://schemas.microsoft.com/office/drawing/2014/main" id="{1A4D31E5-B98E-4902-AFAE-924992C4A96B}"/>
                </a:ext>
              </a:extLst>
            </p:cNvPr>
            <p:cNvSpPr/>
            <p:nvPr/>
          </p:nvSpPr>
          <p:spPr>
            <a:xfrm flipH="1">
              <a:off x="10147472" y="5537253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7" name="任意多边形: 形状 906">
              <a:extLst>
                <a:ext uri="{FF2B5EF4-FFF2-40B4-BE49-F238E27FC236}">
                  <a16:creationId xmlns:a16="http://schemas.microsoft.com/office/drawing/2014/main" id="{AE19328F-1668-4D37-B98C-8ABF9E98FAA1}"/>
                </a:ext>
              </a:extLst>
            </p:cNvPr>
            <p:cNvSpPr/>
            <p:nvPr/>
          </p:nvSpPr>
          <p:spPr>
            <a:xfrm flipH="1">
              <a:off x="10147472" y="5493950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8" name="任意多边形: 形状 907">
              <a:extLst>
                <a:ext uri="{FF2B5EF4-FFF2-40B4-BE49-F238E27FC236}">
                  <a16:creationId xmlns:a16="http://schemas.microsoft.com/office/drawing/2014/main" id="{700BE5A2-0114-4477-9B58-7BBB7FFD243B}"/>
                </a:ext>
              </a:extLst>
            </p:cNvPr>
            <p:cNvSpPr/>
            <p:nvPr/>
          </p:nvSpPr>
          <p:spPr>
            <a:xfrm flipH="1">
              <a:off x="10147472" y="5475392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9" name="任意多边形: 形状 908">
              <a:extLst>
                <a:ext uri="{FF2B5EF4-FFF2-40B4-BE49-F238E27FC236}">
                  <a16:creationId xmlns:a16="http://schemas.microsoft.com/office/drawing/2014/main" id="{202F38E6-0E26-4D3D-B658-64F2A901CD47}"/>
                </a:ext>
              </a:extLst>
            </p:cNvPr>
            <p:cNvSpPr/>
            <p:nvPr/>
          </p:nvSpPr>
          <p:spPr>
            <a:xfrm flipH="1">
              <a:off x="10147472" y="5432089"/>
              <a:ext cx="680478" cy="30931"/>
            </a:xfrm>
            <a:custGeom>
              <a:avLst/>
              <a:gdLst>
                <a:gd name="connsiteX0" fmla="*/ 0 w 680478"/>
                <a:gd name="connsiteY0" fmla="*/ 0 h 0"/>
                <a:gd name="connsiteX1" fmla="*/ 683571 w 680478"/>
                <a:gd name="connsiteY1" fmla="*/ 0 h 0"/>
                <a:gd name="connsiteX2" fmla="*/ 0 w 680478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0478">
                  <a:moveTo>
                    <a:pt x="0" y="0"/>
                  </a:moveTo>
                  <a:lnTo>
                    <a:pt x="683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0" name="任意多边形: 形状 909">
              <a:extLst>
                <a:ext uri="{FF2B5EF4-FFF2-40B4-BE49-F238E27FC236}">
                  <a16:creationId xmlns:a16="http://schemas.microsoft.com/office/drawing/2014/main" id="{360F062E-12F7-4A07-8B86-675843087B97}"/>
                </a:ext>
              </a:extLst>
            </p:cNvPr>
            <p:cNvSpPr/>
            <p:nvPr/>
          </p:nvSpPr>
          <p:spPr>
            <a:xfrm flipH="1">
              <a:off x="10147472" y="5413530"/>
              <a:ext cx="680478" cy="30931"/>
            </a:xfrm>
            <a:custGeom>
              <a:avLst/>
              <a:gdLst>
                <a:gd name="connsiteX0" fmla="*/ 0 w 680478"/>
                <a:gd name="connsiteY0" fmla="*/ 0 h 30930"/>
                <a:gd name="connsiteX1" fmla="*/ 683571 w 680478"/>
                <a:gd name="connsiteY1" fmla="*/ 0 h 30930"/>
                <a:gd name="connsiteX2" fmla="*/ 683571 w 680478"/>
                <a:gd name="connsiteY2" fmla="*/ 34024 h 30930"/>
                <a:gd name="connsiteX3" fmla="*/ 0 w 680478"/>
                <a:gd name="connsiteY3" fmla="*/ 34024 h 3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0478" h="30930">
                  <a:moveTo>
                    <a:pt x="0" y="0"/>
                  </a:moveTo>
                  <a:lnTo>
                    <a:pt x="683571" y="0"/>
                  </a:lnTo>
                  <a:lnTo>
                    <a:pt x="683571" y="34024"/>
                  </a:lnTo>
                  <a:lnTo>
                    <a:pt x="0" y="34024"/>
                  </a:lnTo>
                  <a:close/>
                </a:path>
              </a:pathLst>
            </a:custGeom>
            <a:solidFill>
              <a:srgbClr val="002C60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1" name="任意多边形: 形状 910">
              <a:extLst>
                <a:ext uri="{FF2B5EF4-FFF2-40B4-BE49-F238E27FC236}">
                  <a16:creationId xmlns:a16="http://schemas.microsoft.com/office/drawing/2014/main" id="{78936728-FABB-410B-A6BF-1C5A2D79210E}"/>
                </a:ext>
              </a:extLst>
            </p:cNvPr>
            <p:cNvSpPr/>
            <p:nvPr/>
          </p:nvSpPr>
          <p:spPr>
            <a:xfrm flipH="1">
              <a:off x="8576186" y="6248663"/>
              <a:ext cx="2196089" cy="278377"/>
            </a:xfrm>
            <a:custGeom>
              <a:avLst/>
              <a:gdLst>
                <a:gd name="connsiteX0" fmla="*/ 2208462 w 2196089"/>
                <a:gd name="connsiteY0" fmla="*/ 160840 h 278377"/>
                <a:gd name="connsiteX1" fmla="*/ 0 w 2196089"/>
                <a:gd name="connsiteY1" fmla="*/ 300029 h 278377"/>
                <a:gd name="connsiteX2" fmla="*/ 0 w 2196089"/>
                <a:gd name="connsiteY2" fmla="*/ 188678 h 278377"/>
                <a:gd name="connsiteX3" fmla="*/ 2208462 w 2196089"/>
                <a:gd name="connsiteY3" fmla="*/ 0 h 27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278377">
                  <a:moveTo>
                    <a:pt x="2208462" y="160840"/>
                  </a:moveTo>
                  <a:lnTo>
                    <a:pt x="0" y="300029"/>
                  </a:lnTo>
                  <a:lnTo>
                    <a:pt x="0" y="188678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2" name="任意多边形: 形状 911">
              <a:extLst>
                <a:ext uri="{FF2B5EF4-FFF2-40B4-BE49-F238E27FC236}">
                  <a16:creationId xmlns:a16="http://schemas.microsoft.com/office/drawing/2014/main" id="{C09F9759-4B17-4256-8A37-BFC65ABF2980}"/>
                </a:ext>
              </a:extLst>
            </p:cNvPr>
            <p:cNvSpPr/>
            <p:nvPr/>
          </p:nvSpPr>
          <p:spPr>
            <a:xfrm flipH="1">
              <a:off x="8576186" y="6279594"/>
              <a:ext cx="2196089" cy="556755"/>
            </a:xfrm>
            <a:custGeom>
              <a:avLst/>
              <a:gdLst>
                <a:gd name="connsiteX0" fmla="*/ 2208462 w 2196089"/>
                <a:gd name="connsiteY0" fmla="*/ 575313 h 556754"/>
                <a:gd name="connsiteX1" fmla="*/ 0 w 2196089"/>
                <a:gd name="connsiteY1" fmla="*/ 575313 h 556754"/>
                <a:gd name="connsiteX2" fmla="*/ 0 w 2196089"/>
                <a:gd name="connsiteY2" fmla="*/ 179399 h 556754"/>
                <a:gd name="connsiteX3" fmla="*/ 2208462 w 2196089"/>
                <a:gd name="connsiteY3" fmla="*/ 0 h 556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556754">
                  <a:moveTo>
                    <a:pt x="2208462" y="575313"/>
                  </a:moveTo>
                  <a:lnTo>
                    <a:pt x="0" y="575313"/>
                  </a:lnTo>
                  <a:lnTo>
                    <a:pt x="0" y="179399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DDB1B9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3" name="任意多边形: 形状 912">
              <a:extLst>
                <a:ext uri="{FF2B5EF4-FFF2-40B4-BE49-F238E27FC236}">
                  <a16:creationId xmlns:a16="http://schemas.microsoft.com/office/drawing/2014/main" id="{6F581653-8BD7-4A9D-BC9E-11639BE8DA53}"/>
                </a:ext>
              </a:extLst>
            </p:cNvPr>
            <p:cNvSpPr/>
            <p:nvPr/>
          </p:nvSpPr>
          <p:spPr>
            <a:xfrm flipH="1">
              <a:off x="10710413" y="6533226"/>
              <a:ext cx="61862" cy="309308"/>
            </a:xfrm>
            <a:custGeom>
              <a:avLst/>
              <a:gdLst>
                <a:gd name="connsiteX0" fmla="*/ 74234 w 61861"/>
                <a:gd name="connsiteY0" fmla="*/ 321681 h 309308"/>
                <a:gd name="connsiteX1" fmla="*/ 0 w 61861"/>
                <a:gd name="connsiteY1" fmla="*/ 321681 h 309308"/>
                <a:gd name="connsiteX2" fmla="*/ 0 w 61861"/>
                <a:gd name="connsiteY2" fmla="*/ 3093 h 309308"/>
                <a:gd name="connsiteX3" fmla="*/ 74234 w 61861"/>
                <a:gd name="connsiteY3" fmla="*/ 0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09308">
                  <a:moveTo>
                    <a:pt x="74234" y="321681"/>
                  </a:moveTo>
                  <a:lnTo>
                    <a:pt x="0" y="321681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4" name="任意多边形: 形状 913">
              <a:extLst>
                <a:ext uri="{FF2B5EF4-FFF2-40B4-BE49-F238E27FC236}">
                  <a16:creationId xmlns:a16="http://schemas.microsoft.com/office/drawing/2014/main" id="{0215B241-E78B-49CA-A0FF-EF9D85CD0605}"/>
                </a:ext>
              </a:extLst>
            </p:cNvPr>
            <p:cNvSpPr/>
            <p:nvPr/>
          </p:nvSpPr>
          <p:spPr>
            <a:xfrm flipH="1">
              <a:off x="10496990" y="6520854"/>
              <a:ext cx="61862" cy="309308"/>
            </a:xfrm>
            <a:custGeom>
              <a:avLst/>
              <a:gdLst>
                <a:gd name="connsiteX0" fmla="*/ 74234 w 61861"/>
                <a:gd name="connsiteY0" fmla="*/ 334053 h 309308"/>
                <a:gd name="connsiteX1" fmla="*/ 0 w 61861"/>
                <a:gd name="connsiteY1" fmla="*/ 334053 h 309308"/>
                <a:gd name="connsiteX2" fmla="*/ 0 w 61861"/>
                <a:gd name="connsiteY2" fmla="*/ 3093 h 309308"/>
                <a:gd name="connsiteX3" fmla="*/ 74234 w 61861"/>
                <a:gd name="connsiteY3" fmla="*/ 0 h 309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09308">
                  <a:moveTo>
                    <a:pt x="74234" y="334053"/>
                  </a:moveTo>
                  <a:lnTo>
                    <a:pt x="0" y="334053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5" name="任意多边形: 形状 914">
              <a:extLst>
                <a:ext uri="{FF2B5EF4-FFF2-40B4-BE49-F238E27FC236}">
                  <a16:creationId xmlns:a16="http://schemas.microsoft.com/office/drawing/2014/main" id="{EB4D1787-D818-4AF0-8650-A50589367247}"/>
                </a:ext>
              </a:extLst>
            </p:cNvPr>
            <p:cNvSpPr/>
            <p:nvPr/>
          </p:nvSpPr>
          <p:spPr>
            <a:xfrm flipH="1">
              <a:off x="10283567" y="6505388"/>
              <a:ext cx="61862" cy="340239"/>
            </a:xfrm>
            <a:custGeom>
              <a:avLst/>
              <a:gdLst>
                <a:gd name="connsiteX0" fmla="*/ 74234 w 61861"/>
                <a:gd name="connsiteY0" fmla="*/ 349519 h 340239"/>
                <a:gd name="connsiteX1" fmla="*/ 0 w 61861"/>
                <a:gd name="connsiteY1" fmla="*/ 349519 h 340239"/>
                <a:gd name="connsiteX2" fmla="*/ 0 w 61861"/>
                <a:gd name="connsiteY2" fmla="*/ 6186 h 340239"/>
                <a:gd name="connsiteX3" fmla="*/ 74234 w 61861"/>
                <a:gd name="connsiteY3" fmla="*/ 0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40239">
                  <a:moveTo>
                    <a:pt x="74234" y="349519"/>
                  </a:moveTo>
                  <a:lnTo>
                    <a:pt x="0" y="349519"/>
                  </a:lnTo>
                  <a:lnTo>
                    <a:pt x="0" y="6186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6" name="任意多边形: 形状 915">
              <a:extLst>
                <a:ext uri="{FF2B5EF4-FFF2-40B4-BE49-F238E27FC236}">
                  <a16:creationId xmlns:a16="http://schemas.microsoft.com/office/drawing/2014/main" id="{197E5378-C11C-4323-AE69-98F05A00B992}"/>
                </a:ext>
              </a:extLst>
            </p:cNvPr>
            <p:cNvSpPr/>
            <p:nvPr/>
          </p:nvSpPr>
          <p:spPr>
            <a:xfrm flipH="1">
              <a:off x="10070145" y="6493016"/>
              <a:ext cx="61862" cy="340239"/>
            </a:xfrm>
            <a:custGeom>
              <a:avLst/>
              <a:gdLst>
                <a:gd name="connsiteX0" fmla="*/ 74234 w 61861"/>
                <a:gd name="connsiteY0" fmla="*/ 361891 h 340239"/>
                <a:gd name="connsiteX1" fmla="*/ 0 w 61861"/>
                <a:gd name="connsiteY1" fmla="*/ 361891 h 340239"/>
                <a:gd name="connsiteX2" fmla="*/ 0 w 61861"/>
                <a:gd name="connsiteY2" fmla="*/ 3093 h 340239"/>
                <a:gd name="connsiteX3" fmla="*/ 74234 w 61861"/>
                <a:gd name="connsiteY3" fmla="*/ 0 h 34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40239">
                  <a:moveTo>
                    <a:pt x="74234" y="361891"/>
                  </a:moveTo>
                  <a:lnTo>
                    <a:pt x="0" y="361891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7" name="任意多边形: 形状 916">
              <a:extLst>
                <a:ext uri="{FF2B5EF4-FFF2-40B4-BE49-F238E27FC236}">
                  <a16:creationId xmlns:a16="http://schemas.microsoft.com/office/drawing/2014/main" id="{B08C87D7-AA42-4AEE-959D-6EA74BD80926}"/>
                </a:ext>
              </a:extLst>
            </p:cNvPr>
            <p:cNvSpPr/>
            <p:nvPr/>
          </p:nvSpPr>
          <p:spPr>
            <a:xfrm flipH="1">
              <a:off x="9856722" y="6477551"/>
              <a:ext cx="61862" cy="371170"/>
            </a:xfrm>
            <a:custGeom>
              <a:avLst/>
              <a:gdLst>
                <a:gd name="connsiteX0" fmla="*/ 71141 w 61861"/>
                <a:gd name="connsiteY0" fmla="*/ 377356 h 371169"/>
                <a:gd name="connsiteX1" fmla="*/ 0 w 61861"/>
                <a:gd name="connsiteY1" fmla="*/ 377356 h 371169"/>
                <a:gd name="connsiteX2" fmla="*/ 0 w 61861"/>
                <a:gd name="connsiteY2" fmla="*/ 6186 h 371169"/>
                <a:gd name="connsiteX3" fmla="*/ 71141 w 61861"/>
                <a:gd name="connsiteY3" fmla="*/ 0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71169">
                  <a:moveTo>
                    <a:pt x="71141" y="377356"/>
                  </a:moveTo>
                  <a:lnTo>
                    <a:pt x="0" y="377356"/>
                  </a:lnTo>
                  <a:lnTo>
                    <a:pt x="0" y="6186"/>
                  </a:lnTo>
                  <a:lnTo>
                    <a:pt x="71141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8" name="任意多边形: 形状 917">
              <a:extLst>
                <a:ext uri="{FF2B5EF4-FFF2-40B4-BE49-F238E27FC236}">
                  <a16:creationId xmlns:a16="http://schemas.microsoft.com/office/drawing/2014/main" id="{4A4BD2AB-3306-49DC-8070-797F4331123E}"/>
                </a:ext>
              </a:extLst>
            </p:cNvPr>
            <p:cNvSpPr/>
            <p:nvPr/>
          </p:nvSpPr>
          <p:spPr>
            <a:xfrm flipH="1">
              <a:off x="9646392" y="6465179"/>
              <a:ext cx="61862" cy="371170"/>
            </a:xfrm>
            <a:custGeom>
              <a:avLst/>
              <a:gdLst>
                <a:gd name="connsiteX0" fmla="*/ 74234 w 61861"/>
                <a:gd name="connsiteY0" fmla="*/ 389728 h 371169"/>
                <a:gd name="connsiteX1" fmla="*/ 0 w 61861"/>
                <a:gd name="connsiteY1" fmla="*/ 389728 h 371169"/>
                <a:gd name="connsiteX2" fmla="*/ 0 w 61861"/>
                <a:gd name="connsiteY2" fmla="*/ 3093 h 371169"/>
                <a:gd name="connsiteX3" fmla="*/ 74234 w 61861"/>
                <a:gd name="connsiteY3" fmla="*/ 0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371169">
                  <a:moveTo>
                    <a:pt x="74234" y="389728"/>
                  </a:moveTo>
                  <a:lnTo>
                    <a:pt x="0" y="389728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9" name="任意多边形: 形状 918">
              <a:extLst>
                <a:ext uri="{FF2B5EF4-FFF2-40B4-BE49-F238E27FC236}">
                  <a16:creationId xmlns:a16="http://schemas.microsoft.com/office/drawing/2014/main" id="{F82F1DEC-F444-4167-875C-A79E73F0F1E5}"/>
                </a:ext>
              </a:extLst>
            </p:cNvPr>
            <p:cNvSpPr/>
            <p:nvPr/>
          </p:nvSpPr>
          <p:spPr>
            <a:xfrm flipH="1">
              <a:off x="9432969" y="6449713"/>
              <a:ext cx="61862" cy="402101"/>
            </a:xfrm>
            <a:custGeom>
              <a:avLst/>
              <a:gdLst>
                <a:gd name="connsiteX0" fmla="*/ 74234 w 61861"/>
                <a:gd name="connsiteY0" fmla="*/ 405194 h 402100"/>
                <a:gd name="connsiteX1" fmla="*/ 0 w 61861"/>
                <a:gd name="connsiteY1" fmla="*/ 405194 h 402100"/>
                <a:gd name="connsiteX2" fmla="*/ 0 w 61861"/>
                <a:gd name="connsiteY2" fmla="*/ 6186 h 402100"/>
                <a:gd name="connsiteX3" fmla="*/ 74234 w 61861"/>
                <a:gd name="connsiteY3" fmla="*/ 0 h 4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02100">
                  <a:moveTo>
                    <a:pt x="74234" y="405194"/>
                  </a:moveTo>
                  <a:lnTo>
                    <a:pt x="0" y="405194"/>
                  </a:lnTo>
                  <a:lnTo>
                    <a:pt x="0" y="6186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0" name="任意多边形: 形状 919">
              <a:extLst>
                <a:ext uri="{FF2B5EF4-FFF2-40B4-BE49-F238E27FC236}">
                  <a16:creationId xmlns:a16="http://schemas.microsoft.com/office/drawing/2014/main" id="{F96344EF-6353-4152-9FEF-7C538935A5ED}"/>
                </a:ext>
              </a:extLst>
            </p:cNvPr>
            <p:cNvSpPr/>
            <p:nvPr/>
          </p:nvSpPr>
          <p:spPr>
            <a:xfrm flipH="1">
              <a:off x="9219547" y="6437341"/>
              <a:ext cx="61862" cy="402101"/>
            </a:xfrm>
            <a:custGeom>
              <a:avLst/>
              <a:gdLst>
                <a:gd name="connsiteX0" fmla="*/ 74234 w 61861"/>
                <a:gd name="connsiteY0" fmla="*/ 417566 h 402100"/>
                <a:gd name="connsiteX1" fmla="*/ 0 w 61861"/>
                <a:gd name="connsiteY1" fmla="*/ 417566 h 402100"/>
                <a:gd name="connsiteX2" fmla="*/ 0 w 61861"/>
                <a:gd name="connsiteY2" fmla="*/ 3093 h 402100"/>
                <a:gd name="connsiteX3" fmla="*/ 74234 w 61861"/>
                <a:gd name="connsiteY3" fmla="*/ 0 h 4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02100">
                  <a:moveTo>
                    <a:pt x="74234" y="417566"/>
                  </a:moveTo>
                  <a:lnTo>
                    <a:pt x="0" y="417566"/>
                  </a:lnTo>
                  <a:lnTo>
                    <a:pt x="0" y="3093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1" name="任意多边形: 形状 920">
              <a:extLst>
                <a:ext uri="{FF2B5EF4-FFF2-40B4-BE49-F238E27FC236}">
                  <a16:creationId xmlns:a16="http://schemas.microsoft.com/office/drawing/2014/main" id="{7AE4281E-9A9B-4F18-9341-553A22B2468B}"/>
                </a:ext>
              </a:extLst>
            </p:cNvPr>
            <p:cNvSpPr/>
            <p:nvPr/>
          </p:nvSpPr>
          <p:spPr>
            <a:xfrm flipH="1">
              <a:off x="9006124" y="6421875"/>
              <a:ext cx="61862" cy="433032"/>
            </a:xfrm>
            <a:custGeom>
              <a:avLst/>
              <a:gdLst>
                <a:gd name="connsiteX0" fmla="*/ 74234 w 61861"/>
                <a:gd name="connsiteY0" fmla="*/ 433032 h 433031"/>
                <a:gd name="connsiteX1" fmla="*/ 0 w 61861"/>
                <a:gd name="connsiteY1" fmla="*/ 433032 h 433031"/>
                <a:gd name="connsiteX2" fmla="*/ 0 w 61861"/>
                <a:gd name="connsiteY2" fmla="*/ 6186 h 433031"/>
                <a:gd name="connsiteX3" fmla="*/ 74234 w 61861"/>
                <a:gd name="connsiteY3" fmla="*/ 0 h 4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33031">
                  <a:moveTo>
                    <a:pt x="74234" y="433032"/>
                  </a:moveTo>
                  <a:lnTo>
                    <a:pt x="0" y="433032"/>
                  </a:lnTo>
                  <a:lnTo>
                    <a:pt x="0" y="6186"/>
                  </a:lnTo>
                  <a:lnTo>
                    <a:pt x="74234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2" name="任意多边形: 形状 921">
              <a:extLst>
                <a:ext uri="{FF2B5EF4-FFF2-40B4-BE49-F238E27FC236}">
                  <a16:creationId xmlns:a16="http://schemas.microsoft.com/office/drawing/2014/main" id="{4C50E15E-B0BA-4454-9365-59C49007D0C8}"/>
                </a:ext>
              </a:extLst>
            </p:cNvPr>
            <p:cNvSpPr/>
            <p:nvPr/>
          </p:nvSpPr>
          <p:spPr>
            <a:xfrm flipH="1">
              <a:off x="8792701" y="6409503"/>
              <a:ext cx="61862" cy="433032"/>
            </a:xfrm>
            <a:custGeom>
              <a:avLst/>
              <a:gdLst>
                <a:gd name="connsiteX0" fmla="*/ 71141 w 61861"/>
                <a:gd name="connsiteY0" fmla="*/ 445404 h 433031"/>
                <a:gd name="connsiteX1" fmla="*/ 0 w 61861"/>
                <a:gd name="connsiteY1" fmla="*/ 445404 h 433031"/>
                <a:gd name="connsiteX2" fmla="*/ 0 w 61861"/>
                <a:gd name="connsiteY2" fmla="*/ 6186 h 433031"/>
                <a:gd name="connsiteX3" fmla="*/ 71141 w 61861"/>
                <a:gd name="connsiteY3" fmla="*/ 0 h 4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33031">
                  <a:moveTo>
                    <a:pt x="71141" y="445404"/>
                  </a:moveTo>
                  <a:lnTo>
                    <a:pt x="0" y="445404"/>
                  </a:lnTo>
                  <a:lnTo>
                    <a:pt x="0" y="6186"/>
                  </a:lnTo>
                  <a:lnTo>
                    <a:pt x="71141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3" name="任意多边形: 形状 922">
              <a:extLst>
                <a:ext uri="{FF2B5EF4-FFF2-40B4-BE49-F238E27FC236}">
                  <a16:creationId xmlns:a16="http://schemas.microsoft.com/office/drawing/2014/main" id="{F42CDCE6-47E0-4193-A0D5-1BF5EC6515DC}"/>
                </a:ext>
              </a:extLst>
            </p:cNvPr>
            <p:cNvSpPr/>
            <p:nvPr/>
          </p:nvSpPr>
          <p:spPr>
            <a:xfrm flipH="1">
              <a:off x="8579278" y="6397131"/>
              <a:ext cx="61862" cy="433032"/>
            </a:xfrm>
            <a:custGeom>
              <a:avLst/>
              <a:gdLst>
                <a:gd name="connsiteX0" fmla="*/ 71141 w 61861"/>
                <a:gd name="connsiteY0" fmla="*/ 457776 h 433031"/>
                <a:gd name="connsiteX1" fmla="*/ 0 w 61861"/>
                <a:gd name="connsiteY1" fmla="*/ 457776 h 433031"/>
                <a:gd name="connsiteX2" fmla="*/ 0 w 61861"/>
                <a:gd name="connsiteY2" fmla="*/ 3093 h 433031"/>
                <a:gd name="connsiteX3" fmla="*/ 71141 w 61861"/>
                <a:gd name="connsiteY3" fmla="*/ 0 h 4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433031">
                  <a:moveTo>
                    <a:pt x="71141" y="457776"/>
                  </a:moveTo>
                  <a:lnTo>
                    <a:pt x="0" y="457776"/>
                  </a:lnTo>
                  <a:lnTo>
                    <a:pt x="0" y="3093"/>
                  </a:lnTo>
                  <a:lnTo>
                    <a:pt x="71141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4" name="任意多边形: 形状 923">
              <a:extLst>
                <a:ext uri="{FF2B5EF4-FFF2-40B4-BE49-F238E27FC236}">
                  <a16:creationId xmlns:a16="http://schemas.microsoft.com/office/drawing/2014/main" id="{15F91843-8A93-4083-AFB9-71AC3048E58A}"/>
                </a:ext>
              </a:extLst>
            </p:cNvPr>
            <p:cNvSpPr/>
            <p:nvPr/>
          </p:nvSpPr>
          <p:spPr>
            <a:xfrm flipH="1">
              <a:off x="8576186" y="6035240"/>
              <a:ext cx="2196089" cy="494893"/>
            </a:xfrm>
            <a:custGeom>
              <a:avLst/>
              <a:gdLst>
                <a:gd name="connsiteX0" fmla="*/ 2208462 w 2196089"/>
                <a:gd name="connsiteY0" fmla="*/ 358798 h 494893"/>
                <a:gd name="connsiteX1" fmla="*/ 0 w 2196089"/>
                <a:gd name="connsiteY1" fmla="*/ 501079 h 494893"/>
                <a:gd name="connsiteX2" fmla="*/ 0 w 2196089"/>
                <a:gd name="connsiteY2" fmla="*/ 253633 h 494893"/>
                <a:gd name="connsiteX3" fmla="*/ 2208462 w 2196089"/>
                <a:gd name="connsiteY3" fmla="*/ 0 h 49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494893">
                  <a:moveTo>
                    <a:pt x="2208462" y="358798"/>
                  </a:moveTo>
                  <a:lnTo>
                    <a:pt x="0" y="501079"/>
                  </a:lnTo>
                  <a:lnTo>
                    <a:pt x="0" y="253633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FFE7B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5" name="任意多边形: 形状 924">
              <a:extLst>
                <a:ext uri="{FF2B5EF4-FFF2-40B4-BE49-F238E27FC236}">
                  <a16:creationId xmlns:a16="http://schemas.microsoft.com/office/drawing/2014/main" id="{2DFD1E66-BE71-47A3-B730-BD69F91D30A9}"/>
                </a:ext>
              </a:extLst>
            </p:cNvPr>
            <p:cNvSpPr/>
            <p:nvPr/>
          </p:nvSpPr>
          <p:spPr>
            <a:xfrm flipH="1">
              <a:off x="8576186" y="6248663"/>
              <a:ext cx="2196089" cy="278377"/>
            </a:xfrm>
            <a:custGeom>
              <a:avLst/>
              <a:gdLst>
                <a:gd name="connsiteX0" fmla="*/ 2208462 w 2196089"/>
                <a:gd name="connsiteY0" fmla="*/ 160840 h 278377"/>
                <a:gd name="connsiteX1" fmla="*/ 0 w 2196089"/>
                <a:gd name="connsiteY1" fmla="*/ 300029 h 278377"/>
                <a:gd name="connsiteX2" fmla="*/ 0 w 2196089"/>
                <a:gd name="connsiteY2" fmla="*/ 188678 h 278377"/>
                <a:gd name="connsiteX3" fmla="*/ 2208462 w 2196089"/>
                <a:gd name="connsiteY3" fmla="*/ 0 h 278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278377">
                  <a:moveTo>
                    <a:pt x="2208462" y="160840"/>
                  </a:moveTo>
                  <a:lnTo>
                    <a:pt x="0" y="300029"/>
                  </a:lnTo>
                  <a:lnTo>
                    <a:pt x="0" y="188678"/>
                  </a:lnTo>
                  <a:lnTo>
                    <a:pt x="2208462" y="0"/>
                  </a:lnTo>
                  <a:close/>
                </a:path>
              </a:pathLst>
            </a:custGeom>
            <a:solidFill>
              <a:srgbClr val="FFF8E8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6" name="任意多边形: 形状 925">
              <a:extLst>
                <a:ext uri="{FF2B5EF4-FFF2-40B4-BE49-F238E27FC236}">
                  <a16:creationId xmlns:a16="http://schemas.microsoft.com/office/drawing/2014/main" id="{DFEE60B4-C957-4EF3-BCDC-341507872B05}"/>
                </a:ext>
              </a:extLst>
            </p:cNvPr>
            <p:cNvSpPr/>
            <p:nvPr/>
          </p:nvSpPr>
          <p:spPr>
            <a:xfrm flipH="1">
              <a:off x="8566906" y="5880586"/>
              <a:ext cx="2196089" cy="463962"/>
            </a:xfrm>
            <a:custGeom>
              <a:avLst/>
              <a:gdLst>
                <a:gd name="connsiteX0" fmla="*/ 2205369 w 2196089"/>
                <a:gd name="connsiteY0" fmla="*/ 256726 h 463962"/>
                <a:gd name="connsiteX1" fmla="*/ 0 w 2196089"/>
                <a:gd name="connsiteY1" fmla="*/ 479428 h 463962"/>
                <a:gd name="connsiteX2" fmla="*/ 0 w 2196089"/>
                <a:gd name="connsiteY2" fmla="*/ 303122 h 463962"/>
                <a:gd name="connsiteX3" fmla="*/ 2205369 w 2196089"/>
                <a:gd name="connsiteY3" fmla="*/ 0 h 46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6089" h="463962">
                  <a:moveTo>
                    <a:pt x="2205369" y="256726"/>
                  </a:moveTo>
                  <a:lnTo>
                    <a:pt x="0" y="479428"/>
                  </a:lnTo>
                  <a:lnTo>
                    <a:pt x="0" y="303122"/>
                  </a:lnTo>
                  <a:lnTo>
                    <a:pt x="2205369" y="0"/>
                  </a:lnTo>
                  <a:close/>
                </a:path>
              </a:pathLst>
            </a:custGeom>
            <a:solidFill>
              <a:srgbClr val="F9C0B2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7" name="任意多边形: 形状 926">
              <a:extLst>
                <a:ext uri="{FF2B5EF4-FFF2-40B4-BE49-F238E27FC236}">
                  <a16:creationId xmlns:a16="http://schemas.microsoft.com/office/drawing/2014/main" id="{9955183C-EAF4-40F7-BA20-65E2BCD93FB4}"/>
                </a:ext>
              </a:extLst>
            </p:cNvPr>
            <p:cNvSpPr/>
            <p:nvPr/>
          </p:nvSpPr>
          <p:spPr>
            <a:xfrm flipH="1">
              <a:off x="8554534" y="5862027"/>
              <a:ext cx="2227020" cy="494893"/>
            </a:xfrm>
            <a:custGeom>
              <a:avLst/>
              <a:gdLst>
                <a:gd name="connsiteX0" fmla="*/ 0 w 2227020"/>
                <a:gd name="connsiteY0" fmla="*/ 516545 h 494893"/>
                <a:gd name="connsiteX1" fmla="*/ 0 w 2227020"/>
                <a:gd name="connsiteY1" fmla="*/ 306215 h 494893"/>
                <a:gd name="connsiteX2" fmla="*/ 2239393 w 2227020"/>
                <a:gd name="connsiteY2" fmla="*/ 0 h 494893"/>
                <a:gd name="connsiteX3" fmla="*/ 2239393 w 2227020"/>
                <a:gd name="connsiteY3" fmla="*/ 290750 h 494893"/>
                <a:gd name="connsiteX4" fmla="*/ 0 w 2227020"/>
                <a:gd name="connsiteY4" fmla="*/ 516545 h 494893"/>
                <a:gd name="connsiteX5" fmla="*/ 34024 w 2227020"/>
                <a:gd name="connsiteY5" fmla="*/ 337146 h 494893"/>
                <a:gd name="connsiteX6" fmla="*/ 34024 w 2227020"/>
                <a:gd name="connsiteY6" fmla="*/ 479428 h 494893"/>
                <a:gd name="connsiteX7" fmla="*/ 2205369 w 2227020"/>
                <a:gd name="connsiteY7" fmla="*/ 259819 h 494893"/>
                <a:gd name="connsiteX8" fmla="*/ 2205369 w 2227020"/>
                <a:gd name="connsiteY8" fmla="*/ 40210 h 494893"/>
                <a:gd name="connsiteX9" fmla="*/ 34024 w 2227020"/>
                <a:gd name="connsiteY9" fmla="*/ 337146 h 494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27020" h="494893">
                  <a:moveTo>
                    <a:pt x="0" y="516545"/>
                  </a:moveTo>
                  <a:lnTo>
                    <a:pt x="0" y="306215"/>
                  </a:lnTo>
                  <a:lnTo>
                    <a:pt x="2239393" y="0"/>
                  </a:lnTo>
                  <a:lnTo>
                    <a:pt x="2239393" y="290750"/>
                  </a:lnTo>
                  <a:lnTo>
                    <a:pt x="0" y="516545"/>
                  </a:lnTo>
                  <a:close/>
                  <a:moveTo>
                    <a:pt x="34024" y="337146"/>
                  </a:moveTo>
                  <a:lnTo>
                    <a:pt x="34024" y="479428"/>
                  </a:lnTo>
                  <a:lnTo>
                    <a:pt x="2205369" y="259819"/>
                  </a:lnTo>
                  <a:lnTo>
                    <a:pt x="2205369" y="40210"/>
                  </a:lnTo>
                  <a:lnTo>
                    <a:pt x="34024" y="337146"/>
                  </a:lnTo>
                  <a:close/>
                </a:path>
              </a:pathLst>
            </a:custGeom>
            <a:solidFill>
              <a:srgbClr val="FFFAF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8" name="任意多边形: 形状 927">
              <a:extLst>
                <a:ext uri="{FF2B5EF4-FFF2-40B4-BE49-F238E27FC236}">
                  <a16:creationId xmlns:a16="http://schemas.microsoft.com/office/drawing/2014/main" id="{72F5D5D6-636D-4302-B7D4-8FC8DC026750}"/>
                </a:ext>
              </a:extLst>
            </p:cNvPr>
            <p:cNvSpPr/>
            <p:nvPr/>
          </p:nvSpPr>
          <p:spPr>
            <a:xfrm flipH="1">
              <a:off x="7985406" y="6087822"/>
              <a:ext cx="216516" cy="742340"/>
            </a:xfrm>
            <a:custGeom>
              <a:avLst/>
              <a:gdLst>
                <a:gd name="connsiteX0" fmla="*/ 0 w 216515"/>
                <a:gd name="connsiteY0" fmla="*/ 0 h 742339"/>
                <a:gd name="connsiteX1" fmla="*/ 241261 w 216515"/>
                <a:gd name="connsiteY1" fmla="*/ 0 h 742339"/>
                <a:gd name="connsiteX2" fmla="*/ 241261 w 216515"/>
                <a:gd name="connsiteY2" fmla="*/ 767085 h 742339"/>
                <a:gd name="connsiteX3" fmla="*/ 0 w 216515"/>
                <a:gd name="connsiteY3" fmla="*/ 767085 h 74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742339">
                  <a:moveTo>
                    <a:pt x="0" y="0"/>
                  </a:moveTo>
                  <a:lnTo>
                    <a:pt x="241261" y="0"/>
                  </a:lnTo>
                  <a:lnTo>
                    <a:pt x="241261" y="767085"/>
                  </a:lnTo>
                  <a:lnTo>
                    <a:pt x="0" y="767085"/>
                  </a:lnTo>
                  <a:close/>
                </a:path>
              </a:pathLst>
            </a:custGeom>
            <a:solidFill>
              <a:srgbClr val="EAD4D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9" name="任意多边形: 形状 928">
              <a:extLst>
                <a:ext uri="{FF2B5EF4-FFF2-40B4-BE49-F238E27FC236}">
                  <a16:creationId xmlns:a16="http://schemas.microsoft.com/office/drawing/2014/main" id="{B8C79CFD-A214-40B6-A661-4E7BE93548E7}"/>
                </a:ext>
              </a:extLst>
            </p:cNvPr>
            <p:cNvSpPr/>
            <p:nvPr/>
          </p:nvSpPr>
          <p:spPr>
            <a:xfrm flipH="1">
              <a:off x="8257598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2 w 61861"/>
                <a:gd name="connsiteY1" fmla="*/ 0 h 185584"/>
                <a:gd name="connsiteX2" fmla="*/ 61862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2" y="0"/>
                  </a:lnTo>
                  <a:lnTo>
                    <a:pt x="61862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0" name="任意多边形: 形状 929">
              <a:extLst>
                <a:ext uri="{FF2B5EF4-FFF2-40B4-BE49-F238E27FC236}">
                  <a16:creationId xmlns:a16="http://schemas.microsoft.com/office/drawing/2014/main" id="{F0EBE60E-604C-4648-9226-CD6BB1EBE477}"/>
                </a:ext>
              </a:extLst>
            </p:cNvPr>
            <p:cNvSpPr/>
            <p:nvPr/>
          </p:nvSpPr>
          <p:spPr>
            <a:xfrm flipH="1">
              <a:off x="7920452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2 w 61861"/>
                <a:gd name="connsiteY1" fmla="*/ 0 h 185584"/>
                <a:gd name="connsiteX2" fmla="*/ 61862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2" y="0"/>
                  </a:lnTo>
                  <a:lnTo>
                    <a:pt x="61862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1" name="任意多边形: 形状 930">
              <a:extLst>
                <a:ext uri="{FF2B5EF4-FFF2-40B4-BE49-F238E27FC236}">
                  <a16:creationId xmlns:a16="http://schemas.microsoft.com/office/drawing/2014/main" id="{04FC4498-21C4-4E73-9D9A-F775D4FBBD29}"/>
                </a:ext>
              </a:extLst>
            </p:cNvPr>
            <p:cNvSpPr/>
            <p:nvPr/>
          </p:nvSpPr>
          <p:spPr>
            <a:xfrm flipH="1">
              <a:off x="7583305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2 w 61861"/>
                <a:gd name="connsiteY1" fmla="*/ 0 h 185584"/>
                <a:gd name="connsiteX2" fmla="*/ 61862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2" y="0"/>
                  </a:lnTo>
                  <a:lnTo>
                    <a:pt x="61862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2" name="任意多边形: 形状 931">
              <a:extLst>
                <a:ext uri="{FF2B5EF4-FFF2-40B4-BE49-F238E27FC236}">
                  <a16:creationId xmlns:a16="http://schemas.microsoft.com/office/drawing/2014/main" id="{97D3FF57-696E-45A5-A8CE-057137F382A7}"/>
                </a:ext>
              </a:extLst>
            </p:cNvPr>
            <p:cNvSpPr/>
            <p:nvPr/>
          </p:nvSpPr>
          <p:spPr>
            <a:xfrm flipH="1">
              <a:off x="7246159" y="6650763"/>
              <a:ext cx="61862" cy="185585"/>
            </a:xfrm>
            <a:custGeom>
              <a:avLst/>
              <a:gdLst>
                <a:gd name="connsiteX0" fmla="*/ 0 w 61861"/>
                <a:gd name="connsiteY0" fmla="*/ 0 h 185584"/>
                <a:gd name="connsiteX1" fmla="*/ 61861 w 61861"/>
                <a:gd name="connsiteY1" fmla="*/ 0 h 185584"/>
                <a:gd name="connsiteX2" fmla="*/ 61861 w 61861"/>
                <a:gd name="connsiteY2" fmla="*/ 213423 h 185584"/>
                <a:gd name="connsiteX3" fmla="*/ 0 w 61861"/>
                <a:gd name="connsiteY3" fmla="*/ 213423 h 18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861" h="185584">
                  <a:moveTo>
                    <a:pt x="0" y="0"/>
                  </a:moveTo>
                  <a:lnTo>
                    <a:pt x="61861" y="0"/>
                  </a:lnTo>
                  <a:lnTo>
                    <a:pt x="61861" y="213423"/>
                  </a:lnTo>
                  <a:lnTo>
                    <a:pt x="0" y="213423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3" name="任意多边形: 形状 932">
              <a:extLst>
                <a:ext uri="{FF2B5EF4-FFF2-40B4-BE49-F238E27FC236}">
                  <a16:creationId xmlns:a16="http://schemas.microsoft.com/office/drawing/2014/main" id="{77F7A3F1-3325-4718-8DDA-F6480F21E07E}"/>
                </a:ext>
              </a:extLst>
            </p:cNvPr>
            <p:cNvSpPr/>
            <p:nvPr/>
          </p:nvSpPr>
          <p:spPr>
            <a:xfrm flipH="1">
              <a:off x="8041082" y="6353764"/>
              <a:ext cx="463963" cy="371170"/>
            </a:xfrm>
            <a:custGeom>
              <a:avLst/>
              <a:gdLst>
                <a:gd name="connsiteX0" fmla="*/ 491801 w 463962"/>
                <a:gd name="connsiteY0" fmla="*/ 244417 h 371169"/>
                <a:gd name="connsiteX1" fmla="*/ 253633 w 463962"/>
                <a:gd name="connsiteY1" fmla="*/ 399071 h 371169"/>
                <a:gd name="connsiteX2" fmla="*/ 0 w 463962"/>
                <a:gd name="connsiteY2" fmla="*/ 244417 h 371169"/>
                <a:gd name="connsiteX3" fmla="*/ 244354 w 463962"/>
                <a:gd name="connsiteY3" fmla="*/ 63 h 371169"/>
                <a:gd name="connsiteX4" fmla="*/ 491801 w 463962"/>
                <a:gd name="connsiteY4" fmla="*/ 244417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1" y="244417"/>
                  </a:moveTo>
                  <a:cubicBezTo>
                    <a:pt x="491801" y="380512"/>
                    <a:pt x="389729" y="399071"/>
                    <a:pt x="253633" y="399071"/>
                  </a:cubicBezTo>
                  <a:cubicBezTo>
                    <a:pt x="117537" y="399071"/>
                    <a:pt x="0" y="380512"/>
                    <a:pt x="0" y="244417"/>
                  </a:cubicBezTo>
                  <a:cubicBezTo>
                    <a:pt x="0" y="108321"/>
                    <a:pt x="108258" y="63"/>
                    <a:pt x="244354" y="63"/>
                  </a:cubicBezTo>
                  <a:cubicBezTo>
                    <a:pt x="380449" y="-3030"/>
                    <a:pt x="491801" y="108321"/>
                    <a:pt x="491801" y="24441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4" name="任意多边形: 形状 933">
              <a:extLst>
                <a:ext uri="{FF2B5EF4-FFF2-40B4-BE49-F238E27FC236}">
                  <a16:creationId xmlns:a16="http://schemas.microsoft.com/office/drawing/2014/main" id="{6AA46985-C853-4079-B557-2094ACE0B624}"/>
                </a:ext>
              </a:extLst>
            </p:cNvPr>
            <p:cNvSpPr/>
            <p:nvPr/>
          </p:nvSpPr>
          <p:spPr>
            <a:xfrm flipH="1">
              <a:off x="7713215" y="6329083"/>
              <a:ext cx="463963" cy="371170"/>
            </a:xfrm>
            <a:custGeom>
              <a:avLst/>
              <a:gdLst>
                <a:gd name="connsiteX0" fmla="*/ 491800 w 463962"/>
                <a:gd name="connsiteY0" fmla="*/ 244354 h 371169"/>
                <a:gd name="connsiteX1" fmla="*/ 253633 w 463962"/>
                <a:gd name="connsiteY1" fmla="*/ 399008 h 371169"/>
                <a:gd name="connsiteX2" fmla="*/ 0 w 463962"/>
                <a:gd name="connsiteY2" fmla="*/ 244354 h 371169"/>
                <a:gd name="connsiteX3" fmla="*/ 244353 w 463962"/>
                <a:gd name="connsiteY3" fmla="*/ 0 h 371169"/>
                <a:gd name="connsiteX4" fmla="*/ 491800 w 463962"/>
                <a:gd name="connsiteY4" fmla="*/ 244354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0" y="244354"/>
                  </a:moveTo>
                  <a:cubicBezTo>
                    <a:pt x="491800" y="380449"/>
                    <a:pt x="389728" y="399008"/>
                    <a:pt x="253633" y="399008"/>
                  </a:cubicBezTo>
                  <a:cubicBezTo>
                    <a:pt x="117537" y="399008"/>
                    <a:pt x="0" y="380449"/>
                    <a:pt x="0" y="244354"/>
                  </a:cubicBezTo>
                  <a:cubicBezTo>
                    <a:pt x="0" y="108258"/>
                    <a:pt x="108258" y="0"/>
                    <a:pt x="244353" y="0"/>
                  </a:cubicBezTo>
                  <a:cubicBezTo>
                    <a:pt x="383542" y="0"/>
                    <a:pt x="491800" y="108258"/>
                    <a:pt x="491800" y="244354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5" name="任意多边形: 形状 934">
              <a:extLst>
                <a:ext uri="{FF2B5EF4-FFF2-40B4-BE49-F238E27FC236}">
                  <a16:creationId xmlns:a16="http://schemas.microsoft.com/office/drawing/2014/main" id="{820EEA33-7417-420E-8271-FB83E87AF7EE}"/>
                </a:ext>
              </a:extLst>
            </p:cNvPr>
            <p:cNvSpPr/>
            <p:nvPr/>
          </p:nvSpPr>
          <p:spPr>
            <a:xfrm flipH="1">
              <a:off x="7428651" y="6353764"/>
              <a:ext cx="463963" cy="371170"/>
            </a:xfrm>
            <a:custGeom>
              <a:avLst/>
              <a:gdLst>
                <a:gd name="connsiteX0" fmla="*/ 491800 w 463962"/>
                <a:gd name="connsiteY0" fmla="*/ 244417 h 371169"/>
                <a:gd name="connsiteX1" fmla="*/ 253633 w 463962"/>
                <a:gd name="connsiteY1" fmla="*/ 399071 h 371169"/>
                <a:gd name="connsiteX2" fmla="*/ 0 w 463962"/>
                <a:gd name="connsiteY2" fmla="*/ 244417 h 371169"/>
                <a:gd name="connsiteX3" fmla="*/ 244353 w 463962"/>
                <a:gd name="connsiteY3" fmla="*/ 63 h 371169"/>
                <a:gd name="connsiteX4" fmla="*/ 491800 w 463962"/>
                <a:gd name="connsiteY4" fmla="*/ 244417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0" y="244417"/>
                  </a:moveTo>
                  <a:cubicBezTo>
                    <a:pt x="491800" y="380512"/>
                    <a:pt x="389729" y="399071"/>
                    <a:pt x="253633" y="399071"/>
                  </a:cubicBezTo>
                  <a:cubicBezTo>
                    <a:pt x="117537" y="399071"/>
                    <a:pt x="0" y="380512"/>
                    <a:pt x="0" y="244417"/>
                  </a:cubicBezTo>
                  <a:cubicBezTo>
                    <a:pt x="0" y="108321"/>
                    <a:pt x="108258" y="63"/>
                    <a:pt x="244353" y="63"/>
                  </a:cubicBezTo>
                  <a:cubicBezTo>
                    <a:pt x="380449" y="-3030"/>
                    <a:pt x="491800" y="108321"/>
                    <a:pt x="491800" y="24441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6" name="任意多边形: 形状 935">
              <a:extLst>
                <a:ext uri="{FF2B5EF4-FFF2-40B4-BE49-F238E27FC236}">
                  <a16:creationId xmlns:a16="http://schemas.microsoft.com/office/drawing/2014/main" id="{161AF74C-BBA6-48B7-9420-683537229626}"/>
                </a:ext>
              </a:extLst>
            </p:cNvPr>
            <p:cNvSpPr/>
            <p:nvPr/>
          </p:nvSpPr>
          <p:spPr>
            <a:xfrm flipH="1">
              <a:off x="7100784" y="6329083"/>
              <a:ext cx="463963" cy="371170"/>
            </a:xfrm>
            <a:custGeom>
              <a:avLst/>
              <a:gdLst>
                <a:gd name="connsiteX0" fmla="*/ 491800 w 463962"/>
                <a:gd name="connsiteY0" fmla="*/ 244354 h 371169"/>
                <a:gd name="connsiteX1" fmla="*/ 253633 w 463962"/>
                <a:gd name="connsiteY1" fmla="*/ 399008 h 371169"/>
                <a:gd name="connsiteX2" fmla="*/ 0 w 463962"/>
                <a:gd name="connsiteY2" fmla="*/ 244354 h 371169"/>
                <a:gd name="connsiteX3" fmla="*/ 244353 w 463962"/>
                <a:gd name="connsiteY3" fmla="*/ 0 h 371169"/>
                <a:gd name="connsiteX4" fmla="*/ 491800 w 463962"/>
                <a:gd name="connsiteY4" fmla="*/ 244354 h 371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962" h="371169">
                  <a:moveTo>
                    <a:pt x="491800" y="244354"/>
                  </a:moveTo>
                  <a:cubicBezTo>
                    <a:pt x="491800" y="380449"/>
                    <a:pt x="389728" y="399008"/>
                    <a:pt x="253633" y="399008"/>
                  </a:cubicBezTo>
                  <a:cubicBezTo>
                    <a:pt x="117537" y="399008"/>
                    <a:pt x="0" y="380449"/>
                    <a:pt x="0" y="244354"/>
                  </a:cubicBezTo>
                  <a:cubicBezTo>
                    <a:pt x="0" y="108258"/>
                    <a:pt x="108258" y="0"/>
                    <a:pt x="244353" y="0"/>
                  </a:cubicBezTo>
                  <a:cubicBezTo>
                    <a:pt x="383542" y="0"/>
                    <a:pt x="491800" y="108258"/>
                    <a:pt x="491800" y="244354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7" name="任意多边形: 形状 936">
              <a:extLst>
                <a:ext uri="{FF2B5EF4-FFF2-40B4-BE49-F238E27FC236}">
                  <a16:creationId xmlns:a16="http://schemas.microsoft.com/office/drawing/2014/main" id="{2032AC8F-9721-4C62-A92C-34A9E2F8F1A3}"/>
                </a:ext>
              </a:extLst>
            </p:cNvPr>
            <p:cNvSpPr/>
            <p:nvPr/>
          </p:nvSpPr>
          <p:spPr>
            <a:xfrm flipH="1">
              <a:off x="11669269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8" name="任意多边形: 形状 937">
              <a:extLst>
                <a:ext uri="{FF2B5EF4-FFF2-40B4-BE49-F238E27FC236}">
                  <a16:creationId xmlns:a16="http://schemas.microsoft.com/office/drawing/2014/main" id="{49A32C7E-98F4-4EB8-8152-EBAA26AB9DBC}"/>
                </a:ext>
              </a:extLst>
            </p:cNvPr>
            <p:cNvSpPr/>
            <p:nvPr/>
          </p:nvSpPr>
          <p:spPr>
            <a:xfrm flipH="1">
              <a:off x="11393984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9" name="任意多边形: 形状 938">
              <a:extLst>
                <a:ext uri="{FF2B5EF4-FFF2-40B4-BE49-F238E27FC236}">
                  <a16:creationId xmlns:a16="http://schemas.microsoft.com/office/drawing/2014/main" id="{95E89727-8CF6-4315-845A-4AB83410AE0C}"/>
                </a:ext>
              </a:extLst>
            </p:cNvPr>
            <p:cNvSpPr/>
            <p:nvPr/>
          </p:nvSpPr>
          <p:spPr>
            <a:xfrm flipH="1">
              <a:off x="11121793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0" name="任意多边形: 形状 939">
              <a:extLst>
                <a:ext uri="{FF2B5EF4-FFF2-40B4-BE49-F238E27FC236}">
                  <a16:creationId xmlns:a16="http://schemas.microsoft.com/office/drawing/2014/main" id="{B4CCF874-2C27-4665-81B3-8B9B06CC028A}"/>
                </a:ext>
              </a:extLst>
            </p:cNvPr>
            <p:cNvSpPr/>
            <p:nvPr/>
          </p:nvSpPr>
          <p:spPr>
            <a:xfrm flipH="1">
              <a:off x="10846509" y="6728091"/>
              <a:ext cx="30931" cy="123723"/>
            </a:xfrm>
            <a:custGeom>
              <a:avLst/>
              <a:gdLst>
                <a:gd name="connsiteX0" fmla="*/ 0 w 30930"/>
                <a:gd name="connsiteY0" fmla="*/ 0 h 123723"/>
                <a:gd name="connsiteX1" fmla="*/ 49489 w 30930"/>
                <a:gd name="connsiteY1" fmla="*/ 0 h 123723"/>
                <a:gd name="connsiteX2" fmla="*/ 49489 w 30930"/>
                <a:gd name="connsiteY2" fmla="*/ 139189 h 123723"/>
                <a:gd name="connsiteX3" fmla="*/ 0 w 30930"/>
                <a:gd name="connsiteY3" fmla="*/ 139189 h 123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930" h="123723">
                  <a:moveTo>
                    <a:pt x="0" y="0"/>
                  </a:moveTo>
                  <a:lnTo>
                    <a:pt x="49489" y="0"/>
                  </a:lnTo>
                  <a:lnTo>
                    <a:pt x="49489" y="139189"/>
                  </a:lnTo>
                  <a:lnTo>
                    <a:pt x="0" y="139189"/>
                  </a:lnTo>
                  <a:close/>
                </a:path>
              </a:pathLst>
            </a:custGeom>
            <a:solidFill>
              <a:srgbClr val="FF4E36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1" name="任意多边形: 形状 940">
              <a:extLst>
                <a:ext uri="{FF2B5EF4-FFF2-40B4-BE49-F238E27FC236}">
                  <a16:creationId xmlns:a16="http://schemas.microsoft.com/office/drawing/2014/main" id="{58F7EC21-4CEF-45E1-9D54-4DA5684754E6}"/>
                </a:ext>
              </a:extLst>
            </p:cNvPr>
            <p:cNvSpPr/>
            <p:nvPr/>
          </p:nvSpPr>
          <p:spPr>
            <a:xfrm flipH="1">
              <a:off x="11474405" y="6536319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3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1" y="256726"/>
                    <a:pt x="204143" y="256726"/>
                  </a:cubicBezTo>
                  <a:cubicBezTo>
                    <a:pt x="92793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6215" y="0"/>
                    <a:pt x="395915" y="68048"/>
                    <a:pt x="395915" y="15774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2" name="任意多边形: 形状 941">
              <a:extLst>
                <a:ext uri="{FF2B5EF4-FFF2-40B4-BE49-F238E27FC236}">
                  <a16:creationId xmlns:a16="http://schemas.microsoft.com/office/drawing/2014/main" id="{66E8FF19-BC75-4E56-BC35-0D527B601720}"/>
                </a:ext>
              </a:extLst>
            </p:cNvPr>
            <p:cNvSpPr/>
            <p:nvPr/>
          </p:nvSpPr>
          <p:spPr>
            <a:xfrm flipH="1">
              <a:off x="11208400" y="6520854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4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1" y="256726"/>
                    <a:pt x="204144" y="256726"/>
                  </a:cubicBezTo>
                  <a:cubicBezTo>
                    <a:pt x="95886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6215" y="0"/>
                    <a:pt x="395915" y="71141"/>
                    <a:pt x="395915" y="157747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3" name="任意多边形: 形状 942">
              <a:extLst>
                <a:ext uri="{FF2B5EF4-FFF2-40B4-BE49-F238E27FC236}">
                  <a16:creationId xmlns:a16="http://schemas.microsoft.com/office/drawing/2014/main" id="{DF7E456E-A3C6-4C05-9CA3-F228DC0E226C}"/>
                </a:ext>
              </a:extLst>
            </p:cNvPr>
            <p:cNvSpPr/>
            <p:nvPr/>
          </p:nvSpPr>
          <p:spPr>
            <a:xfrm flipH="1">
              <a:off x="10976418" y="6536319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4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2" y="256726"/>
                    <a:pt x="204144" y="256726"/>
                  </a:cubicBezTo>
                  <a:cubicBezTo>
                    <a:pt x="92793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6215" y="0"/>
                    <a:pt x="395915" y="68048"/>
                    <a:pt x="395915" y="157747"/>
                  </a:cubicBezTo>
                  <a:close/>
                </a:path>
              </a:pathLst>
            </a:custGeom>
            <a:solidFill>
              <a:srgbClr val="83BF4F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4" name="任意多边形: 形状 943">
              <a:extLst>
                <a:ext uri="{FF2B5EF4-FFF2-40B4-BE49-F238E27FC236}">
                  <a16:creationId xmlns:a16="http://schemas.microsoft.com/office/drawing/2014/main" id="{0A7603CA-3507-4C85-89A2-43742FDC53F3}"/>
                </a:ext>
              </a:extLst>
            </p:cNvPr>
            <p:cNvSpPr/>
            <p:nvPr/>
          </p:nvSpPr>
          <p:spPr>
            <a:xfrm flipH="1">
              <a:off x="10710413" y="6520854"/>
              <a:ext cx="371170" cy="247447"/>
            </a:xfrm>
            <a:custGeom>
              <a:avLst/>
              <a:gdLst>
                <a:gd name="connsiteX0" fmla="*/ 395915 w 371170"/>
                <a:gd name="connsiteY0" fmla="*/ 157747 h 247446"/>
                <a:gd name="connsiteX1" fmla="*/ 204143 w 371170"/>
                <a:gd name="connsiteY1" fmla="*/ 256726 h 247446"/>
                <a:gd name="connsiteX2" fmla="*/ 0 w 371170"/>
                <a:gd name="connsiteY2" fmla="*/ 157747 h 247446"/>
                <a:gd name="connsiteX3" fmla="*/ 197957 w 371170"/>
                <a:gd name="connsiteY3" fmla="*/ 0 h 247446"/>
                <a:gd name="connsiteX4" fmla="*/ 395915 w 371170"/>
                <a:gd name="connsiteY4" fmla="*/ 157747 h 247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170" h="247446">
                  <a:moveTo>
                    <a:pt x="395915" y="157747"/>
                  </a:moveTo>
                  <a:cubicBezTo>
                    <a:pt x="395915" y="244354"/>
                    <a:pt x="312401" y="256726"/>
                    <a:pt x="204143" y="256726"/>
                  </a:cubicBezTo>
                  <a:cubicBezTo>
                    <a:pt x="92793" y="256726"/>
                    <a:pt x="0" y="244354"/>
                    <a:pt x="0" y="157747"/>
                  </a:cubicBezTo>
                  <a:cubicBezTo>
                    <a:pt x="0" y="71141"/>
                    <a:pt x="89699" y="0"/>
                    <a:pt x="197957" y="0"/>
                  </a:cubicBezTo>
                  <a:cubicBezTo>
                    <a:pt x="309308" y="0"/>
                    <a:pt x="395915" y="71141"/>
                    <a:pt x="395915" y="157747"/>
                  </a:cubicBezTo>
                  <a:close/>
                </a:path>
              </a:pathLst>
            </a:custGeom>
            <a:solidFill>
              <a:srgbClr val="51A333"/>
            </a:solidFill>
            <a:ln w="309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46" name="矩形 945">
            <a:extLst>
              <a:ext uri="{FF2B5EF4-FFF2-40B4-BE49-F238E27FC236}">
                <a16:creationId xmlns:a16="http://schemas.microsoft.com/office/drawing/2014/main" id="{B98A121C-33E0-42F5-BD44-5484B90BC86C}"/>
              </a:ext>
            </a:extLst>
          </p:cNvPr>
          <p:cNvSpPr/>
          <p:nvPr userDrawn="1"/>
        </p:nvSpPr>
        <p:spPr>
          <a:xfrm>
            <a:off x="0" y="5181600"/>
            <a:ext cx="12192000" cy="1676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813703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517432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2692400" y="3639023"/>
            <a:ext cx="8661398" cy="558799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cs typeface="+mn-ea"/>
                <a:sym typeface="+mn-lt"/>
              </a:rPr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857500" y="1366837"/>
            <a:ext cx="8661398" cy="22780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dirty="0">
                <a:latin typeface="+mn-lt"/>
                <a:ea typeface="+mn-ea"/>
                <a:cs typeface="+mn-ea"/>
                <a:sym typeface="+mn-lt"/>
              </a:rPr>
              <a:t>20XX-XX</a:t>
            </a:r>
            <a:r>
              <a:rPr lang="zh-CN" altLang="en-US" sz="2800" dirty="0">
                <a:latin typeface="+mn-lt"/>
                <a:ea typeface="+mn-ea"/>
                <a:cs typeface="+mn-ea"/>
                <a:sym typeface="+mn-lt"/>
              </a:rPr>
              <a:t>三年级二班</a:t>
            </a:r>
            <a:br>
              <a:rPr lang="en-US" altLang="zh-CN" sz="28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8000" dirty="0">
                <a:latin typeface="+mn-lt"/>
                <a:ea typeface="+mn-ea"/>
                <a:cs typeface="+mn-ea"/>
                <a:sym typeface="+mn-lt"/>
              </a:rPr>
              <a:t>年度教学总结</a:t>
            </a:r>
            <a:endParaRPr lang="zh-CN" altLang="en-US" sz="60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 err="1">
                <a:cs typeface="+mn-ea"/>
                <a:sym typeface="+mn-lt"/>
              </a:rPr>
              <a:t>OfficePLUS</a:t>
            </a:r>
            <a:r>
              <a:rPr lang="zh-CN" altLang="en-US" dirty="0">
                <a:cs typeface="+mn-ea"/>
                <a:sym typeface="+mn-lt"/>
              </a:rPr>
              <a:t>学校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汇报人：</a:t>
            </a:r>
            <a:r>
              <a:rPr lang="en-US" altLang="zh-CN" dirty="0" err="1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8CCB2637-8908-4CDB-9283-B8C083BC3DB5}"/>
              </a:ext>
            </a:extLst>
          </p:cNvPr>
          <p:cNvSpPr/>
          <p:nvPr/>
        </p:nvSpPr>
        <p:spPr>
          <a:xfrm>
            <a:off x="10668001" y="854666"/>
            <a:ext cx="850898" cy="850898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altLang="zh-CN" dirty="0">
              <a:solidFill>
                <a:schemeClr val="bg1">
                  <a:lumMod val="6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5B02A1-6C1F-4D9A-B6D6-52EE6ECB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成功项目展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3" name="文本框 202">
            <a:extLst>
              <a:ext uri="{FF2B5EF4-FFF2-40B4-BE49-F238E27FC236}">
                <a16:creationId xmlns:a16="http://schemas.microsoft.com/office/drawing/2014/main" id="{14B328C8-6258-4AC0-8D78-5873ABD15A5B}"/>
              </a:ext>
            </a:extLst>
          </p:cNvPr>
          <p:cNvSpPr txBox="1"/>
          <p:nvPr/>
        </p:nvSpPr>
        <p:spPr>
          <a:xfrm>
            <a:off x="673101" y="1655947"/>
            <a:ext cx="4103085" cy="88913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Unified fonts make</a:t>
            </a:r>
          </a:p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204" name="文本框 203">
            <a:extLst>
              <a:ext uri="{FF2B5EF4-FFF2-40B4-BE49-F238E27FC236}">
                <a16:creationId xmlns:a16="http://schemas.microsoft.com/office/drawing/2014/main" id="{F340204A-5962-43C9-AD8E-2C17D3FE552D}"/>
              </a:ext>
            </a:extLst>
          </p:cNvPr>
          <p:cNvSpPr txBox="1"/>
          <p:nvPr/>
        </p:nvSpPr>
        <p:spPr>
          <a:xfrm>
            <a:off x="673101" y="2545084"/>
            <a:ext cx="4103086" cy="107990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cxnSp>
        <p:nvCxnSpPr>
          <p:cNvPr id="160" name="连接符: 曲线 159">
            <a:extLst>
              <a:ext uri="{FF2B5EF4-FFF2-40B4-BE49-F238E27FC236}">
                <a16:creationId xmlns:a16="http://schemas.microsoft.com/office/drawing/2014/main" id="{C9E1D040-EA37-4BAB-ABA6-B4B17BDDE6F5}"/>
              </a:ext>
            </a:extLst>
          </p:cNvPr>
          <p:cNvCxnSpPr/>
          <p:nvPr/>
        </p:nvCxnSpPr>
        <p:spPr>
          <a:xfrm flipV="1">
            <a:off x="7619966" y="3227209"/>
            <a:ext cx="1443049" cy="727955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连接符: 曲线 160">
            <a:extLst>
              <a:ext uri="{FF2B5EF4-FFF2-40B4-BE49-F238E27FC236}">
                <a16:creationId xmlns:a16="http://schemas.microsoft.com/office/drawing/2014/main" id="{2F2C5579-1F5E-43F3-A3FA-29B4ADF55BEB}"/>
              </a:ext>
            </a:extLst>
          </p:cNvPr>
          <p:cNvCxnSpPr/>
          <p:nvPr/>
        </p:nvCxnSpPr>
        <p:spPr>
          <a:xfrm flipV="1">
            <a:off x="5541723" y="3969018"/>
            <a:ext cx="1470714" cy="783992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连接符: 曲线 161">
            <a:extLst>
              <a:ext uri="{FF2B5EF4-FFF2-40B4-BE49-F238E27FC236}">
                <a16:creationId xmlns:a16="http://schemas.microsoft.com/office/drawing/2014/main" id="{394C7208-B99D-4686-8E9A-F353088130FB}"/>
              </a:ext>
            </a:extLst>
          </p:cNvPr>
          <p:cNvCxnSpPr/>
          <p:nvPr/>
        </p:nvCxnSpPr>
        <p:spPr>
          <a:xfrm flipV="1">
            <a:off x="3381640" y="4753009"/>
            <a:ext cx="1497755" cy="495538"/>
          </a:xfrm>
          <a:prstGeom prst="curvedConnector3">
            <a:avLst>
              <a:gd name="adj1" fmla="val 50000"/>
            </a:avLst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任意多边形: 形状 183">
            <a:extLst>
              <a:ext uri="{FF2B5EF4-FFF2-40B4-BE49-F238E27FC236}">
                <a16:creationId xmlns:a16="http://schemas.microsoft.com/office/drawing/2014/main" id="{CFA44F4C-1BB0-41B8-A7EE-06483D919F24}"/>
              </a:ext>
            </a:extLst>
          </p:cNvPr>
          <p:cNvSpPr/>
          <p:nvPr/>
        </p:nvSpPr>
        <p:spPr bwMode="auto">
          <a:xfrm>
            <a:off x="8528921" y="1226269"/>
            <a:ext cx="1152848" cy="1280598"/>
          </a:xfrm>
          <a:custGeom>
            <a:avLst/>
            <a:gdLst>
              <a:gd name="T0" fmla="*/ 188 w 376"/>
              <a:gd name="T1" fmla="*/ 0 h 417"/>
              <a:gd name="T2" fmla="*/ 376 w 376"/>
              <a:gd name="T3" fmla="*/ 188 h 417"/>
              <a:gd name="T4" fmla="*/ 253 w 376"/>
              <a:gd name="T5" fmla="*/ 417 h 417"/>
              <a:gd name="T6" fmla="*/ 182 w 376"/>
              <a:gd name="T7" fmla="*/ 417 h 417"/>
              <a:gd name="T8" fmla="*/ 174 w 376"/>
              <a:gd name="T9" fmla="*/ 417 h 417"/>
              <a:gd name="T10" fmla="*/ 122 w 376"/>
              <a:gd name="T11" fmla="*/ 417 h 417"/>
              <a:gd name="T12" fmla="*/ 0 w 376"/>
              <a:gd name="T13" fmla="*/ 188 h 417"/>
              <a:gd name="T14" fmla="*/ 188 w 376"/>
              <a:gd name="T1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6" h="417">
                <a:moveTo>
                  <a:pt x="188" y="0"/>
                </a:moveTo>
                <a:cubicBezTo>
                  <a:pt x="292" y="0"/>
                  <a:pt x="376" y="84"/>
                  <a:pt x="376" y="188"/>
                </a:cubicBezTo>
                <a:cubicBezTo>
                  <a:pt x="376" y="275"/>
                  <a:pt x="303" y="349"/>
                  <a:pt x="253" y="417"/>
                </a:cubicBezTo>
                <a:cubicBezTo>
                  <a:pt x="182" y="417"/>
                  <a:pt x="182" y="417"/>
                  <a:pt x="182" y="417"/>
                </a:cubicBezTo>
                <a:cubicBezTo>
                  <a:pt x="174" y="417"/>
                  <a:pt x="174" y="417"/>
                  <a:pt x="174" y="417"/>
                </a:cubicBezTo>
                <a:cubicBezTo>
                  <a:pt x="122" y="417"/>
                  <a:pt x="122" y="417"/>
                  <a:pt x="122" y="417"/>
                </a:cubicBezTo>
                <a:cubicBezTo>
                  <a:pt x="75" y="352"/>
                  <a:pt x="0" y="273"/>
                  <a:pt x="0" y="188"/>
                </a:cubicBezTo>
                <a:cubicBezTo>
                  <a:pt x="0" y="84"/>
                  <a:pt x="84" y="0"/>
                  <a:pt x="1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85" name="任意多边形: 形状 184">
            <a:extLst>
              <a:ext uri="{FF2B5EF4-FFF2-40B4-BE49-F238E27FC236}">
                <a16:creationId xmlns:a16="http://schemas.microsoft.com/office/drawing/2014/main" id="{EC7B2BC1-1DE6-42F5-A766-49C9693E02FE}"/>
              </a:ext>
            </a:extLst>
          </p:cNvPr>
          <p:cNvSpPr/>
          <p:nvPr/>
        </p:nvSpPr>
        <p:spPr bwMode="auto">
          <a:xfrm>
            <a:off x="8679760" y="1226269"/>
            <a:ext cx="851168" cy="1280598"/>
          </a:xfrm>
          <a:custGeom>
            <a:avLst/>
            <a:gdLst>
              <a:gd name="T0" fmla="*/ 139 w 278"/>
              <a:gd name="T1" fmla="*/ 0 h 417"/>
              <a:gd name="T2" fmla="*/ 278 w 278"/>
              <a:gd name="T3" fmla="*/ 188 h 417"/>
              <a:gd name="T4" fmla="*/ 187 w 278"/>
              <a:gd name="T5" fmla="*/ 417 h 417"/>
              <a:gd name="T6" fmla="*/ 135 w 278"/>
              <a:gd name="T7" fmla="*/ 417 h 417"/>
              <a:gd name="T8" fmla="*/ 129 w 278"/>
              <a:gd name="T9" fmla="*/ 417 h 417"/>
              <a:gd name="T10" fmla="*/ 91 w 278"/>
              <a:gd name="T11" fmla="*/ 417 h 417"/>
              <a:gd name="T12" fmla="*/ 0 w 278"/>
              <a:gd name="T13" fmla="*/ 188 h 417"/>
              <a:gd name="T14" fmla="*/ 139 w 278"/>
              <a:gd name="T1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78" h="417">
                <a:moveTo>
                  <a:pt x="139" y="0"/>
                </a:moveTo>
                <a:cubicBezTo>
                  <a:pt x="216" y="0"/>
                  <a:pt x="278" y="84"/>
                  <a:pt x="278" y="188"/>
                </a:cubicBezTo>
                <a:cubicBezTo>
                  <a:pt x="278" y="275"/>
                  <a:pt x="224" y="349"/>
                  <a:pt x="187" y="417"/>
                </a:cubicBezTo>
                <a:cubicBezTo>
                  <a:pt x="135" y="417"/>
                  <a:pt x="135" y="417"/>
                  <a:pt x="135" y="417"/>
                </a:cubicBezTo>
                <a:cubicBezTo>
                  <a:pt x="129" y="417"/>
                  <a:pt x="129" y="417"/>
                  <a:pt x="129" y="417"/>
                </a:cubicBezTo>
                <a:cubicBezTo>
                  <a:pt x="91" y="417"/>
                  <a:pt x="91" y="417"/>
                  <a:pt x="91" y="417"/>
                </a:cubicBezTo>
                <a:cubicBezTo>
                  <a:pt x="56" y="352"/>
                  <a:pt x="0" y="273"/>
                  <a:pt x="0" y="188"/>
                </a:cubicBezTo>
                <a:cubicBezTo>
                  <a:pt x="0" y="84"/>
                  <a:pt x="62" y="0"/>
                  <a:pt x="13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86" name="任意多边形: 形状 185">
            <a:extLst>
              <a:ext uri="{FF2B5EF4-FFF2-40B4-BE49-F238E27FC236}">
                <a16:creationId xmlns:a16="http://schemas.microsoft.com/office/drawing/2014/main" id="{00B84B9F-7C0B-4F89-BAC4-84FABC07AB37}"/>
              </a:ext>
            </a:extLst>
          </p:cNvPr>
          <p:cNvSpPr/>
          <p:nvPr/>
        </p:nvSpPr>
        <p:spPr bwMode="auto">
          <a:xfrm>
            <a:off x="8853688" y="1226269"/>
            <a:ext cx="503313" cy="1280598"/>
          </a:xfrm>
          <a:custGeom>
            <a:avLst/>
            <a:gdLst>
              <a:gd name="T0" fmla="*/ 82 w 164"/>
              <a:gd name="T1" fmla="*/ 0 h 417"/>
              <a:gd name="T2" fmla="*/ 164 w 164"/>
              <a:gd name="T3" fmla="*/ 188 h 417"/>
              <a:gd name="T4" fmla="*/ 111 w 164"/>
              <a:gd name="T5" fmla="*/ 417 h 417"/>
              <a:gd name="T6" fmla="*/ 53 w 164"/>
              <a:gd name="T7" fmla="*/ 417 h 417"/>
              <a:gd name="T8" fmla="*/ 0 w 164"/>
              <a:gd name="T9" fmla="*/ 188 h 417"/>
              <a:gd name="T10" fmla="*/ 82 w 164"/>
              <a:gd name="T11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4" h="417">
                <a:moveTo>
                  <a:pt x="82" y="0"/>
                </a:moveTo>
                <a:cubicBezTo>
                  <a:pt x="127" y="0"/>
                  <a:pt x="164" y="84"/>
                  <a:pt x="164" y="188"/>
                </a:cubicBezTo>
                <a:cubicBezTo>
                  <a:pt x="164" y="275"/>
                  <a:pt x="132" y="349"/>
                  <a:pt x="111" y="417"/>
                </a:cubicBezTo>
                <a:cubicBezTo>
                  <a:pt x="92" y="417"/>
                  <a:pt x="72" y="417"/>
                  <a:pt x="53" y="417"/>
                </a:cubicBezTo>
                <a:cubicBezTo>
                  <a:pt x="33" y="352"/>
                  <a:pt x="0" y="273"/>
                  <a:pt x="0" y="188"/>
                </a:cubicBezTo>
                <a:cubicBezTo>
                  <a:pt x="0" y="84"/>
                  <a:pt x="37" y="0"/>
                  <a:pt x="8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87" name="任意多边形: 形状 186">
            <a:extLst>
              <a:ext uri="{FF2B5EF4-FFF2-40B4-BE49-F238E27FC236}">
                <a16:creationId xmlns:a16="http://schemas.microsoft.com/office/drawing/2014/main" id="{C4912E7C-8525-4868-9962-C8D2FD18CC6C}"/>
              </a:ext>
            </a:extLst>
          </p:cNvPr>
          <p:cNvSpPr/>
          <p:nvPr/>
        </p:nvSpPr>
        <p:spPr bwMode="auto">
          <a:xfrm>
            <a:off x="9016841" y="1226269"/>
            <a:ext cx="177006" cy="1280598"/>
          </a:xfrm>
          <a:custGeom>
            <a:avLst/>
            <a:gdLst>
              <a:gd name="T0" fmla="*/ 29 w 58"/>
              <a:gd name="T1" fmla="*/ 0 h 417"/>
              <a:gd name="T2" fmla="*/ 58 w 58"/>
              <a:gd name="T3" fmla="*/ 188 h 417"/>
              <a:gd name="T4" fmla="*/ 39 w 58"/>
              <a:gd name="T5" fmla="*/ 417 h 417"/>
              <a:gd name="T6" fmla="*/ 28 w 58"/>
              <a:gd name="T7" fmla="*/ 417 h 417"/>
              <a:gd name="T8" fmla="*/ 27 w 58"/>
              <a:gd name="T9" fmla="*/ 417 h 417"/>
              <a:gd name="T10" fmla="*/ 19 w 58"/>
              <a:gd name="T11" fmla="*/ 417 h 417"/>
              <a:gd name="T12" fmla="*/ 0 w 58"/>
              <a:gd name="T13" fmla="*/ 188 h 417"/>
              <a:gd name="T14" fmla="*/ 29 w 58"/>
              <a:gd name="T1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8" h="417">
                <a:moveTo>
                  <a:pt x="29" y="0"/>
                </a:moveTo>
                <a:cubicBezTo>
                  <a:pt x="45" y="0"/>
                  <a:pt x="58" y="84"/>
                  <a:pt x="58" y="188"/>
                </a:cubicBezTo>
                <a:cubicBezTo>
                  <a:pt x="58" y="275"/>
                  <a:pt x="47" y="349"/>
                  <a:pt x="39" y="417"/>
                </a:cubicBezTo>
                <a:cubicBezTo>
                  <a:pt x="28" y="417"/>
                  <a:pt x="28" y="417"/>
                  <a:pt x="28" y="417"/>
                </a:cubicBezTo>
                <a:cubicBezTo>
                  <a:pt x="27" y="417"/>
                  <a:pt x="27" y="417"/>
                  <a:pt x="27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2" y="352"/>
                  <a:pt x="0" y="273"/>
                  <a:pt x="0" y="188"/>
                </a:cubicBezTo>
                <a:cubicBezTo>
                  <a:pt x="0" y="84"/>
                  <a:pt x="13" y="0"/>
                  <a:pt x="2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88" name="任意多边形: 形状 187">
            <a:extLst>
              <a:ext uri="{FF2B5EF4-FFF2-40B4-BE49-F238E27FC236}">
                <a16:creationId xmlns:a16="http://schemas.microsoft.com/office/drawing/2014/main" id="{3EAE3C2F-CDA6-4EF9-AB5C-F331B4649089}"/>
              </a:ext>
            </a:extLst>
          </p:cNvPr>
          <p:cNvSpPr/>
          <p:nvPr/>
        </p:nvSpPr>
        <p:spPr bwMode="auto">
          <a:xfrm>
            <a:off x="8902942" y="2506867"/>
            <a:ext cx="401727" cy="155458"/>
          </a:xfrm>
          <a:custGeom>
            <a:avLst/>
            <a:gdLst>
              <a:gd name="T0" fmla="*/ 261 w 261"/>
              <a:gd name="T1" fmla="*/ 0 h 101"/>
              <a:gd name="T2" fmla="*/ 261 w 261"/>
              <a:gd name="T3" fmla="*/ 101 h 101"/>
              <a:gd name="T4" fmla="*/ 0 w 261"/>
              <a:gd name="T5" fmla="*/ 101 h 101"/>
              <a:gd name="T6" fmla="*/ 0 w 261"/>
              <a:gd name="T7" fmla="*/ 0 h 101"/>
              <a:gd name="T8" fmla="*/ 104 w 261"/>
              <a:gd name="T9" fmla="*/ 0 h 101"/>
              <a:gd name="T10" fmla="*/ 120 w 261"/>
              <a:gd name="T11" fmla="*/ 0 h 101"/>
              <a:gd name="T12" fmla="*/ 261 w 261"/>
              <a:gd name="T13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1" h="101">
                <a:moveTo>
                  <a:pt x="261" y="0"/>
                </a:moveTo>
                <a:lnTo>
                  <a:pt x="261" y="101"/>
                </a:lnTo>
                <a:lnTo>
                  <a:pt x="0" y="101"/>
                </a:lnTo>
                <a:lnTo>
                  <a:pt x="0" y="0"/>
                </a:lnTo>
                <a:lnTo>
                  <a:pt x="104" y="0"/>
                </a:lnTo>
                <a:lnTo>
                  <a:pt x="120" y="0"/>
                </a:lnTo>
                <a:lnTo>
                  <a:pt x="261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89" name="任意多边形: 形状 188">
            <a:extLst>
              <a:ext uri="{FF2B5EF4-FFF2-40B4-BE49-F238E27FC236}">
                <a16:creationId xmlns:a16="http://schemas.microsoft.com/office/drawing/2014/main" id="{7100AEB0-8CE8-41FB-8508-FD28EEFFD735}"/>
              </a:ext>
            </a:extLst>
          </p:cNvPr>
          <p:cNvSpPr/>
          <p:nvPr/>
        </p:nvSpPr>
        <p:spPr bwMode="auto">
          <a:xfrm>
            <a:off x="8976823" y="2991709"/>
            <a:ext cx="257044" cy="209329"/>
          </a:xfrm>
          <a:custGeom>
            <a:avLst/>
            <a:gdLst>
              <a:gd name="T0" fmla="*/ 84 w 84"/>
              <a:gd name="T1" fmla="*/ 0 h 68"/>
              <a:gd name="T2" fmla="*/ 84 w 84"/>
              <a:gd name="T3" fmla="*/ 60 h 68"/>
              <a:gd name="T4" fmla="*/ 77 w 84"/>
              <a:gd name="T5" fmla="*/ 68 h 68"/>
              <a:gd name="T6" fmla="*/ 6 w 84"/>
              <a:gd name="T7" fmla="*/ 68 h 68"/>
              <a:gd name="T8" fmla="*/ 0 w 84"/>
              <a:gd name="T9" fmla="*/ 60 h 68"/>
              <a:gd name="T10" fmla="*/ 0 w 84"/>
              <a:gd name="T11" fmla="*/ 0 h 68"/>
              <a:gd name="T12" fmla="*/ 33 w 84"/>
              <a:gd name="T13" fmla="*/ 0 h 68"/>
              <a:gd name="T14" fmla="*/ 38 w 84"/>
              <a:gd name="T15" fmla="*/ 0 h 68"/>
              <a:gd name="T16" fmla="*/ 84 w 84"/>
              <a:gd name="T17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4" h="68">
                <a:moveTo>
                  <a:pt x="84" y="0"/>
                </a:moveTo>
                <a:cubicBezTo>
                  <a:pt x="84" y="60"/>
                  <a:pt x="84" y="60"/>
                  <a:pt x="84" y="60"/>
                </a:cubicBezTo>
                <a:cubicBezTo>
                  <a:pt x="84" y="65"/>
                  <a:pt x="81" y="68"/>
                  <a:pt x="77" y="68"/>
                </a:cubicBezTo>
                <a:cubicBezTo>
                  <a:pt x="6" y="68"/>
                  <a:pt x="6" y="68"/>
                  <a:pt x="6" y="68"/>
                </a:cubicBezTo>
                <a:cubicBezTo>
                  <a:pt x="3" y="68"/>
                  <a:pt x="0" y="65"/>
                  <a:pt x="0" y="60"/>
                </a:cubicBezTo>
                <a:cubicBezTo>
                  <a:pt x="0" y="0"/>
                  <a:pt x="0" y="0"/>
                  <a:pt x="0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8" y="0"/>
                  <a:pt x="38" y="0"/>
                  <a:pt x="38" y="0"/>
                </a:cubicBezTo>
                <a:lnTo>
                  <a:pt x="8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0" name="任意多边形: 形状 189">
            <a:extLst>
              <a:ext uri="{FF2B5EF4-FFF2-40B4-BE49-F238E27FC236}">
                <a16:creationId xmlns:a16="http://schemas.microsoft.com/office/drawing/2014/main" id="{441715CD-C876-42D0-A540-42233347BC8E}"/>
              </a:ext>
            </a:extLst>
          </p:cNvPr>
          <p:cNvSpPr/>
          <p:nvPr/>
        </p:nvSpPr>
        <p:spPr bwMode="auto">
          <a:xfrm>
            <a:off x="8902942" y="2659247"/>
            <a:ext cx="401727" cy="335542"/>
          </a:xfrm>
          <a:custGeom>
            <a:avLst/>
            <a:gdLst>
              <a:gd name="T0" fmla="*/ 14 w 261"/>
              <a:gd name="T1" fmla="*/ 0 h 218"/>
              <a:gd name="T2" fmla="*/ 58 w 261"/>
              <a:gd name="T3" fmla="*/ 218 h 218"/>
              <a:gd name="T4" fmla="*/ 48 w 261"/>
              <a:gd name="T5" fmla="*/ 218 h 218"/>
              <a:gd name="T6" fmla="*/ 0 w 261"/>
              <a:gd name="T7" fmla="*/ 2 h 218"/>
              <a:gd name="T8" fmla="*/ 14 w 261"/>
              <a:gd name="T9" fmla="*/ 0 h 218"/>
              <a:gd name="T10" fmla="*/ 14 w 261"/>
              <a:gd name="T11" fmla="*/ 0 h 218"/>
              <a:gd name="T12" fmla="*/ 138 w 261"/>
              <a:gd name="T13" fmla="*/ 0 h 218"/>
              <a:gd name="T14" fmla="*/ 138 w 261"/>
              <a:gd name="T15" fmla="*/ 216 h 218"/>
              <a:gd name="T16" fmla="*/ 126 w 261"/>
              <a:gd name="T17" fmla="*/ 216 h 218"/>
              <a:gd name="T18" fmla="*/ 126 w 261"/>
              <a:gd name="T19" fmla="*/ 0 h 218"/>
              <a:gd name="T20" fmla="*/ 138 w 261"/>
              <a:gd name="T21" fmla="*/ 0 h 218"/>
              <a:gd name="T22" fmla="*/ 138 w 261"/>
              <a:gd name="T23" fmla="*/ 0 h 218"/>
              <a:gd name="T24" fmla="*/ 261 w 261"/>
              <a:gd name="T25" fmla="*/ 2 h 218"/>
              <a:gd name="T26" fmla="*/ 215 w 261"/>
              <a:gd name="T27" fmla="*/ 218 h 218"/>
              <a:gd name="T28" fmla="*/ 205 w 261"/>
              <a:gd name="T29" fmla="*/ 216 h 218"/>
              <a:gd name="T30" fmla="*/ 249 w 261"/>
              <a:gd name="T31" fmla="*/ 0 h 218"/>
              <a:gd name="T32" fmla="*/ 261 w 261"/>
              <a:gd name="T33" fmla="*/ 2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61" h="218">
                <a:moveTo>
                  <a:pt x="14" y="0"/>
                </a:moveTo>
                <a:lnTo>
                  <a:pt x="58" y="218"/>
                </a:lnTo>
                <a:lnTo>
                  <a:pt x="48" y="218"/>
                </a:lnTo>
                <a:lnTo>
                  <a:pt x="0" y="2"/>
                </a:lnTo>
                <a:lnTo>
                  <a:pt x="14" y="0"/>
                </a:lnTo>
                <a:lnTo>
                  <a:pt x="14" y="0"/>
                </a:lnTo>
                <a:close/>
                <a:moveTo>
                  <a:pt x="138" y="0"/>
                </a:moveTo>
                <a:lnTo>
                  <a:pt x="138" y="216"/>
                </a:lnTo>
                <a:lnTo>
                  <a:pt x="126" y="216"/>
                </a:lnTo>
                <a:lnTo>
                  <a:pt x="126" y="0"/>
                </a:lnTo>
                <a:lnTo>
                  <a:pt x="138" y="0"/>
                </a:lnTo>
                <a:lnTo>
                  <a:pt x="138" y="0"/>
                </a:lnTo>
                <a:close/>
                <a:moveTo>
                  <a:pt x="261" y="2"/>
                </a:moveTo>
                <a:lnTo>
                  <a:pt x="215" y="218"/>
                </a:lnTo>
                <a:lnTo>
                  <a:pt x="205" y="216"/>
                </a:lnTo>
                <a:lnTo>
                  <a:pt x="249" y="0"/>
                </a:lnTo>
                <a:lnTo>
                  <a:pt x="261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1" name="任意多边形: 形状 190">
            <a:extLst>
              <a:ext uri="{FF2B5EF4-FFF2-40B4-BE49-F238E27FC236}">
                <a16:creationId xmlns:a16="http://schemas.microsoft.com/office/drawing/2014/main" id="{D4116FAF-66FC-4DCD-9C6D-076B0674537F}"/>
              </a:ext>
            </a:extLst>
          </p:cNvPr>
          <p:cNvSpPr/>
          <p:nvPr/>
        </p:nvSpPr>
        <p:spPr bwMode="auto">
          <a:xfrm>
            <a:off x="9063016" y="2991709"/>
            <a:ext cx="81577" cy="116978"/>
          </a:xfrm>
          <a:custGeom>
            <a:avLst/>
            <a:gdLst>
              <a:gd name="T0" fmla="*/ 12 w 27"/>
              <a:gd name="T1" fmla="*/ 0 h 38"/>
              <a:gd name="T2" fmla="*/ 16 w 27"/>
              <a:gd name="T3" fmla="*/ 0 h 38"/>
              <a:gd name="T4" fmla="*/ 25 w 27"/>
              <a:gd name="T5" fmla="*/ 22 h 38"/>
              <a:gd name="T6" fmla="*/ 14 w 27"/>
              <a:gd name="T7" fmla="*/ 38 h 38"/>
              <a:gd name="T8" fmla="*/ 3 w 27"/>
              <a:gd name="T9" fmla="*/ 22 h 38"/>
              <a:gd name="T10" fmla="*/ 12 w 27"/>
              <a:gd name="T1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38">
                <a:moveTo>
                  <a:pt x="12" y="0"/>
                </a:moveTo>
                <a:cubicBezTo>
                  <a:pt x="16" y="0"/>
                  <a:pt x="16" y="0"/>
                  <a:pt x="16" y="0"/>
                </a:cubicBezTo>
                <a:cubicBezTo>
                  <a:pt x="19" y="6"/>
                  <a:pt x="23" y="14"/>
                  <a:pt x="25" y="22"/>
                </a:cubicBezTo>
                <a:cubicBezTo>
                  <a:pt x="27" y="32"/>
                  <a:pt x="20" y="38"/>
                  <a:pt x="14" y="38"/>
                </a:cubicBezTo>
                <a:cubicBezTo>
                  <a:pt x="8" y="38"/>
                  <a:pt x="0" y="32"/>
                  <a:pt x="3" y="22"/>
                </a:cubicBezTo>
                <a:cubicBezTo>
                  <a:pt x="5" y="14"/>
                  <a:pt x="9" y="6"/>
                  <a:pt x="12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2" name="任意多边形: 形状 191">
            <a:extLst>
              <a:ext uri="{FF2B5EF4-FFF2-40B4-BE49-F238E27FC236}">
                <a16:creationId xmlns:a16="http://schemas.microsoft.com/office/drawing/2014/main" id="{4C09290D-2D48-4E75-A524-5BCA727C888F}"/>
              </a:ext>
            </a:extLst>
          </p:cNvPr>
          <p:cNvSpPr/>
          <p:nvPr/>
        </p:nvSpPr>
        <p:spPr bwMode="auto">
          <a:xfrm>
            <a:off x="9193848" y="2991709"/>
            <a:ext cx="40018" cy="116978"/>
          </a:xfrm>
          <a:custGeom>
            <a:avLst/>
            <a:gdLst>
              <a:gd name="T0" fmla="*/ 11 w 13"/>
              <a:gd name="T1" fmla="*/ 0 h 38"/>
              <a:gd name="T2" fmla="*/ 13 w 13"/>
              <a:gd name="T3" fmla="*/ 0 h 38"/>
              <a:gd name="T4" fmla="*/ 13 w 13"/>
              <a:gd name="T5" fmla="*/ 38 h 38"/>
              <a:gd name="T6" fmla="*/ 2 w 13"/>
              <a:gd name="T7" fmla="*/ 22 h 38"/>
              <a:gd name="T8" fmla="*/ 11 w 13"/>
              <a:gd name="T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38">
                <a:moveTo>
                  <a:pt x="11" y="0"/>
                </a:moveTo>
                <a:cubicBezTo>
                  <a:pt x="13" y="0"/>
                  <a:pt x="13" y="0"/>
                  <a:pt x="13" y="0"/>
                </a:cubicBezTo>
                <a:cubicBezTo>
                  <a:pt x="13" y="38"/>
                  <a:pt x="13" y="38"/>
                  <a:pt x="13" y="38"/>
                </a:cubicBezTo>
                <a:cubicBezTo>
                  <a:pt x="7" y="38"/>
                  <a:pt x="0" y="32"/>
                  <a:pt x="2" y="22"/>
                </a:cubicBezTo>
                <a:cubicBezTo>
                  <a:pt x="4" y="14"/>
                  <a:pt x="8" y="6"/>
                  <a:pt x="11" y="0"/>
                </a:cubicBezTo>
                <a:close/>
              </a:path>
            </a:pathLst>
          </a:custGeom>
          <a:solidFill>
            <a:srgbClr val="EE762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3" name="任意多边形: 形状 192">
            <a:extLst>
              <a:ext uri="{FF2B5EF4-FFF2-40B4-BE49-F238E27FC236}">
                <a16:creationId xmlns:a16="http://schemas.microsoft.com/office/drawing/2014/main" id="{2BBC5A82-C60A-4A75-A630-0F934D1F8376}"/>
              </a:ext>
            </a:extLst>
          </p:cNvPr>
          <p:cNvSpPr/>
          <p:nvPr/>
        </p:nvSpPr>
        <p:spPr bwMode="auto">
          <a:xfrm>
            <a:off x="8976823" y="2988631"/>
            <a:ext cx="40018" cy="120056"/>
          </a:xfrm>
          <a:custGeom>
            <a:avLst/>
            <a:gdLst>
              <a:gd name="T0" fmla="*/ 1 w 13"/>
              <a:gd name="T1" fmla="*/ 0 h 39"/>
              <a:gd name="T2" fmla="*/ 0 w 13"/>
              <a:gd name="T3" fmla="*/ 1 h 39"/>
              <a:gd name="T4" fmla="*/ 0 w 13"/>
              <a:gd name="T5" fmla="*/ 39 h 39"/>
              <a:gd name="T6" fmla="*/ 11 w 13"/>
              <a:gd name="T7" fmla="*/ 23 h 39"/>
              <a:gd name="T8" fmla="*/ 1 w 13"/>
              <a:gd name="T9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39">
                <a:moveTo>
                  <a:pt x="1" y="0"/>
                </a:moveTo>
                <a:cubicBezTo>
                  <a:pt x="0" y="1"/>
                  <a:pt x="0" y="1"/>
                  <a:pt x="0" y="1"/>
                </a:cubicBezTo>
                <a:cubicBezTo>
                  <a:pt x="0" y="39"/>
                  <a:pt x="0" y="39"/>
                  <a:pt x="0" y="39"/>
                </a:cubicBezTo>
                <a:cubicBezTo>
                  <a:pt x="6" y="39"/>
                  <a:pt x="13" y="33"/>
                  <a:pt x="11" y="23"/>
                </a:cubicBezTo>
                <a:cubicBezTo>
                  <a:pt x="9" y="15"/>
                  <a:pt x="4" y="6"/>
                  <a:pt x="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4" name="任意多边形: 形状 193">
            <a:extLst>
              <a:ext uri="{FF2B5EF4-FFF2-40B4-BE49-F238E27FC236}">
                <a16:creationId xmlns:a16="http://schemas.microsoft.com/office/drawing/2014/main" id="{94AC0ED2-63F0-466C-9D15-31EC2BD7B368}"/>
              </a:ext>
            </a:extLst>
          </p:cNvPr>
          <p:cNvSpPr/>
          <p:nvPr/>
        </p:nvSpPr>
        <p:spPr bwMode="auto">
          <a:xfrm>
            <a:off x="9106114" y="1226269"/>
            <a:ext cx="575654" cy="1280598"/>
          </a:xfrm>
          <a:custGeom>
            <a:avLst/>
            <a:gdLst>
              <a:gd name="T0" fmla="*/ 0 w 188"/>
              <a:gd name="T1" fmla="*/ 0 h 417"/>
              <a:gd name="T2" fmla="*/ 188 w 188"/>
              <a:gd name="T3" fmla="*/ 188 h 417"/>
              <a:gd name="T4" fmla="*/ 65 w 188"/>
              <a:gd name="T5" fmla="*/ 417 h 417"/>
              <a:gd name="T6" fmla="*/ 0 w 188"/>
              <a:gd name="T7" fmla="*/ 417 h 417"/>
              <a:gd name="T8" fmla="*/ 0 w 188"/>
              <a:gd name="T9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8" h="417">
                <a:moveTo>
                  <a:pt x="0" y="0"/>
                </a:moveTo>
                <a:cubicBezTo>
                  <a:pt x="104" y="0"/>
                  <a:pt x="188" y="84"/>
                  <a:pt x="188" y="188"/>
                </a:cubicBezTo>
                <a:cubicBezTo>
                  <a:pt x="188" y="275"/>
                  <a:pt x="115" y="349"/>
                  <a:pt x="65" y="417"/>
                </a:cubicBezTo>
                <a:cubicBezTo>
                  <a:pt x="0" y="417"/>
                  <a:pt x="0" y="417"/>
                  <a:pt x="0" y="417"/>
                </a:cubicBezTo>
                <a:cubicBezTo>
                  <a:pt x="16" y="278"/>
                  <a:pt x="14" y="139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5" name="任意多边形: 形状 194">
            <a:extLst>
              <a:ext uri="{FF2B5EF4-FFF2-40B4-BE49-F238E27FC236}">
                <a16:creationId xmlns:a16="http://schemas.microsoft.com/office/drawing/2014/main" id="{FF3D50D8-D1D5-4913-8CDC-4AB03C2E637F}"/>
              </a:ext>
            </a:extLst>
          </p:cNvPr>
          <p:cNvSpPr/>
          <p:nvPr/>
        </p:nvSpPr>
        <p:spPr bwMode="auto">
          <a:xfrm>
            <a:off x="9106114" y="1226269"/>
            <a:ext cx="424815" cy="1280598"/>
          </a:xfrm>
          <a:custGeom>
            <a:avLst/>
            <a:gdLst>
              <a:gd name="T0" fmla="*/ 0 w 139"/>
              <a:gd name="T1" fmla="*/ 0 h 417"/>
              <a:gd name="T2" fmla="*/ 139 w 139"/>
              <a:gd name="T3" fmla="*/ 188 h 417"/>
              <a:gd name="T4" fmla="*/ 48 w 139"/>
              <a:gd name="T5" fmla="*/ 417 h 417"/>
              <a:gd name="T6" fmla="*/ 0 w 139"/>
              <a:gd name="T7" fmla="*/ 417 h 417"/>
              <a:gd name="T8" fmla="*/ 0 w 139"/>
              <a:gd name="T9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9" h="417">
                <a:moveTo>
                  <a:pt x="0" y="0"/>
                </a:moveTo>
                <a:cubicBezTo>
                  <a:pt x="77" y="0"/>
                  <a:pt x="139" y="84"/>
                  <a:pt x="139" y="188"/>
                </a:cubicBezTo>
                <a:cubicBezTo>
                  <a:pt x="139" y="275"/>
                  <a:pt x="85" y="349"/>
                  <a:pt x="48" y="417"/>
                </a:cubicBezTo>
                <a:cubicBezTo>
                  <a:pt x="0" y="417"/>
                  <a:pt x="0" y="417"/>
                  <a:pt x="0" y="41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6" name="任意多边形: 形状 195">
            <a:extLst>
              <a:ext uri="{FF2B5EF4-FFF2-40B4-BE49-F238E27FC236}">
                <a16:creationId xmlns:a16="http://schemas.microsoft.com/office/drawing/2014/main" id="{65530576-ECCC-4B88-BF5A-D322EE54F46C}"/>
              </a:ext>
            </a:extLst>
          </p:cNvPr>
          <p:cNvSpPr/>
          <p:nvPr/>
        </p:nvSpPr>
        <p:spPr bwMode="auto">
          <a:xfrm>
            <a:off x="9106114" y="1226269"/>
            <a:ext cx="250887" cy="1280598"/>
          </a:xfrm>
          <a:custGeom>
            <a:avLst/>
            <a:gdLst>
              <a:gd name="T0" fmla="*/ 0 w 82"/>
              <a:gd name="T1" fmla="*/ 0 h 417"/>
              <a:gd name="T2" fmla="*/ 82 w 82"/>
              <a:gd name="T3" fmla="*/ 188 h 417"/>
              <a:gd name="T4" fmla="*/ 29 w 82"/>
              <a:gd name="T5" fmla="*/ 417 h 417"/>
              <a:gd name="T6" fmla="*/ 0 w 82"/>
              <a:gd name="T7" fmla="*/ 417 h 417"/>
              <a:gd name="T8" fmla="*/ 0 w 82"/>
              <a:gd name="T9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2" h="417">
                <a:moveTo>
                  <a:pt x="0" y="0"/>
                </a:moveTo>
                <a:cubicBezTo>
                  <a:pt x="45" y="0"/>
                  <a:pt x="82" y="84"/>
                  <a:pt x="82" y="188"/>
                </a:cubicBezTo>
                <a:cubicBezTo>
                  <a:pt x="82" y="275"/>
                  <a:pt x="50" y="349"/>
                  <a:pt x="29" y="417"/>
                </a:cubicBezTo>
                <a:cubicBezTo>
                  <a:pt x="0" y="417"/>
                  <a:pt x="0" y="417"/>
                  <a:pt x="0" y="417"/>
                </a:cubicBezTo>
                <a:cubicBezTo>
                  <a:pt x="34" y="278"/>
                  <a:pt x="28" y="139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7" name="任意多边形: 形状 196">
            <a:extLst>
              <a:ext uri="{FF2B5EF4-FFF2-40B4-BE49-F238E27FC236}">
                <a16:creationId xmlns:a16="http://schemas.microsoft.com/office/drawing/2014/main" id="{9E22F089-40D8-426B-8108-5BE80D4AF9C1}"/>
              </a:ext>
            </a:extLst>
          </p:cNvPr>
          <p:cNvSpPr/>
          <p:nvPr/>
        </p:nvSpPr>
        <p:spPr bwMode="auto">
          <a:xfrm>
            <a:off x="9106114" y="1226269"/>
            <a:ext cx="87734" cy="1280598"/>
          </a:xfrm>
          <a:custGeom>
            <a:avLst/>
            <a:gdLst>
              <a:gd name="T0" fmla="*/ 0 w 29"/>
              <a:gd name="T1" fmla="*/ 0 h 417"/>
              <a:gd name="T2" fmla="*/ 29 w 29"/>
              <a:gd name="T3" fmla="*/ 188 h 417"/>
              <a:gd name="T4" fmla="*/ 10 w 29"/>
              <a:gd name="T5" fmla="*/ 417 h 417"/>
              <a:gd name="T6" fmla="*/ 0 w 29"/>
              <a:gd name="T7" fmla="*/ 417 h 417"/>
              <a:gd name="T8" fmla="*/ 0 w 29"/>
              <a:gd name="T9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417">
                <a:moveTo>
                  <a:pt x="0" y="0"/>
                </a:moveTo>
                <a:cubicBezTo>
                  <a:pt x="16" y="0"/>
                  <a:pt x="29" y="84"/>
                  <a:pt x="29" y="188"/>
                </a:cubicBezTo>
                <a:cubicBezTo>
                  <a:pt x="29" y="275"/>
                  <a:pt x="18" y="349"/>
                  <a:pt x="10" y="417"/>
                </a:cubicBezTo>
                <a:cubicBezTo>
                  <a:pt x="0" y="417"/>
                  <a:pt x="0" y="417"/>
                  <a:pt x="0" y="417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8" name="矩形 197">
            <a:extLst>
              <a:ext uri="{FF2B5EF4-FFF2-40B4-BE49-F238E27FC236}">
                <a16:creationId xmlns:a16="http://schemas.microsoft.com/office/drawing/2014/main" id="{315A9B47-D92A-419A-A171-C6F1C76539B2}"/>
              </a:ext>
            </a:extLst>
          </p:cNvPr>
          <p:cNvSpPr/>
          <p:nvPr/>
        </p:nvSpPr>
        <p:spPr bwMode="auto">
          <a:xfrm>
            <a:off x="9106114" y="2506867"/>
            <a:ext cx="198555" cy="1554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99" name="任意多边形: 形状 198">
            <a:extLst>
              <a:ext uri="{FF2B5EF4-FFF2-40B4-BE49-F238E27FC236}">
                <a16:creationId xmlns:a16="http://schemas.microsoft.com/office/drawing/2014/main" id="{C8ABA0C0-1B67-4C20-89C0-8B05C672DE1B}"/>
              </a:ext>
            </a:extLst>
          </p:cNvPr>
          <p:cNvSpPr/>
          <p:nvPr/>
        </p:nvSpPr>
        <p:spPr bwMode="auto">
          <a:xfrm>
            <a:off x="9106114" y="2991709"/>
            <a:ext cx="127753" cy="209329"/>
          </a:xfrm>
          <a:custGeom>
            <a:avLst/>
            <a:gdLst>
              <a:gd name="T0" fmla="*/ 42 w 42"/>
              <a:gd name="T1" fmla="*/ 0 h 68"/>
              <a:gd name="T2" fmla="*/ 42 w 42"/>
              <a:gd name="T3" fmla="*/ 60 h 68"/>
              <a:gd name="T4" fmla="*/ 35 w 42"/>
              <a:gd name="T5" fmla="*/ 68 h 68"/>
              <a:gd name="T6" fmla="*/ 0 w 42"/>
              <a:gd name="T7" fmla="*/ 68 h 68"/>
              <a:gd name="T8" fmla="*/ 0 w 42"/>
              <a:gd name="T9" fmla="*/ 38 h 68"/>
              <a:gd name="T10" fmla="*/ 0 w 42"/>
              <a:gd name="T11" fmla="*/ 0 h 68"/>
              <a:gd name="T12" fmla="*/ 42 w 42"/>
              <a:gd name="T13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" h="68">
                <a:moveTo>
                  <a:pt x="42" y="0"/>
                </a:moveTo>
                <a:cubicBezTo>
                  <a:pt x="42" y="60"/>
                  <a:pt x="42" y="60"/>
                  <a:pt x="42" y="60"/>
                </a:cubicBezTo>
                <a:cubicBezTo>
                  <a:pt x="42" y="65"/>
                  <a:pt x="39" y="68"/>
                  <a:pt x="35" y="68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57"/>
                  <a:pt x="0" y="50"/>
                  <a:pt x="0" y="38"/>
                </a:cubicBezTo>
                <a:cubicBezTo>
                  <a:pt x="4" y="27"/>
                  <a:pt x="4" y="12"/>
                  <a:pt x="0" y="0"/>
                </a:cubicBezTo>
                <a:lnTo>
                  <a:pt x="4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200" name="任意多边形: 形状 199">
            <a:extLst>
              <a:ext uri="{FF2B5EF4-FFF2-40B4-BE49-F238E27FC236}">
                <a16:creationId xmlns:a16="http://schemas.microsoft.com/office/drawing/2014/main" id="{CC2B0D3D-E506-413B-93C0-4487919F012D}"/>
              </a:ext>
            </a:extLst>
          </p:cNvPr>
          <p:cNvSpPr/>
          <p:nvPr/>
        </p:nvSpPr>
        <p:spPr bwMode="auto">
          <a:xfrm>
            <a:off x="9106114" y="2991709"/>
            <a:ext cx="38480" cy="116978"/>
          </a:xfrm>
          <a:custGeom>
            <a:avLst/>
            <a:gdLst>
              <a:gd name="T0" fmla="*/ 0 w 13"/>
              <a:gd name="T1" fmla="*/ 0 h 38"/>
              <a:gd name="T2" fmla="*/ 2 w 13"/>
              <a:gd name="T3" fmla="*/ 0 h 38"/>
              <a:gd name="T4" fmla="*/ 11 w 13"/>
              <a:gd name="T5" fmla="*/ 22 h 38"/>
              <a:gd name="T6" fmla="*/ 0 w 13"/>
              <a:gd name="T7" fmla="*/ 38 h 38"/>
              <a:gd name="T8" fmla="*/ 0 w 13"/>
              <a:gd name="T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38">
                <a:moveTo>
                  <a:pt x="0" y="0"/>
                </a:moveTo>
                <a:cubicBezTo>
                  <a:pt x="2" y="0"/>
                  <a:pt x="2" y="0"/>
                  <a:pt x="2" y="0"/>
                </a:cubicBezTo>
                <a:cubicBezTo>
                  <a:pt x="5" y="6"/>
                  <a:pt x="9" y="14"/>
                  <a:pt x="11" y="22"/>
                </a:cubicBezTo>
                <a:cubicBezTo>
                  <a:pt x="13" y="32"/>
                  <a:pt x="6" y="38"/>
                  <a:pt x="0" y="3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201" name="任意多边形: 形状 200">
            <a:extLst>
              <a:ext uri="{FF2B5EF4-FFF2-40B4-BE49-F238E27FC236}">
                <a16:creationId xmlns:a16="http://schemas.microsoft.com/office/drawing/2014/main" id="{C8D51A23-0727-4F10-8539-D13582586ACA}"/>
              </a:ext>
            </a:extLst>
          </p:cNvPr>
          <p:cNvSpPr/>
          <p:nvPr/>
        </p:nvSpPr>
        <p:spPr bwMode="auto">
          <a:xfrm>
            <a:off x="9193848" y="2988631"/>
            <a:ext cx="40018" cy="120056"/>
          </a:xfrm>
          <a:custGeom>
            <a:avLst/>
            <a:gdLst>
              <a:gd name="T0" fmla="*/ 12 w 13"/>
              <a:gd name="T1" fmla="*/ 0 h 39"/>
              <a:gd name="T2" fmla="*/ 13 w 13"/>
              <a:gd name="T3" fmla="*/ 1 h 39"/>
              <a:gd name="T4" fmla="*/ 13 w 13"/>
              <a:gd name="T5" fmla="*/ 39 h 39"/>
              <a:gd name="T6" fmla="*/ 2 w 13"/>
              <a:gd name="T7" fmla="*/ 23 h 39"/>
              <a:gd name="T8" fmla="*/ 12 w 13"/>
              <a:gd name="T9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39">
                <a:moveTo>
                  <a:pt x="12" y="0"/>
                </a:moveTo>
                <a:cubicBezTo>
                  <a:pt x="13" y="1"/>
                  <a:pt x="13" y="1"/>
                  <a:pt x="13" y="1"/>
                </a:cubicBezTo>
                <a:cubicBezTo>
                  <a:pt x="13" y="39"/>
                  <a:pt x="13" y="39"/>
                  <a:pt x="13" y="39"/>
                </a:cubicBezTo>
                <a:cubicBezTo>
                  <a:pt x="7" y="39"/>
                  <a:pt x="0" y="33"/>
                  <a:pt x="2" y="23"/>
                </a:cubicBezTo>
                <a:cubicBezTo>
                  <a:pt x="4" y="15"/>
                  <a:pt x="9" y="6"/>
                  <a:pt x="1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202" name="任意多边形: 形状 201">
            <a:extLst>
              <a:ext uri="{FF2B5EF4-FFF2-40B4-BE49-F238E27FC236}">
                <a16:creationId xmlns:a16="http://schemas.microsoft.com/office/drawing/2014/main" id="{E7369EB2-463B-405E-A390-E0474328EB98}"/>
              </a:ext>
            </a:extLst>
          </p:cNvPr>
          <p:cNvSpPr/>
          <p:nvPr/>
        </p:nvSpPr>
        <p:spPr bwMode="auto">
          <a:xfrm>
            <a:off x="8982979" y="2991709"/>
            <a:ext cx="244730" cy="55410"/>
          </a:xfrm>
          <a:custGeom>
            <a:avLst/>
            <a:gdLst>
              <a:gd name="T0" fmla="*/ 0 w 80"/>
              <a:gd name="T1" fmla="*/ 0 h 18"/>
              <a:gd name="T2" fmla="*/ 40 w 80"/>
              <a:gd name="T3" fmla="*/ 0 h 18"/>
              <a:gd name="T4" fmla="*/ 80 w 80"/>
              <a:gd name="T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0" h="18">
                <a:moveTo>
                  <a:pt x="0" y="0"/>
                </a:moveTo>
                <a:cubicBezTo>
                  <a:pt x="3" y="8"/>
                  <a:pt x="27" y="18"/>
                  <a:pt x="40" y="0"/>
                </a:cubicBezTo>
                <a:cubicBezTo>
                  <a:pt x="54" y="18"/>
                  <a:pt x="76" y="8"/>
                  <a:pt x="80" y="0"/>
                </a:cubicBezTo>
              </a:path>
            </a:pathLst>
          </a:custGeom>
          <a:noFill/>
          <a:ln w="15875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cs typeface="+mn-ea"/>
              <a:sym typeface="+mn-lt"/>
            </a:endParaRPr>
          </a:p>
        </p:txBody>
      </p:sp>
      <p:sp>
        <p:nvSpPr>
          <p:cNvPr id="182" name="椭圆 181">
            <a:extLst>
              <a:ext uri="{FF2B5EF4-FFF2-40B4-BE49-F238E27FC236}">
                <a16:creationId xmlns:a16="http://schemas.microsoft.com/office/drawing/2014/main" id="{80A14F00-7A2F-4A2D-9CF1-CE4717E3C46C}"/>
              </a:ext>
            </a:extLst>
          </p:cNvPr>
          <p:cNvSpPr/>
          <p:nvPr/>
        </p:nvSpPr>
        <p:spPr bwMode="auto">
          <a:xfrm>
            <a:off x="2719313" y="4917384"/>
            <a:ext cx="662327" cy="662327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>
              <a:cs typeface="+mn-ea"/>
              <a:sym typeface="+mn-lt"/>
            </a:endParaRPr>
          </a:p>
        </p:txBody>
      </p:sp>
      <p:sp>
        <p:nvSpPr>
          <p:cNvPr id="183" name="任意多边形: 形状 182">
            <a:extLst>
              <a:ext uri="{FF2B5EF4-FFF2-40B4-BE49-F238E27FC236}">
                <a16:creationId xmlns:a16="http://schemas.microsoft.com/office/drawing/2014/main" id="{18DD9563-C816-49BC-B5D5-406DE0989015}"/>
              </a:ext>
            </a:extLst>
          </p:cNvPr>
          <p:cNvSpPr/>
          <p:nvPr/>
        </p:nvSpPr>
        <p:spPr bwMode="auto">
          <a:xfrm>
            <a:off x="2900568" y="5084173"/>
            <a:ext cx="299817" cy="328749"/>
          </a:xfrm>
          <a:custGeom>
            <a:avLst/>
            <a:gdLst>
              <a:gd name="connsiteX0" fmla="*/ 257952 w 552598"/>
              <a:gd name="connsiteY0" fmla="*/ 238897 h 605921"/>
              <a:gd name="connsiteX1" fmla="*/ 252845 w 552598"/>
              <a:gd name="connsiteY1" fmla="*/ 243996 h 605921"/>
              <a:gd name="connsiteX2" fmla="*/ 252845 w 552598"/>
              <a:gd name="connsiteY2" fmla="*/ 308986 h 605921"/>
              <a:gd name="connsiteX3" fmla="*/ 228056 w 552598"/>
              <a:gd name="connsiteY3" fmla="*/ 308986 h 605921"/>
              <a:gd name="connsiteX4" fmla="*/ 225642 w 552598"/>
              <a:gd name="connsiteY4" fmla="*/ 314085 h 605921"/>
              <a:gd name="connsiteX5" fmla="*/ 273271 w 552598"/>
              <a:gd name="connsiteY5" fmla="*/ 372123 h 605921"/>
              <a:gd name="connsiteX6" fmla="*/ 279306 w 552598"/>
              <a:gd name="connsiteY6" fmla="*/ 372123 h 605921"/>
              <a:gd name="connsiteX7" fmla="*/ 327027 w 552598"/>
              <a:gd name="connsiteY7" fmla="*/ 314085 h 605921"/>
              <a:gd name="connsiteX8" fmla="*/ 324520 w 552598"/>
              <a:gd name="connsiteY8" fmla="*/ 308986 h 605921"/>
              <a:gd name="connsiteX9" fmla="*/ 299731 w 552598"/>
              <a:gd name="connsiteY9" fmla="*/ 308986 h 605921"/>
              <a:gd name="connsiteX10" fmla="*/ 299731 w 552598"/>
              <a:gd name="connsiteY10" fmla="*/ 243996 h 605921"/>
              <a:gd name="connsiteX11" fmla="*/ 294718 w 552598"/>
              <a:gd name="connsiteY11" fmla="*/ 238897 h 605921"/>
              <a:gd name="connsiteX12" fmla="*/ 260737 w 552598"/>
              <a:gd name="connsiteY12" fmla="*/ 130146 h 605921"/>
              <a:gd name="connsiteX13" fmla="*/ 291932 w 552598"/>
              <a:gd name="connsiteY13" fmla="*/ 130146 h 605921"/>
              <a:gd name="connsiteX14" fmla="*/ 303445 w 552598"/>
              <a:gd name="connsiteY14" fmla="*/ 141642 h 605921"/>
              <a:gd name="connsiteX15" fmla="*/ 303445 w 552598"/>
              <a:gd name="connsiteY15" fmla="*/ 167602 h 605921"/>
              <a:gd name="connsiteX16" fmla="*/ 353580 w 552598"/>
              <a:gd name="connsiteY16" fmla="*/ 188369 h 605921"/>
              <a:gd name="connsiteX17" fmla="*/ 371963 w 552598"/>
              <a:gd name="connsiteY17" fmla="*/ 170012 h 605921"/>
              <a:gd name="connsiteX18" fmla="*/ 388118 w 552598"/>
              <a:gd name="connsiteY18" fmla="*/ 170012 h 605921"/>
              <a:gd name="connsiteX19" fmla="*/ 410215 w 552598"/>
              <a:gd name="connsiteY19" fmla="*/ 192077 h 605921"/>
              <a:gd name="connsiteX20" fmla="*/ 410215 w 552598"/>
              <a:gd name="connsiteY20" fmla="*/ 208209 h 605921"/>
              <a:gd name="connsiteX21" fmla="*/ 391832 w 552598"/>
              <a:gd name="connsiteY21" fmla="*/ 226566 h 605921"/>
              <a:gd name="connsiteX22" fmla="*/ 412628 w 552598"/>
              <a:gd name="connsiteY22" fmla="*/ 276630 h 605921"/>
              <a:gd name="connsiteX23" fmla="*/ 438625 w 552598"/>
              <a:gd name="connsiteY23" fmla="*/ 276630 h 605921"/>
              <a:gd name="connsiteX24" fmla="*/ 450137 w 552598"/>
              <a:gd name="connsiteY24" fmla="*/ 288126 h 605921"/>
              <a:gd name="connsiteX25" fmla="*/ 450137 w 552598"/>
              <a:gd name="connsiteY25" fmla="*/ 319277 h 605921"/>
              <a:gd name="connsiteX26" fmla="*/ 438625 w 552598"/>
              <a:gd name="connsiteY26" fmla="*/ 330773 h 605921"/>
              <a:gd name="connsiteX27" fmla="*/ 412628 w 552598"/>
              <a:gd name="connsiteY27" fmla="*/ 330773 h 605921"/>
              <a:gd name="connsiteX28" fmla="*/ 391832 w 552598"/>
              <a:gd name="connsiteY28" fmla="*/ 380838 h 605921"/>
              <a:gd name="connsiteX29" fmla="*/ 410215 w 552598"/>
              <a:gd name="connsiteY29" fmla="*/ 399102 h 605921"/>
              <a:gd name="connsiteX30" fmla="*/ 410215 w 552598"/>
              <a:gd name="connsiteY30" fmla="*/ 415326 h 605921"/>
              <a:gd name="connsiteX31" fmla="*/ 388118 w 552598"/>
              <a:gd name="connsiteY31" fmla="*/ 437299 h 605921"/>
              <a:gd name="connsiteX32" fmla="*/ 371963 w 552598"/>
              <a:gd name="connsiteY32" fmla="*/ 437299 h 605921"/>
              <a:gd name="connsiteX33" fmla="*/ 353580 w 552598"/>
              <a:gd name="connsiteY33" fmla="*/ 419035 h 605921"/>
              <a:gd name="connsiteX34" fmla="*/ 303445 w 552598"/>
              <a:gd name="connsiteY34" fmla="*/ 439802 h 605921"/>
              <a:gd name="connsiteX35" fmla="*/ 303445 w 552598"/>
              <a:gd name="connsiteY35" fmla="*/ 465761 h 605921"/>
              <a:gd name="connsiteX36" fmla="*/ 291932 w 552598"/>
              <a:gd name="connsiteY36" fmla="*/ 477257 h 605921"/>
              <a:gd name="connsiteX37" fmla="*/ 260737 w 552598"/>
              <a:gd name="connsiteY37" fmla="*/ 477257 h 605921"/>
              <a:gd name="connsiteX38" fmla="*/ 249224 w 552598"/>
              <a:gd name="connsiteY38" fmla="*/ 465761 h 605921"/>
              <a:gd name="connsiteX39" fmla="*/ 249224 w 552598"/>
              <a:gd name="connsiteY39" fmla="*/ 439802 h 605921"/>
              <a:gd name="connsiteX40" fmla="*/ 199089 w 552598"/>
              <a:gd name="connsiteY40" fmla="*/ 419035 h 605921"/>
              <a:gd name="connsiteX41" fmla="*/ 180799 w 552598"/>
              <a:gd name="connsiteY41" fmla="*/ 437299 h 605921"/>
              <a:gd name="connsiteX42" fmla="*/ 164551 w 552598"/>
              <a:gd name="connsiteY42" fmla="*/ 437299 h 605921"/>
              <a:gd name="connsiteX43" fmla="*/ 142547 w 552598"/>
              <a:gd name="connsiteY43" fmla="*/ 415326 h 605921"/>
              <a:gd name="connsiteX44" fmla="*/ 142547 w 552598"/>
              <a:gd name="connsiteY44" fmla="*/ 399102 h 605921"/>
              <a:gd name="connsiteX45" fmla="*/ 160837 w 552598"/>
              <a:gd name="connsiteY45" fmla="*/ 380838 h 605921"/>
              <a:gd name="connsiteX46" fmla="*/ 140041 w 552598"/>
              <a:gd name="connsiteY46" fmla="*/ 330773 h 605921"/>
              <a:gd name="connsiteX47" fmla="*/ 114044 w 552598"/>
              <a:gd name="connsiteY47" fmla="*/ 330773 h 605921"/>
              <a:gd name="connsiteX48" fmla="*/ 102532 w 552598"/>
              <a:gd name="connsiteY48" fmla="*/ 319277 h 605921"/>
              <a:gd name="connsiteX49" fmla="*/ 102532 w 552598"/>
              <a:gd name="connsiteY49" fmla="*/ 288126 h 605921"/>
              <a:gd name="connsiteX50" fmla="*/ 114044 w 552598"/>
              <a:gd name="connsiteY50" fmla="*/ 276630 h 605921"/>
              <a:gd name="connsiteX51" fmla="*/ 140041 w 552598"/>
              <a:gd name="connsiteY51" fmla="*/ 276630 h 605921"/>
              <a:gd name="connsiteX52" fmla="*/ 160837 w 552598"/>
              <a:gd name="connsiteY52" fmla="*/ 226566 h 605921"/>
              <a:gd name="connsiteX53" fmla="*/ 142547 w 552598"/>
              <a:gd name="connsiteY53" fmla="*/ 208209 h 605921"/>
              <a:gd name="connsiteX54" fmla="*/ 142547 w 552598"/>
              <a:gd name="connsiteY54" fmla="*/ 192077 h 605921"/>
              <a:gd name="connsiteX55" fmla="*/ 164551 w 552598"/>
              <a:gd name="connsiteY55" fmla="*/ 170012 h 605921"/>
              <a:gd name="connsiteX56" fmla="*/ 180799 w 552598"/>
              <a:gd name="connsiteY56" fmla="*/ 170012 h 605921"/>
              <a:gd name="connsiteX57" fmla="*/ 199089 w 552598"/>
              <a:gd name="connsiteY57" fmla="*/ 188369 h 605921"/>
              <a:gd name="connsiteX58" fmla="*/ 249224 w 552598"/>
              <a:gd name="connsiteY58" fmla="*/ 167602 h 605921"/>
              <a:gd name="connsiteX59" fmla="*/ 249224 w 552598"/>
              <a:gd name="connsiteY59" fmla="*/ 141642 h 605921"/>
              <a:gd name="connsiteX60" fmla="*/ 260737 w 552598"/>
              <a:gd name="connsiteY60" fmla="*/ 130146 h 605921"/>
              <a:gd name="connsiteX61" fmla="*/ 438507 w 552598"/>
              <a:gd name="connsiteY61" fmla="*/ 79551 h 605921"/>
              <a:gd name="connsiteX62" fmla="*/ 552598 w 552598"/>
              <a:gd name="connsiteY62" fmla="*/ 302952 h 605921"/>
              <a:gd name="connsiteX63" fmla="*/ 276329 w 552598"/>
              <a:gd name="connsiteY63" fmla="*/ 578821 h 605921"/>
              <a:gd name="connsiteX64" fmla="*/ 276329 w 552598"/>
              <a:gd name="connsiteY64" fmla="*/ 602737 h 605921"/>
              <a:gd name="connsiteX65" fmla="*/ 271316 w 552598"/>
              <a:gd name="connsiteY65" fmla="*/ 605332 h 605921"/>
              <a:gd name="connsiteX66" fmla="*/ 206426 w 552598"/>
              <a:gd name="connsiteY66" fmla="*/ 560837 h 605921"/>
              <a:gd name="connsiteX67" fmla="*/ 206426 w 552598"/>
              <a:gd name="connsiteY67" fmla="*/ 555553 h 605921"/>
              <a:gd name="connsiteX68" fmla="*/ 271316 w 552598"/>
              <a:gd name="connsiteY68" fmla="*/ 511059 h 605921"/>
              <a:gd name="connsiteX69" fmla="*/ 276329 w 552598"/>
              <a:gd name="connsiteY69" fmla="*/ 513654 h 605921"/>
              <a:gd name="connsiteX70" fmla="*/ 276329 w 552598"/>
              <a:gd name="connsiteY70" fmla="*/ 537663 h 605921"/>
              <a:gd name="connsiteX71" fmla="*/ 511381 w 552598"/>
              <a:gd name="connsiteY71" fmla="*/ 302952 h 605921"/>
              <a:gd name="connsiteX72" fmla="*/ 414278 w 552598"/>
              <a:gd name="connsiteY72" fmla="*/ 112830 h 605921"/>
              <a:gd name="connsiteX73" fmla="*/ 281414 w 552598"/>
              <a:gd name="connsiteY73" fmla="*/ 589 h 605921"/>
              <a:gd name="connsiteX74" fmla="*/ 346313 w 552598"/>
              <a:gd name="connsiteY74" fmla="*/ 45086 h 605921"/>
              <a:gd name="connsiteX75" fmla="*/ 346313 w 552598"/>
              <a:gd name="connsiteY75" fmla="*/ 50277 h 605921"/>
              <a:gd name="connsiteX76" fmla="*/ 281414 w 552598"/>
              <a:gd name="connsiteY76" fmla="*/ 94775 h 605921"/>
              <a:gd name="connsiteX77" fmla="*/ 276308 w 552598"/>
              <a:gd name="connsiteY77" fmla="*/ 92179 h 605921"/>
              <a:gd name="connsiteX78" fmla="*/ 276308 w 552598"/>
              <a:gd name="connsiteY78" fmla="*/ 68262 h 605921"/>
              <a:gd name="connsiteX79" fmla="*/ 41223 w 552598"/>
              <a:gd name="connsiteY79" fmla="*/ 303077 h 605921"/>
              <a:gd name="connsiteX80" fmla="*/ 138432 w 552598"/>
              <a:gd name="connsiteY80" fmla="*/ 493302 h 605921"/>
              <a:gd name="connsiteX81" fmla="*/ 114200 w 552598"/>
              <a:gd name="connsiteY81" fmla="*/ 526582 h 605921"/>
              <a:gd name="connsiteX82" fmla="*/ 0 w 552598"/>
              <a:gd name="connsiteY82" fmla="*/ 303077 h 605921"/>
              <a:gd name="connsiteX83" fmla="*/ 276308 w 552598"/>
              <a:gd name="connsiteY83" fmla="*/ 27195 h 605921"/>
              <a:gd name="connsiteX84" fmla="*/ 276308 w 552598"/>
              <a:gd name="connsiteY84" fmla="*/ 3185 h 605921"/>
              <a:gd name="connsiteX85" fmla="*/ 281414 w 552598"/>
              <a:gd name="connsiteY85" fmla="*/ 589 h 60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52598" h="605921">
                <a:moveTo>
                  <a:pt x="257952" y="238897"/>
                </a:moveTo>
                <a:cubicBezTo>
                  <a:pt x="255074" y="238897"/>
                  <a:pt x="252845" y="241122"/>
                  <a:pt x="252845" y="243996"/>
                </a:cubicBezTo>
                <a:lnTo>
                  <a:pt x="252845" y="308986"/>
                </a:lnTo>
                <a:lnTo>
                  <a:pt x="228056" y="308986"/>
                </a:lnTo>
                <a:cubicBezTo>
                  <a:pt x="225364" y="308986"/>
                  <a:pt x="223878" y="311953"/>
                  <a:pt x="225642" y="314085"/>
                </a:cubicBezTo>
                <a:lnTo>
                  <a:pt x="273271" y="372123"/>
                </a:lnTo>
                <a:cubicBezTo>
                  <a:pt x="274849" y="373977"/>
                  <a:pt x="277727" y="373977"/>
                  <a:pt x="279306" y="372123"/>
                </a:cubicBezTo>
                <a:lnTo>
                  <a:pt x="327027" y="314085"/>
                </a:lnTo>
                <a:cubicBezTo>
                  <a:pt x="328605" y="311953"/>
                  <a:pt x="327213" y="308894"/>
                  <a:pt x="324520" y="308986"/>
                </a:cubicBezTo>
                <a:lnTo>
                  <a:pt x="299731" y="308986"/>
                </a:lnTo>
                <a:lnTo>
                  <a:pt x="299731" y="243996"/>
                </a:lnTo>
                <a:cubicBezTo>
                  <a:pt x="299731" y="241122"/>
                  <a:pt x="297503" y="238897"/>
                  <a:pt x="294718" y="238897"/>
                </a:cubicBezTo>
                <a:close/>
                <a:moveTo>
                  <a:pt x="260737" y="130146"/>
                </a:moveTo>
                <a:lnTo>
                  <a:pt x="291932" y="130146"/>
                </a:lnTo>
                <a:cubicBezTo>
                  <a:pt x="298431" y="130146"/>
                  <a:pt x="303445" y="135338"/>
                  <a:pt x="303445" y="141642"/>
                </a:cubicBezTo>
                <a:lnTo>
                  <a:pt x="303445" y="167602"/>
                </a:lnTo>
                <a:cubicBezTo>
                  <a:pt x="321642" y="171125"/>
                  <a:pt x="338632" y="178356"/>
                  <a:pt x="353580" y="188369"/>
                </a:cubicBezTo>
                <a:lnTo>
                  <a:pt x="371963" y="170012"/>
                </a:lnTo>
                <a:cubicBezTo>
                  <a:pt x="376420" y="165562"/>
                  <a:pt x="383661" y="165562"/>
                  <a:pt x="388118" y="170012"/>
                </a:cubicBezTo>
                <a:lnTo>
                  <a:pt x="410215" y="192077"/>
                </a:lnTo>
                <a:cubicBezTo>
                  <a:pt x="414671" y="196528"/>
                  <a:pt x="414671" y="203759"/>
                  <a:pt x="410215" y="208209"/>
                </a:cubicBezTo>
                <a:lnTo>
                  <a:pt x="391832" y="226566"/>
                </a:lnTo>
                <a:cubicBezTo>
                  <a:pt x="401859" y="241400"/>
                  <a:pt x="409100" y="258459"/>
                  <a:pt x="412628" y="276630"/>
                </a:cubicBezTo>
                <a:lnTo>
                  <a:pt x="438625" y="276630"/>
                </a:lnTo>
                <a:cubicBezTo>
                  <a:pt x="445124" y="276630"/>
                  <a:pt x="450137" y="281822"/>
                  <a:pt x="450137" y="288126"/>
                </a:cubicBezTo>
                <a:lnTo>
                  <a:pt x="450137" y="319277"/>
                </a:lnTo>
                <a:cubicBezTo>
                  <a:pt x="450137" y="325674"/>
                  <a:pt x="444938" y="330773"/>
                  <a:pt x="438625" y="330773"/>
                </a:cubicBezTo>
                <a:lnTo>
                  <a:pt x="412628" y="330773"/>
                </a:lnTo>
                <a:cubicBezTo>
                  <a:pt x="409100" y="348945"/>
                  <a:pt x="401859" y="365818"/>
                  <a:pt x="391832" y="380838"/>
                </a:cubicBezTo>
                <a:lnTo>
                  <a:pt x="410215" y="399102"/>
                </a:lnTo>
                <a:cubicBezTo>
                  <a:pt x="414671" y="403552"/>
                  <a:pt x="414671" y="410876"/>
                  <a:pt x="410215" y="415326"/>
                </a:cubicBezTo>
                <a:lnTo>
                  <a:pt x="388118" y="437299"/>
                </a:lnTo>
                <a:cubicBezTo>
                  <a:pt x="383661" y="441749"/>
                  <a:pt x="376420" y="441749"/>
                  <a:pt x="371963" y="437299"/>
                </a:cubicBezTo>
                <a:lnTo>
                  <a:pt x="353580" y="419035"/>
                </a:lnTo>
                <a:cubicBezTo>
                  <a:pt x="338725" y="429047"/>
                  <a:pt x="321642" y="436186"/>
                  <a:pt x="303445" y="439802"/>
                </a:cubicBezTo>
                <a:lnTo>
                  <a:pt x="303445" y="465761"/>
                </a:lnTo>
                <a:cubicBezTo>
                  <a:pt x="303445" y="472158"/>
                  <a:pt x="298246" y="477257"/>
                  <a:pt x="291932" y="477257"/>
                </a:cubicBezTo>
                <a:lnTo>
                  <a:pt x="260737" y="477257"/>
                </a:lnTo>
                <a:cubicBezTo>
                  <a:pt x="254331" y="477257"/>
                  <a:pt x="249224" y="472065"/>
                  <a:pt x="249224" y="465761"/>
                </a:cubicBezTo>
                <a:lnTo>
                  <a:pt x="249224" y="439802"/>
                </a:lnTo>
                <a:cubicBezTo>
                  <a:pt x="231027" y="436186"/>
                  <a:pt x="214130" y="429047"/>
                  <a:pt x="199089" y="419035"/>
                </a:cubicBezTo>
                <a:lnTo>
                  <a:pt x="180799" y="437299"/>
                </a:lnTo>
                <a:cubicBezTo>
                  <a:pt x="176342" y="441749"/>
                  <a:pt x="169008" y="441749"/>
                  <a:pt x="164551" y="437299"/>
                </a:cubicBezTo>
                <a:lnTo>
                  <a:pt x="142547" y="415326"/>
                </a:lnTo>
                <a:cubicBezTo>
                  <a:pt x="138091" y="410876"/>
                  <a:pt x="138091" y="403552"/>
                  <a:pt x="142547" y="399102"/>
                </a:cubicBezTo>
                <a:lnTo>
                  <a:pt x="160837" y="380838"/>
                </a:lnTo>
                <a:cubicBezTo>
                  <a:pt x="150810" y="366004"/>
                  <a:pt x="143661" y="348945"/>
                  <a:pt x="140041" y="330773"/>
                </a:cubicBezTo>
                <a:lnTo>
                  <a:pt x="114044" y="330773"/>
                </a:lnTo>
                <a:cubicBezTo>
                  <a:pt x="107638" y="330773"/>
                  <a:pt x="102532" y="325582"/>
                  <a:pt x="102532" y="319277"/>
                </a:cubicBezTo>
                <a:lnTo>
                  <a:pt x="102532" y="288126"/>
                </a:lnTo>
                <a:cubicBezTo>
                  <a:pt x="102532" y="281636"/>
                  <a:pt x="107731" y="276630"/>
                  <a:pt x="114044" y="276630"/>
                </a:cubicBezTo>
                <a:lnTo>
                  <a:pt x="140041" y="276630"/>
                </a:lnTo>
                <a:cubicBezTo>
                  <a:pt x="143661" y="258459"/>
                  <a:pt x="150810" y="241492"/>
                  <a:pt x="160837" y="226566"/>
                </a:cubicBezTo>
                <a:lnTo>
                  <a:pt x="142547" y="208209"/>
                </a:lnTo>
                <a:cubicBezTo>
                  <a:pt x="138091" y="203759"/>
                  <a:pt x="138091" y="196528"/>
                  <a:pt x="142547" y="192077"/>
                </a:cubicBezTo>
                <a:lnTo>
                  <a:pt x="164551" y="170012"/>
                </a:lnTo>
                <a:cubicBezTo>
                  <a:pt x="169008" y="165562"/>
                  <a:pt x="176342" y="165562"/>
                  <a:pt x="180799" y="170012"/>
                </a:cubicBezTo>
                <a:lnTo>
                  <a:pt x="199089" y="188369"/>
                </a:lnTo>
                <a:cubicBezTo>
                  <a:pt x="213944" y="178356"/>
                  <a:pt x="231027" y="171125"/>
                  <a:pt x="249224" y="167602"/>
                </a:cubicBezTo>
                <a:lnTo>
                  <a:pt x="249224" y="141642"/>
                </a:lnTo>
                <a:cubicBezTo>
                  <a:pt x="249224" y="135153"/>
                  <a:pt x="254424" y="130146"/>
                  <a:pt x="260737" y="130146"/>
                </a:cubicBezTo>
                <a:close/>
                <a:moveTo>
                  <a:pt x="438507" y="79551"/>
                </a:moveTo>
                <a:cubicBezTo>
                  <a:pt x="510081" y="131462"/>
                  <a:pt x="552598" y="214890"/>
                  <a:pt x="552598" y="302952"/>
                </a:cubicBezTo>
                <a:cubicBezTo>
                  <a:pt x="552598" y="455069"/>
                  <a:pt x="428760" y="578821"/>
                  <a:pt x="276329" y="578821"/>
                </a:cubicBezTo>
                <a:lnTo>
                  <a:pt x="276329" y="602737"/>
                </a:lnTo>
                <a:cubicBezTo>
                  <a:pt x="276329" y="605332"/>
                  <a:pt x="273358" y="606815"/>
                  <a:pt x="271316" y="605332"/>
                </a:cubicBezTo>
                <a:lnTo>
                  <a:pt x="206426" y="560837"/>
                </a:lnTo>
                <a:cubicBezTo>
                  <a:pt x="204569" y="559539"/>
                  <a:pt x="204569" y="556759"/>
                  <a:pt x="206426" y="555553"/>
                </a:cubicBezTo>
                <a:lnTo>
                  <a:pt x="271316" y="511059"/>
                </a:lnTo>
                <a:cubicBezTo>
                  <a:pt x="273544" y="509575"/>
                  <a:pt x="276329" y="511059"/>
                  <a:pt x="276329" y="513654"/>
                </a:cubicBezTo>
                <a:lnTo>
                  <a:pt x="276329" y="537663"/>
                </a:lnTo>
                <a:cubicBezTo>
                  <a:pt x="405923" y="537663"/>
                  <a:pt x="511381" y="432358"/>
                  <a:pt x="511381" y="302952"/>
                </a:cubicBezTo>
                <a:cubicBezTo>
                  <a:pt x="511381" y="228053"/>
                  <a:pt x="475176" y="156954"/>
                  <a:pt x="414278" y="112830"/>
                </a:cubicBezTo>
                <a:close/>
                <a:moveTo>
                  <a:pt x="281414" y="589"/>
                </a:moveTo>
                <a:lnTo>
                  <a:pt x="346313" y="45086"/>
                </a:lnTo>
                <a:cubicBezTo>
                  <a:pt x="348170" y="46384"/>
                  <a:pt x="348170" y="49072"/>
                  <a:pt x="346313" y="50277"/>
                </a:cubicBezTo>
                <a:lnTo>
                  <a:pt x="281414" y="94775"/>
                </a:lnTo>
                <a:cubicBezTo>
                  <a:pt x="279186" y="96258"/>
                  <a:pt x="276308" y="94775"/>
                  <a:pt x="276308" y="92179"/>
                </a:cubicBezTo>
                <a:lnTo>
                  <a:pt x="276308" y="68262"/>
                </a:lnTo>
                <a:cubicBezTo>
                  <a:pt x="146695" y="68262"/>
                  <a:pt x="41223" y="173665"/>
                  <a:pt x="41223" y="303077"/>
                </a:cubicBezTo>
                <a:cubicBezTo>
                  <a:pt x="41223" y="377980"/>
                  <a:pt x="77526" y="449176"/>
                  <a:pt x="138432" y="493302"/>
                </a:cubicBezTo>
                <a:lnTo>
                  <a:pt x="114200" y="526582"/>
                </a:lnTo>
                <a:cubicBezTo>
                  <a:pt x="42709" y="474762"/>
                  <a:pt x="0" y="391237"/>
                  <a:pt x="0" y="303077"/>
                </a:cubicBezTo>
                <a:cubicBezTo>
                  <a:pt x="0" y="150953"/>
                  <a:pt x="123948" y="27195"/>
                  <a:pt x="276308" y="27195"/>
                </a:cubicBezTo>
                <a:lnTo>
                  <a:pt x="276308" y="3185"/>
                </a:lnTo>
                <a:cubicBezTo>
                  <a:pt x="276308" y="589"/>
                  <a:pt x="279279" y="-894"/>
                  <a:pt x="281414" y="5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0" name="椭圆 179">
            <a:extLst>
              <a:ext uri="{FF2B5EF4-FFF2-40B4-BE49-F238E27FC236}">
                <a16:creationId xmlns:a16="http://schemas.microsoft.com/office/drawing/2014/main" id="{91465C48-2FF7-4315-8029-077ABCFDDBE5}"/>
              </a:ext>
            </a:extLst>
          </p:cNvPr>
          <p:cNvSpPr/>
          <p:nvPr/>
        </p:nvSpPr>
        <p:spPr bwMode="auto">
          <a:xfrm>
            <a:off x="7012436" y="3637854"/>
            <a:ext cx="662327" cy="662327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>
              <a:cs typeface="+mn-ea"/>
              <a:sym typeface="+mn-lt"/>
            </a:endParaRPr>
          </a:p>
        </p:txBody>
      </p:sp>
      <p:sp>
        <p:nvSpPr>
          <p:cNvPr id="181" name="任意多边形: 形状 180">
            <a:extLst>
              <a:ext uri="{FF2B5EF4-FFF2-40B4-BE49-F238E27FC236}">
                <a16:creationId xmlns:a16="http://schemas.microsoft.com/office/drawing/2014/main" id="{2049F9AD-79F7-4CBF-8B04-EEEE297747DB}"/>
              </a:ext>
            </a:extLst>
          </p:cNvPr>
          <p:cNvSpPr/>
          <p:nvPr/>
        </p:nvSpPr>
        <p:spPr bwMode="auto">
          <a:xfrm>
            <a:off x="7160153" y="3803950"/>
            <a:ext cx="366892" cy="330137"/>
          </a:xfrm>
          <a:custGeom>
            <a:avLst/>
            <a:gdLst>
              <a:gd name="connsiteX0" fmla="*/ 465730 w 609191"/>
              <a:gd name="connsiteY0" fmla="*/ 360460 h 548159"/>
              <a:gd name="connsiteX1" fmla="*/ 465730 w 609191"/>
              <a:gd name="connsiteY1" fmla="*/ 404898 h 548159"/>
              <a:gd name="connsiteX2" fmla="*/ 421230 w 609191"/>
              <a:gd name="connsiteY2" fmla="*/ 404898 h 548159"/>
              <a:gd name="connsiteX3" fmla="*/ 421230 w 609191"/>
              <a:gd name="connsiteY3" fmla="*/ 439197 h 548159"/>
              <a:gd name="connsiteX4" fmla="*/ 465730 w 609191"/>
              <a:gd name="connsiteY4" fmla="*/ 439197 h 548159"/>
              <a:gd name="connsiteX5" fmla="*/ 465730 w 609191"/>
              <a:gd name="connsiteY5" fmla="*/ 483635 h 548159"/>
              <a:gd name="connsiteX6" fmla="*/ 499982 w 609191"/>
              <a:gd name="connsiteY6" fmla="*/ 483635 h 548159"/>
              <a:gd name="connsiteX7" fmla="*/ 499982 w 609191"/>
              <a:gd name="connsiteY7" fmla="*/ 439197 h 548159"/>
              <a:gd name="connsiteX8" fmla="*/ 544577 w 609191"/>
              <a:gd name="connsiteY8" fmla="*/ 439197 h 548159"/>
              <a:gd name="connsiteX9" fmla="*/ 544577 w 609191"/>
              <a:gd name="connsiteY9" fmla="*/ 404898 h 548159"/>
              <a:gd name="connsiteX10" fmla="*/ 499982 w 609191"/>
              <a:gd name="connsiteY10" fmla="*/ 404898 h 548159"/>
              <a:gd name="connsiteX11" fmla="*/ 499982 w 609191"/>
              <a:gd name="connsiteY11" fmla="*/ 360460 h 548159"/>
              <a:gd name="connsiteX12" fmla="*/ 482809 w 609191"/>
              <a:gd name="connsiteY12" fmla="*/ 295746 h 548159"/>
              <a:gd name="connsiteX13" fmla="*/ 609191 w 609191"/>
              <a:gd name="connsiteY13" fmla="*/ 421953 h 548159"/>
              <a:gd name="connsiteX14" fmla="*/ 482809 w 609191"/>
              <a:gd name="connsiteY14" fmla="*/ 548159 h 548159"/>
              <a:gd name="connsiteX15" fmla="*/ 356426 w 609191"/>
              <a:gd name="connsiteY15" fmla="*/ 421953 h 548159"/>
              <a:gd name="connsiteX16" fmla="*/ 482809 w 609191"/>
              <a:gd name="connsiteY16" fmla="*/ 295746 h 548159"/>
              <a:gd name="connsiteX17" fmla="*/ 256102 w 609191"/>
              <a:gd name="connsiteY17" fmla="*/ 446 h 548159"/>
              <a:gd name="connsiteX18" fmla="*/ 318064 w 609191"/>
              <a:gd name="connsiteY18" fmla="*/ 13618 h 548159"/>
              <a:gd name="connsiteX19" fmla="*/ 348333 w 609191"/>
              <a:gd name="connsiteY19" fmla="*/ 41667 h 548159"/>
              <a:gd name="connsiteX20" fmla="*/ 381544 w 609191"/>
              <a:gd name="connsiteY20" fmla="*/ 146945 h 548159"/>
              <a:gd name="connsiteX21" fmla="*/ 379267 w 609191"/>
              <a:gd name="connsiteY21" fmla="*/ 156232 h 548159"/>
              <a:gd name="connsiteX22" fmla="*/ 388186 w 609191"/>
              <a:gd name="connsiteY22" fmla="*/ 200485 h 548159"/>
              <a:gd name="connsiteX23" fmla="*/ 366742 w 609191"/>
              <a:gd name="connsiteY23" fmla="*/ 237725 h 548159"/>
              <a:gd name="connsiteX24" fmla="*/ 351749 w 609191"/>
              <a:gd name="connsiteY24" fmla="*/ 278851 h 548159"/>
              <a:gd name="connsiteX25" fmla="*/ 351749 w 609191"/>
              <a:gd name="connsiteY25" fmla="*/ 322915 h 548159"/>
              <a:gd name="connsiteX26" fmla="*/ 317969 w 609191"/>
              <a:gd name="connsiteY26" fmla="*/ 422507 h 548159"/>
              <a:gd name="connsiteX27" fmla="*/ 376800 w 609191"/>
              <a:gd name="connsiteY27" fmla="*/ 548159 h 548159"/>
              <a:gd name="connsiteX28" fmla="*/ 26853 w 609191"/>
              <a:gd name="connsiteY28" fmla="*/ 548159 h 548159"/>
              <a:gd name="connsiteX29" fmla="*/ 0 w 609191"/>
              <a:gd name="connsiteY29" fmla="*/ 521437 h 548159"/>
              <a:gd name="connsiteX30" fmla="*/ 0 w 609191"/>
              <a:gd name="connsiteY30" fmla="*/ 473867 h 548159"/>
              <a:gd name="connsiteX31" fmla="*/ 19452 w 609191"/>
              <a:gd name="connsiteY31" fmla="*/ 433120 h 548159"/>
              <a:gd name="connsiteX32" fmla="*/ 173740 w 609191"/>
              <a:gd name="connsiteY32" fmla="*/ 334286 h 548159"/>
              <a:gd name="connsiteX33" fmla="*/ 176586 w 609191"/>
              <a:gd name="connsiteY33" fmla="*/ 330021 h 548159"/>
              <a:gd name="connsiteX34" fmla="*/ 176586 w 609191"/>
              <a:gd name="connsiteY34" fmla="*/ 278851 h 548159"/>
              <a:gd name="connsiteX35" fmla="*/ 161594 w 609191"/>
              <a:gd name="connsiteY35" fmla="*/ 237725 h 548159"/>
              <a:gd name="connsiteX36" fmla="*/ 140149 w 609191"/>
              <a:gd name="connsiteY36" fmla="*/ 200485 h 548159"/>
              <a:gd name="connsiteX37" fmla="*/ 148499 w 609191"/>
              <a:gd name="connsiteY37" fmla="*/ 156232 h 548159"/>
              <a:gd name="connsiteX38" fmla="*/ 146222 w 609191"/>
              <a:gd name="connsiteY38" fmla="*/ 146756 h 548159"/>
              <a:gd name="connsiteX39" fmla="*/ 146032 w 609191"/>
              <a:gd name="connsiteY39" fmla="*/ 95111 h 548159"/>
              <a:gd name="connsiteX40" fmla="*/ 176207 w 609191"/>
              <a:gd name="connsiteY40" fmla="*/ 42141 h 548159"/>
              <a:gd name="connsiteX41" fmla="*/ 204199 w 609191"/>
              <a:gd name="connsiteY41" fmla="*/ 19019 h 548159"/>
              <a:gd name="connsiteX42" fmla="*/ 231431 w 609191"/>
              <a:gd name="connsiteY42" fmla="*/ 5184 h 548159"/>
              <a:gd name="connsiteX43" fmla="*/ 256102 w 609191"/>
              <a:gd name="connsiteY43" fmla="*/ 446 h 54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609191" h="548159">
                <a:moveTo>
                  <a:pt x="465730" y="360460"/>
                </a:moveTo>
                <a:lnTo>
                  <a:pt x="465730" y="404898"/>
                </a:lnTo>
                <a:lnTo>
                  <a:pt x="421230" y="404898"/>
                </a:lnTo>
                <a:lnTo>
                  <a:pt x="421230" y="439197"/>
                </a:lnTo>
                <a:lnTo>
                  <a:pt x="465730" y="439197"/>
                </a:lnTo>
                <a:lnTo>
                  <a:pt x="465730" y="483635"/>
                </a:lnTo>
                <a:lnTo>
                  <a:pt x="499982" y="483635"/>
                </a:lnTo>
                <a:lnTo>
                  <a:pt x="499982" y="439197"/>
                </a:lnTo>
                <a:lnTo>
                  <a:pt x="544577" y="439197"/>
                </a:lnTo>
                <a:lnTo>
                  <a:pt x="544577" y="404898"/>
                </a:lnTo>
                <a:lnTo>
                  <a:pt x="499982" y="404898"/>
                </a:lnTo>
                <a:lnTo>
                  <a:pt x="499982" y="360460"/>
                </a:lnTo>
                <a:close/>
                <a:moveTo>
                  <a:pt x="482809" y="295746"/>
                </a:moveTo>
                <a:cubicBezTo>
                  <a:pt x="552642" y="295746"/>
                  <a:pt x="609191" y="352217"/>
                  <a:pt x="609191" y="421953"/>
                </a:cubicBezTo>
                <a:cubicBezTo>
                  <a:pt x="609191" y="491688"/>
                  <a:pt x="552642" y="548159"/>
                  <a:pt x="482809" y="548159"/>
                </a:cubicBezTo>
                <a:cubicBezTo>
                  <a:pt x="413071" y="548159"/>
                  <a:pt x="356426" y="491688"/>
                  <a:pt x="356426" y="421953"/>
                </a:cubicBezTo>
                <a:cubicBezTo>
                  <a:pt x="356426" y="352217"/>
                  <a:pt x="412976" y="295746"/>
                  <a:pt x="482809" y="295746"/>
                </a:cubicBezTo>
                <a:close/>
                <a:moveTo>
                  <a:pt x="256102" y="446"/>
                </a:moveTo>
                <a:cubicBezTo>
                  <a:pt x="283050" y="-1828"/>
                  <a:pt x="303356" y="4900"/>
                  <a:pt x="318064" y="13618"/>
                </a:cubicBezTo>
                <a:cubicBezTo>
                  <a:pt x="339983" y="25747"/>
                  <a:pt x="348333" y="41667"/>
                  <a:pt x="348333" y="41667"/>
                </a:cubicBezTo>
                <a:cubicBezTo>
                  <a:pt x="348333" y="41667"/>
                  <a:pt x="398434" y="45173"/>
                  <a:pt x="381544" y="146945"/>
                </a:cubicBezTo>
                <a:cubicBezTo>
                  <a:pt x="380975" y="149978"/>
                  <a:pt x="380216" y="153105"/>
                  <a:pt x="379267" y="156232"/>
                </a:cubicBezTo>
                <a:cubicBezTo>
                  <a:pt x="388946" y="156232"/>
                  <a:pt x="398624" y="163623"/>
                  <a:pt x="388186" y="200485"/>
                </a:cubicBezTo>
                <a:cubicBezTo>
                  <a:pt x="380026" y="229292"/>
                  <a:pt x="372435" y="237251"/>
                  <a:pt x="366742" y="237725"/>
                </a:cubicBezTo>
                <a:cubicBezTo>
                  <a:pt x="364749" y="250802"/>
                  <a:pt x="359530" y="265206"/>
                  <a:pt x="351749" y="278851"/>
                </a:cubicBezTo>
                <a:lnTo>
                  <a:pt x="351749" y="322915"/>
                </a:lnTo>
                <a:cubicBezTo>
                  <a:pt x="330589" y="350584"/>
                  <a:pt x="317969" y="385077"/>
                  <a:pt x="317969" y="422507"/>
                </a:cubicBezTo>
                <a:cubicBezTo>
                  <a:pt x="317969" y="472920"/>
                  <a:pt x="340837" y="518120"/>
                  <a:pt x="376800" y="548159"/>
                </a:cubicBezTo>
                <a:lnTo>
                  <a:pt x="26853" y="548159"/>
                </a:lnTo>
                <a:cubicBezTo>
                  <a:pt x="12051" y="548159"/>
                  <a:pt x="0" y="536219"/>
                  <a:pt x="0" y="521437"/>
                </a:cubicBezTo>
                <a:lnTo>
                  <a:pt x="0" y="473867"/>
                </a:lnTo>
                <a:cubicBezTo>
                  <a:pt x="0" y="458137"/>
                  <a:pt x="7211" y="443070"/>
                  <a:pt x="19452" y="433120"/>
                </a:cubicBezTo>
                <a:cubicBezTo>
                  <a:pt x="86633" y="377970"/>
                  <a:pt x="159032" y="341487"/>
                  <a:pt x="173740" y="334286"/>
                </a:cubicBezTo>
                <a:cubicBezTo>
                  <a:pt x="175353" y="333528"/>
                  <a:pt x="176396" y="331917"/>
                  <a:pt x="176586" y="330021"/>
                </a:cubicBezTo>
                <a:lnTo>
                  <a:pt x="176586" y="278851"/>
                </a:lnTo>
                <a:cubicBezTo>
                  <a:pt x="168616" y="265206"/>
                  <a:pt x="163587" y="250802"/>
                  <a:pt x="161594" y="237725"/>
                </a:cubicBezTo>
                <a:cubicBezTo>
                  <a:pt x="155901" y="237251"/>
                  <a:pt x="148310" y="229197"/>
                  <a:pt x="140149" y="200485"/>
                </a:cubicBezTo>
                <a:cubicBezTo>
                  <a:pt x="129806" y="164192"/>
                  <a:pt x="139200" y="156516"/>
                  <a:pt x="148499" y="156232"/>
                </a:cubicBezTo>
                <a:cubicBezTo>
                  <a:pt x="147645" y="153105"/>
                  <a:pt x="146886" y="149978"/>
                  <a:pt x="146222" y="146756"/>
                </a:cubicBezTo>
                <a:cubicBezTo>
                  <a:pt x="142711" y="128467"/>
                  <a:pt x="141667" y="111410"/>
                  <a:pt x="146032" y="95111"/>
                </a:cubicBezTo>
                <a:cubicBezTo>
                  <a:pt x="151061" y="73222"/>
                  <a:pt x="162922" y="55691"/>
                  <a:pt x="176207" y="42141"/>
                </a:cubicBezTo>
                <a:cubicBezTo>
                  <a:pt x="184557" y="33233"/>
                  <a:pt x="194046" y="25463"/>
                  <a:pt x="204199" y="19019"/>
                </a:cubicBezTo>
                <a:cubicBezTo>
                  <a:pt x="212454" y="13334"/>
                  <a:pt x="221563" y="8406"/>
                  <a:pt x="231431" y="5184"/>
                </a:cubicBezTo>
                <a:cubicBezTo>
                  <a:pt x="239117" y="2626"/>
                  <a:pt x="247373" y="825"/>
                  <a:pt x="256102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8" name="椭圆 177">
            <a:extLst>
              <a:ext uri="{FF2B5EF4-FFF2-40B4-BE49-F238E27FC236}">
                <a16:creationId xmlns:a16="http://schemas.microsoft.com/office/drawing/2014/main" id="{A7630918-F166-49C7-895F-EB17D32CEF89}"/>
              </a:ext>
            </a:extLst>
          </p:cNvPr>
          <p:cNvSpPr/>
          <p:nvPr/>
        </p:nvSpPr>
        <p:spPr bwMode="auto">
          <a:xfrm>
            <a:off x="4879395" y="4421846"/>
            <a:ext cx="662327" cy="662327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>
              <a:cs typeface="+mn-ea"/>
              <a:sym typeface="+mn-lt"/>
            </a:endParaRPr>
          </a:p>
        </p:txBody>
      </p:sp>
      <p:sp>
        <p:nvSpPr>
          <p:cNvPr id="179" name="任意多边形: 形状 178">
            <a:extLst>
              <a:ext uri="{FF2B5EF4-FFF2-40B4-BE49-F238E27FC236}">
                <a16:creationId xmlns:a16="http://schemas.microsoft.com/office/drawing/2014/main" id="{F01ECB90-529F-4788-87E3-A9233DCA1DB7}"/>
              </a:ext>
            </a:extLst>
          </p:cNvPr>
          <p:cNvSpPr/>
          <p:nvPr/>
        </p:nvSpPr>
        <p:spPr bwMode="auto">
          <a:xfrm>
            <a:off x="5074559" y="4590563"/>
            <a:ext cx="271997" cy="324893"/>
          </a:xfrm>
          <a:custGeom>
            <a:avLst/>
            <a:gdLst>
              <a:gd name="connsiteX0" fmla="*/ 30586 w 505505"/>
              <a:gd name="connsiteY0" fmla="*/ 63923 h 603811"/>
              <a:gd name="connsiteX1" fmla="*/ 42958 w 505505"/>
              <a:gd name="connsiteY1" fmla="*/ 67683 h 603811"/>
              <a:gd name="connsiteX2" fmla="*/ 190890 w 505505"/>
              <a:gd name="connsiteY2" fmla="*/ 173512 h 603811"/>
              <a:gd name="connsiteX3" fmla="*/ 192504 w 505505"/>
              <a:gd name="connsiteY3" fmla="*/ 173512 h 603811"/>
              <a:gd name="connsiteX4" fmla="*/ 313001 w 505505"/>
              <a:gd name="connsiteY4" fmla="*/ 173512 h 603811"/>
              <a:gd name="connsiteX5" fmla="*/ 314615 w 505505"/>
              <a:gd name="connsiteY5" fmla="*/ 173512 h 603811"/>
              <a:gd name="connsiteX6" fmla="*/ 462547 w 505505"/>
              <a:gd name="connsiteY6" fmla="*/ 67683 h 603811"/>
              <a:gd name="connsiteX7" fmla="*/ 474919 w 505505"/>
              <a:gd name="connsiteY7" fmla="*/ 63923 h 603811"/>
              <a:gd name="connsiteX8" fmla="*/ 492133 w 505505"/>
              <a:gd name="connsiteY8" fmla="*/ 73055 h 603811"/>
              <a:gd name="connsiteX9" fmla="*/ 501816 w 505505"/>
              <a:gd name="connsiteY9" fmla="*/ 86486 h 603811"/>
              <a:gd name="connsiteX10" fmla="*/ 496437 w 505505"/>
              <a:gd name="connsiteY10" fmla="*/ 116032 h 603811"/>
              <a:gd name="connsiteX11" fmla="*/ 334519 w 505505"/>
              <a:gd name="connsiteY11" fmla="*/ 232067 h 603811"/>
              <a:gd name="connsiteX12" fmla="*/ 334519 w 505505"/>
              <a:gd name="connsiteY12" fmla="*/ 383558 h 603811"/>
              <a:gd name="connsiteX13" fmla="*/ 386160 w 505505"/>
              <a:gd name="connsiteY13" fmla="*/ 391079 h 603811"/>
              <a:gd name="connsiteX14" fmla="*/ 410905 w 505505"/>
              <a:gd name="connsiteY14" fmla="*/ 419551 h 603811"/>
              <a:gd name="connsiteX15" fmla="*/ 412519 w 505505"/>
              <a:gd name="connsiteY15" fmla="*/ 578025 h 603811"/>
              <a:gd name="connsiteX16" fmla="*/ 405526 w 505505"/>
              <a:gd name="connsiteY16" fmla="*/ 596290 h 603811"/>
              <a:gd name="connsiteX17" fmla="*/ 387236 w 505505"/>
              <a:gd name="connsiteY17" fmla="*/ 603811 h 603811"/>
              <a:gd name="connsiteX18" fmla="*/ 370022 w 505505"/>
              <a:gd name="connsiteY18" fmla="*/ 603811 h 603811"/>
              <a:gd name="connsiteX19" fmla="*/ 344201 w 505505"/>
              <a:gd name="connsiteY19" fmla="*/ 578025 h 603811"/>
              <a:gd name="connsiteX20" fmla="*/ 344201 w 505505"/>
              <a:gd name="connsiteY20" fmla="*/ 475957 h 603811"/>
              <a:gd name="connsiteX21" fmla="*/ 331291 w 505505"/>
              <a:gd name="connsiteY21" fmla="*/ 460378 h 603811"/>
              <a:gd name="connsiteX22" fmla="*/ 252753 w 505505"/>
              <a:gd name="connsiteY22" fmla="*/ 444799 h 603811"/>
              <a:gd name="connsiteX23" fmla="*/ 174214 w 505505"/>
              <a:gd name="connsiteY23" fmla="*/ 460378 h 603811"/>
              <a:gd name="connsiteX24" fmla="*/ 161304 w 505505"/>
              <a:gd name="connsiteY24" fmla="*/ 475957 h 603811"/>
              <a:gd name="connsiteX25" fmla="*/ 161304 w 505505"/>
              <a:gd name="connsiteY25" fmla="*/ 578025 h 603811"/>
              <a:gd name="connsiteX26" fmla="*/ 135483 w 505505"/>
              <a:gd name="connsiteY26" fmla="*/ 603811 h 603811"/>
              <a:gd name="connsiteX27" fmla="*/ 118269 w 505505"/>
              <a:gd name="connsiteY27" fmla="*/ 603811 h 603811"/>
              <a:gd name="connsiteX28" fmla="*/ 99979 w 505505"/>
              <a:gd name="connsiteY28" fmla="*/ 596290 h 603811"/>
              <a:gd name="connsiteX29" fmla="*/ 92448 w 505505"/>
              <a:gd name="connsiteY29" fmla="*/ 578025 h 603811"/>
              <a:gd name="connsiteX30" fmla="*/ 94600 w 505505"/>
              <a:gd name="connsiteY30" fmla="*/ 419551 h 603811"/>
              <a:gd name="connsiteX31" fmla="*/ 119345 w 505505"/>
              <a:gd name="connsiteY31" fmla="*/ 391079 h 603811"/>
              <a:gd name="connsiteX32" fmla="*/ 170986 w 505505"/>
              <a:gd name="connsiteY32" fmla="*/ 383558 h 603811"/>
              <a:gd name="connsiteX33" fmla="*/ 170986 w 505505"/>
              <a:gd name="connsiteY33" fmla="*/ 232067 h 603811"/>
              <a:gd name="connsiteX34" fmla="*/ 9068 w 505505"/>
              <a:gd name="connsiteY34" fmla="*/ 116032 h 603811"/>
              <a:gd name="connsiteX35" fmla="*/ 3689 w 505505"/>
              <a:gd name="connsiteY35" fmla="*/ 86486 h 603811"/>
              <a:gd name="connsiteX36" fmla="*/ 12834 w 505505"/>
              <a:gd name="connsiteY36" fmla="*/ 73055 h 603811"/>
              <a:gd name="connsiteX37" fmla="*/ 30586 w 505505"/>
              <a:gd name="connsiteY37" fmla="*/ 63923 h 603811"/>
              <a:gd name="connsiteX38" fmla="*/ 252450 w 505505"/>
              <a:gd name="connsiteY38" fmla="*/ 0 h 603811"/>
              <a:gd name="connsiteX39" fmla="*/ 330151 w 505505"/>
              <a:gd name="connsiteY39" fmla="*/ 77615 h 603811"/>
              <a:gd name="connsiteX40" fmla="*/ 252450 w 505505"/>
              <a:gd name="connsiteY40" fmla="*/ 155230 h 603811"/>
              <a:gd name="connsiteX41" fmla="*/ 174749 w 505505"/>
              <a:gd name="connsiteY41" fmla="*/ 77615 h 603811"/>
              <a:gd name="connsiteX42" fmla="*/ 252450 w 505505"/>
              <a:gd name="connsiteY42" fmla="*/ 0 h 603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05505" h="603811">
                <a:moveTo>
                  <a:pt x="30586" y="63923"/>
                </a:moveTo>
                <a:cubicBezTo>
                  <a:pt x="34889" y="63923"/>
                  <a:pt x="39193" y="64997"/>
                  <a:pt x="42958" y="67683"/>
                </a:cubicBezTo>
                <a:lnTo>
                  <a:pt x="190890" y="173512"/>
                </a:lnTo>
                <a:cubicBezTo>
                  <a:pt x="191428" y="173512"/>
                  <a:pt x="191966" y="173512"/>
                  <a:pt x="192504" y="173512"/>
                </a:cubicBezTo>
                <a:lnTo>
                  <a:pt x="313001" y="173512"/>
                </a:lnTo>
                <a:cubicBezTo>
                  <a:pt x="313539" y="173512"/>
                  <a:pt x="314077" y="173512"/>
                  <a:pt x="314615" y="173512"/>
                </a:cubicBezTo>
                <a:lnTo>
                  <a:pt x="462547" y="67683"/>
                </a:lnTo>
                <a:cubicBezTo>
                  <a:pt x="466312" y="64997"/>
                  <a:pt x="470616" y="63923"/>
                  <a:pt x="474919" y="63923"/>
                </a:cubicBezTo>
                <a:cubicBezTo>
                  <a:pt x="481912" y="63923"/>
                  <a:pt x="488368" y="67146"/>
                  <a:pt x="492133" y="73055"/>
                </a:cubicBezTo>
                <a:lnTo>
                  <a:pt x="501816" y="86486"/>
                </a:lnTo>
                <a:cubicBezTo>
                  <a:pt x="508271" y="96155"/>
                  <a:pt x="506119" y="109585"/>
                  <a:pt x="496437" y="116032"/>
                </a:cubicBezTo>
                <a:lnTo>
                  <a:pt x="334519" y="232067"/>
                </a:lnTo>
                <a:lnTo>
                  <a:pt x="334519" y="383558"/>
                </a:lnTo>
                <a:lnTo>
                  <a:pt x="386160" y="391079"/>
                </a:lnTo>
                <a:cubicBezTo>
                  <a:pt x="400146" y="393228"/>
                  <a:pt x="410905" y="405584"/>
                  <a:pt x="410905" y="419551"/>
                </a:cubicBezTo>
                <a:lnTo>
                  <a:pt x="412519" y="578025"/>
                </a:lnTo>
                <a:cubicBezTo>
                  <a:pt x="412519" y="584472"/>
                  <a:pt x="410367" y="591455"/>
                  <a:pt x="405526" y="596290"/>
                </a:cubicBezTo>
                <a:cubicBezTo>
                  <a:pt x="400684" y="601125"/>
                  <a:pt x="394229" y="603811"/>
                  <a:pt x="387236" y="603811"/>
                </a:cubicBezTo>
                <a:lnTo>
                  <a:pt x="370022" y="603811"/>
                </a:lnTo>
                <a:cubicBezTo>
                  <a:pt x="355498" y="603811"/>
                  <a:pt x="344201" y="591993"/>
                  <a:pt x="344201" y="578025"/>
                </a:cubicBezTo>
                <a:lnTo>
                  <a:pt x="344201" y="475957"/>
                </a:lnTo>
                <a:cubicBezTo>
                  <a:pt x="344201" y="468973"/>
                  <a:pt x="338284" y="461990"/>
                  <a:pt x="331291" y="460378"/>
                </a:cubicBezTo>
                <a:lnTo>
                  <a:pt x="252753" y="444799"/>
                </a:lnTo>
                <a:lnTo>
                  <a:pt x="174214" y="460378"/>
                </a:lnTo>
                <a:cubicBezTo>
                  <a:pt x="167221" y="461990"/>
                  <a:pt x="161304" y="468973"/>
                  <a:pt x="161304" y="475957"/>
                </a:cubicBezTo>
                <a:lnTo>
                  <a:pt x="161304" y="578025"/>
                </a:lnTo>
                <a:cubicBezTo>
                  <a:pt x="161304" y="591993"/>
                  <a:pt x="150007" y="603811"/>
                  <a:pt x="135483" y="603811"/>
                </a:cubicBezTo>
                <a:lnTo>
                  <a:pt x="118269" y="603811"/>
                </a:lnTo>
                <a:cubicBezTo>
                  <a:pt x="111276" y="603811"/>
                  <a:pt x="104821" y="601125"/>
                  <a:pt x="99979" y="596290"/>
                </a:cubicBezTo>
                <a:cubicBezTo>
                  <a:pt x="95138" y="591455"/>
                  <a:pt x="92448" y="584472"/>
                  <a:pt x="92448" y="578025"/>
                </a:cubicBezTo>
                <a:lnTo>
                  <a:pt x="94600" y="419551"/>
                </a:lnTo>
                <a:cubicBezTo>
                  <a:pt x="94600" y="405584"/>
                  <a:pt x="105359" y="393228"/>
                  <a:pt x="119345" y="391079"/>
                </a:cubicBezTo>
                <a:lnTo>
                  <a:pt x="170986" y="383558"/>
                </a:lnTo>
                <a:lnTo>
                  <a:pt x="170986" y="232067"/>
                </a:lnTo>
                <a:lnTo>
                  <a:pt x="9068" y="116032"/>
                </a:lnTo>
                <a:cubicBezTo>
                  <a:pt x="-614" y="109585"/>
                  <a:pt x="-2766" y="96155"/>
                  <a:pt x="3689" y="86486"/>
                </a:cubicBezTo>
                <a:lnTo>
                  <a:pt x="12834" y="73055"/>
                </a:lnTo>
                <a:cubicBezTo>
                  <a:pt x="17137" y="67146"/>
                  <a:pt x="23593" y="63923"/>
                  <a:pt x="30586" y="63923"/>
                </a:cubicBezTo>
                <a:close/>
                <a:moveTo>
                  <a:pt x="252450" y="0"/>
                </a:moveTo>
                <a:cubicBezTo>
                  <a:pt x="295363" y="0"/>
                  <a:pt x="330151" y="34749"/>
                  <a:pt x="330151" y="77615"/>
                </a:cubicBezTo>
                <a:cubicBezTo>
                  <a:pt x="330151" y="120481"/>
                  <a:pt x="295363" y="155230"/>
                  <a:pt x="252450" y="155230"/>
                </a:cubicBezTo>
                <a:cubicBezTo>
                  <a:pt x="209537" y="155230"/>
                  <a:pt x="174749" y="120481"/>
                  <a:pt x="174749" y="77615"/>
                </a:cubicBezTo>
                <a:cubicBezTo>
                  <a:pt x="174749" y="34749"/>
                  <a:pt x="209537" y="0"/>
                  <a:pt x="25245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6" name="文本框 175">
            <a:extLst>
              <a:ext uri="{FF2B5EF4-FFF2-40B4-BE49-F238E27FC236}">
                <a16:creationId xmlns:a16="http://schemas.microsoft.com/office/drawing/2014/main" id="{05B9013F-63DF-4DA2-86BE-995C82E5A202}"/>
              </a:ext>
            </a:extLst>
          </p:cNvPr>
          <p:cNvSpPr txBox="1"/>
          <p:nvPr/>
        </p:nvSpPr>
        <p:spPr bwMode="auto">
          <a:xfrm>
            <a:off x="3381640" y="5343604"/>
            <a:ext cx="3844137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三好班级</a:t>
            </a: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E2106DDA-5E21-41BA-B2E8-239983C5F6A0}"/>
              </a:ext>
            </a:extLst>
          </p:cNvPr>
          <p:cNvSpPr/>
          <p:nvPr/>
        </p:nvSpPr>
        <p:spPr bwMode="auto">
          <a:xfrm>
            <a:off x="3381640" y="5731203"/>
            <a:ext cx="3844137" cy="319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74" name="文本框 173">
            <a:extLst>
              <a:ext uri="{FF2B5EF4-FFF2-40B4-BE49-F238E27FC236}">
                <a16:creationId xmlns:a16="http://schemas.microsoft.com/office/drawing/2014/main" id="{06989862-B7ED-4C45-8AC3-4D1D63592A55}"/>
              </a:ext>
            </a:extLst>
          </p:cNvPr>
          <p:cNvSpPr txBox="1"/>
          <p:nvPr/>
        </p:nvSpPr>
        <p:spPr bwMode="auto">
          <a:xfrm>
            <a:off x="5541722" y="4768134"/>
            <a:ext cx="3844137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0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体操二等奖</a:t>
            </a:r>
          </a:p>
        </p:txBody>
      </p:sp>
      <p:sp>
        <p:nvSpPr>
          <p:cNvPr id="175" name="矩形 174">
            <a:extLst>
              <a:ext uri="{FF2B5EF4-FFF2-40B4-BE49-F238E27FC236}">
                <a16:creationId xmlns:a16="http://schemas.microsoft.com/office/drawing/2014/main" id="{9A691399-F024-4B82-AA96-F27DD24268EB}"/>
              </a:ext>
            </a:extLst>
          </p:cNvPr>
          <p:cNvSpPr/>
          <p:nvPr/>
        </p:nvSpPr>
        <p:spPr bwMode="auto">
          <a:xfrm>
            <a:off x="5541722" y="5155733"/>
            <a:ext cx="3844137" cy="319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72" name="文本框 171">
            <a:extLst>
              <a:ext uri="{FF2B5EF4-FFF2-40B4-BE49-F238E27FC236}">
                <a16:creationId xmlns:a16="http://schemas.microsoft.com/office/drawing/2014/main" id="{762E6286-894E-4975-AD5D-BD9020D19EE5}"/>
              </a:ext>
            </a:extLst>
          </p:cNvPr>
          <p:cNvSpPr txBox="1"/>
          <p:nvPr/>
        </p:nvSpPr>
        <p:spPr bwMode="auto">
          <a:xfrm>
            <a:off x="7674763" y="4003599"/>
            <a:ext cx="3844137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A</a:t>
            </a:r>
            <a:r>
              <a:rPr lang="zh-CN" altLang="en-US" sz="20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班优秀奖</a:t>
            </a:r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839A5D19-EF4B-47E3-97DA-1AB4CAB9D4E8}"/>
              </a:ext>
            </a:extLst>
          </p:cNvPr>
          <p:cNvSpPr/>
          <p:nvPr/>
        </p:nvSpPr>
        <p:spPr bwMode="auto">
          <a:xfrm>
            <a:off x="7674763" y="4391198"/>
            <a:ext cx="3844137" cy="319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cxnSp>
        <p:nvCxnSpPr>
          <p:cNvPr id="170" name="直接连接符 169">
            <a:extLst>
              <a:ext uri="{FF2B5EF4-FFF2-40B4-BE49-F238E27FC236}">
                <a16:creationId xmlns:a16="http://schemas.microsoft.com/office/drawing/2014/main" id="{B59B2CE7-768B-4DF9-872F-E1AB4E1E6D74}"/>
              </a:ext>
            </a:extLst>
          </p:cNvPr>
          <p:cNvCxnSpPr/>
          <p:nvPr/>
        </p:nvCxnSpPr>
        <p:spPr>
          <a:xfrm>
            <a:off x="7777018" y="4729298"/>
            <a:ext cx="374347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直接连接符 170">
            <a:extLst>
              <a:ext uri="{FF2B5EF4-FFF2-40B4-BE49-F238E27FC236}">
                <a16:creationId xmlns:a16="http://schemas.microsoft.com/office/drawing/2014/main" id="{7DA720B8-DDEC-46B3-9C36-AD8AA11CF605}"/>
              </a:ext>
            </a:extLst>
          </p:cNvPr>
          <p:cNvCxnSpPr/>
          <p:nvPr/>
        </p:nvCxnSpPr>
        <p:spPr>
          <a:xfrm>
            <a:off x="5634181" y="5493833"/>
            <a:ext cx="588471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5686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A44525-39A2-4797-8595-CA6DDAEE7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成功项目展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88C19F19-07EC-44EE-A98A-3037A893A3EB}"/>
              </a:ext>
            </a:extLst>
          </p:cNvPr>
          <p:cNvGrpSpPr/>
          <p:nvPr/>
        </p:nvGrpSpPr>
        <p:grpSpPr>
          <a:xfrm>
            <a:off x="4586963" y="2439061"/>
            <a:ext cx="3018074" cy="2819400"/>
            <a:chOff x="4586963" y="2222500"/>
            <a:chExt cx="3018074" cy="2819400"/>
          </a:xfrm>
        </p:grpSpPr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1843D40-F883-4210-A981-24D4DBC83E59}"/>
                </a:ext>
              </a:extLst>
            </p:cNvPr>
            <p:cNvSpPr/>
            <p:nvPr/>
          </p:nvSpPr>
          <p:spPr bwMode="auto">
            <a:xfrm>
              <a:off x="5362663" y="2222500"/>
              <a:ext cx="1465213" cy="1415543"/>
            </a:xfrm>
            <a:custGeom>
              <a:avLst/>
              <a:gdLst>
                <a:gd name="T0" fmla="*/ 119 w 238"/>
                <a:gd name="T1" fmla="*/ 72 h 230"/>
                <a:gd name="T2" fmla="*/ 171 w 238"/>
                <a:gd name="T3" fmla="*/ 162 h 230"/>
                <a:gd name="T4" fmla="*/ 146 w 238"/>
                <a:gd name="T5" fmla="*/ 176 h 230"/>
                <a:gd name="T6" fmla="*/ 192 w 238"/>
                <a:gd name="T7" fmla="*/ 203 h 230"/>
                <a:gd name="T8" fmla="*/ 238 w 238"/>
                <a:gd name="T9" fmla="*/ 230 h 230"/>
                <a:gd name="T10" fmla="*/ 238 w 238"/>
                <a:gd name="T11" fmla="*/ 176 h 230"/>
                <a:gd name="T12" fmla="*/ 238 w 238"/>
                <a:gd name="T13" fmla="*/ 123 h 230"/>
                <a:gd name="T14" fmla="*/ 213 w 238"/>
                <a:gd name="T15" fmla="*/ 138 h 230"/>
                <a:gd name="T16" fmla="*/ 140 w 238"/>
                <a:gd name="T17" fmla="*/ 12 h 230"/>
                <a:gd name="T18" fmla="*/ 119 w 238"/>
                <a:gd name="T19" fmla="*/ 0 h 230"/>
                <a:gd name="T20" fmla="*/ 119 w 238"/>
                <a:gd name="T21" fmla="*/ 0 h 230"/>
                <a:gd name="T22" fmla="*/ 98 w 238"/>
                <a:gd name="T23" fmla="*/ 12 h 230"/>
                <a:gd name="T24" fmla="*/ 0 w 238"/>
                <a:gd name="T25" fmla="*/ 183 h 230"/>
                <a:gd name="T26" fmla="*/ 42 w 238"/>
                <a:gd name="T27" fmla="*/ 207 h 230"/>
                <a:gd name="T28" fmla="*/ 119 w 238"/>
                <a:gd name="T29" fmla="*/ 7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8" h="230">
                  <a:moveTo>
                    <a:pt x="119" y="72"/>
                  </a:moveTo>
                  <a:cubicBezTo>
                    <a:pt x="171" y="162"/>
                    <a:pt x="171" y="162"/>
                    <a:pt x="171" y="162"/>
                  </a:cubicBezTo>
                  <a:cubicBezTo>
                    <a:pt x="146" y="176"/>
                    <a:pt x="146" y="176"/>
                    <a:pt x="146" y="176"/>
                  </a:cubicBezTo>
                  <a:cubicBezTo>
                    <a:pt x="192" y="203"/>
                    <a:pt x="192" y="203"/>
                    <a:pt x="192" y="203"/>
                  </a:cubicBezTo>
                  <a:cubicBezTo>
                    <a:pt x="238" y="230"/>
                    <a:pt x="238" y="230"/>
                    <a:pt x="238" y="230"/>
                  </a:cubicBezTo>
                  <a:cubicBezTo>
                    <a:pt x="238" y="176"/>
                    <a:pt x="238" y="176"/>
                    <a:pt x="238" y="176"/>
                  </a:cubicBezTo>
                  <a:cubicBezTo>
                    <a:pt x="238" y="123"/>
                    <a:pt x="238" y="123"/>
                    <a:pt x="238" y="123"/>
                  </a:cubicBezTo>
                  <a:cubicBezTo>
                    <a:pt x="213" y="138"/>
                    <a:pt x="213" y="138"/>
                    <a:pt x="213" y="138"/>
                  </a:cubicBezTo>
                  <a:cubicBezTo>
                    <a:pt x="140" y="12"/>
                    <a:pt x="140" y="12"/>
                    <a:pt x="140" y="12"/>
                  </a:cubicBezTo>
                  <a:cubicBezTo>
                    <a:pt x="136" y="5"/>
                    <a:pt x="128" y="0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1" y="0"/>
                    <a:pt x="103" y="5"/>
                    <a:pt x="98" y="12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42" y="207"/>
                    <a:pt x="42" y="207"/>
                    <a:pt x="42" y="207"/>
                  </a:cubicBezTo>
                  <a:lnTo>
                    <a:pt x="119" y="7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0CC9AD4-0CBD-4319-A419-4CD774A1CA24}"/>
                </a:ext>
              </a:extLst>
            </p:cNvPr>
            <p:cNvSpPr/>
            <p:nvPr/>
          </p:nvSpPr>
          <p:spPr bwMode="auto">
            <a:xfrm>
              <a:off x="4586963" y="3448135"/>
              <a:ext cx="1367336" cy="1409700"/>
            </a:xfrm>
            <a:custGeom>
              <a:avLst/>
              <a:gdLst>
                <a:gd name="T0" fmla="*/ 118 w 222"/>
                <a:gd name="T1" fmla="*/ 92 h 229"/>
                <a:gd name="T2" fmla="*/ 144 w 222"/>
                <a:gd name="T3" fmla="*/ 106 h 229"/>
                <a:gd name="T4" fmla="*/ 144 w 222"/>
                <a:gd name="T5" fmla="*/ 53 h 229"/>
                <a:gd name="T6" fmla="*/ 144 w 222"/>
                <a:gd name="T7" fmla="*/ 0 h 229"/>
                <a:gd name="T8" fmla="*/ 97 w 222"/>
                <a:gd name="T9" fmla="*/ 26 h 229"/>
                <a:gd name="T10" fmla="*/ 51 w 222"/>
                <a:gd name="T11" fmla="*/ 53 h 229"/>
                <a:gd name="T12" fmla="*/ 77 w 222"/>
                <a:gd name="T13" fmla="*/ 67 h 229"/>
                <a:gd name="T14" fmla="*/ 4 w 222"/>
                <a:gd name="T15" fmla="*/ 193 h 229"/>
                <a:gd name="T16" fmla="*/ 4 w 222"/>
                <a:gd name="T17" fmla="*/ 217 h 229"/>
                <a:gd name="T18" fmla="*/ 25 w 222"/>
                <a:gd name="T19" fmla="*/ 229 h 229"/>
                <a:gd name="T20" fmla="*/ 222 w 222"/>
                <a:gd name="T21" fmla="*/ 229 h 229"/>
                <a:gd name="T22" fmla="*/ 222 w 222"/>
                <a:gd name="T23" fmla="*/ 181 h 229"/>
                <a:gd name="T24" fmla="*/ 67 w 222"/>
                <a:gd name="T25" fmla="*/ 181 h 229"/>
                <a:gd name="T26" fmla="*/ 118 w 222"/>
                <a:gd name="T27" fmla="*/ 9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2" h="229">
                  <a:moveTo>
                    <a:pt x="118" y="92"/>
                  </a:moveTo>
                  <a:cubicBezTo>
                    <a:pt x="144" y="106"/>
                    <a:pt x="144" y="106"/>
                    <a:pt x="144" y="106"/>
                  </a:cubicBezTo>
                  <a:cubicBezTo>
                    <a:pt x="144" y="53"/>
                    <a:pt x="144" y="53"/>
                    <a:pt x="144" y="53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77" y="67"/>
                    <a:pt x="77" y="67"/>
                    <a:pt x="77" y="67"/>
                  </a:cubicBezTo>
                  <a:cubicBezTo>
                    <a:pt x="4" y="193"/>
                    <a:pt x="4" y="193"/>
                    <a:pt x="4" y="193"/>
                  </a:cubicBezTo>
                  <a:cubicBezTo>
                    <a:pt x="0" y="200"/>
                    <a:pt x="0" y="210"/>
                    <a:pt x="4" y="217"/>
                  </a:cubicBezTo>
                  <a:cubicBezTo>
                    <a:pt x="8" y="225"/>
                    <a:pt x="16" y="229"/>
                    <a:pt x="25" y="229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2" y="181"/>
                    <a:pt x="222" y="181"/>
                    <a:pt x="222" y="181"/>
                  </a:cubicBezTo>
                  <a:cubicBezTo>
                    <a:pt x="67" y="181"/>
                    <a:pt x="67" y="181"/>
                    <a:pt x="67" y="181"/>
                  </a:cubicBezTo>
                  <a:lnTo>
                    <a:pt x="118" y="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D92C8066-5B8A-4210-9E0C-2D96F4DAA8B4}"/>
                </a:ext>
              </a:extLst>
            </p:cNvPr>
            <p:cNvSpPr/>
            <p:nvPr/>
          </p:nvSpPr>
          <p:spPr bwMode="auto">
            <a:xfrm>
              <a:off x="5990820" y="3588375"/>
              <a:ext cx="1614217" cy="1453525"/>
            </a:xfrm>
            <a:custGeom>
              <a:avLst/>
              <a:gdLst>
                <a:gd name="T0" fmla="*/ 160 w 262"/>
                <a:gd name="T1" fmla="*/ 0 h 236"/>
                <a:gd name="T2" fmla="*/ 118 w 262"/>
                <a:gd name="T3" fmla="*/ 24 h 236"/>
                <a:gd name="T4" fmla="*/ 195 w 262"/>
                <a:gd name="T5" fmla="*/ 159 h 236"/>
                <a:gd name="T6" fmla="*/ 92 w 262"/>
                <a:gd name="T7" fmla="*/ 159 h 236"/>
                <a:gd name="T8" fmla="*/ 92 w 262"/>
                <a:gd name="T9" fmla="*/ 130 h 236"/>
                <a:gd name="T10" fmla="*/ 46 w 262"/>
                <a:gd name="T11" fmla="*/ 156 h 236"/>
                <a:gd name="T12" fmla="*/ 0 w 262"/>
                <a:gd name="T13" fmla="*/ 183 h 236"/>
                <a:gd name="T14" fmla="*/ 46 w 262"/>
                <a:gd name="T15" fmla="*/ 209 h 236"/>
                <a:gd name="T16" fmla="*/ 92 w 262"/>
                <a:gd name="T17" fmla="*/ 236 h 236"/>
                <a:gd name="T18" fmla="*/ 92 w 262"/>
                <a:gd name="T19" fmla="*/ 207 h 236"/>
                <a:gd name="T20" fmla="*/ 237 w 262"/>
                <a:gd name="T21" fmla="*/ 207 h 236"/>
                <a:gd name="T22" fmla="*/ 237 w 262"/>
                <a:gd name="T23" fmla="*/ 207 h 236"/>
                <a:gd name="T24" fmla="*/ 258 w 262"/>
                <a:gd name="T25" fmla="*/ 195 h 236"/>
                <a:gd name="T26" fmla="*/ 258 w 262"/>
                <a:gd name="T27" fmla="*/ 171 h 236"/>
                <a:gd name="T28" fmla="*/ 160 w 262"/>
                <a:gd name="T2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" h="236">
                  <a:moveTo>
                    <a:pt x="160" y="0"/>
                  </a:moveTo>
                  <a:cubicBezTo>
                    <a:pt x="118" y="24"/>
                    <a:pt x="118" y="24"/>
                    <a:pt x="118" y="24"/>
                  </a:cubicBezTo>
                  <a:cubicBezTo>
                    <a:pt x="195" y="159"/>
                    <a:pt x="195" y="159"/>
                    <a:pt x="195" y="159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30"/>
                    <a:pt x="92" y="130"/>
                    <a:pt x="92" y="130"/>
                  </a:cubicBezTo>
                  <a:cubicBezTo>
                    <a:pt x="46" y="156"/>
                    <a:pt x="46" y="156"/>
                    <a:pt x="46" y="156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46" y="209"/>
                    <a:pt x="46" y="209"/>
                    <a:pt x="46" y="209"/>
                  </a:cubicBezTo>
                  <a:cubicBezTo>
                    <a:pt x="92" y="236"/>
                    <a:pt x="92" y="236"/>
                    <a:pt x="92" y="236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237" y="207"/>
                    <a:pt x="237" y="207"/>
                    <a:pt x="237" y="207"/>
                  </a:cubicBezTo>
                  <a:cubicBezTo>
                    <a:pt x="237" y="207"/>
                    <a:pt x="237" y="207"/>
                    <a:pt x="237" y="207"/>
                  </a:cubicBezTo>
                  <a:cubicBezTo>
                    <a:pt x="246" y="207"/>
                    <a:pt x="254" y="202"/>
                    <a:pt x="258" y="195"/>
                  </a:cubicBezTo>
                  <a:cubicBezTo>
                    <a:pt x="262" y="187"/>
                    <a:pt x="262" y="178"/>
                    <a:pt x="258" y="171"/>
                  </a:cubicBezTo>
                  <a:lnTo>
                    <a:pt x="16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9" name="文本框 48">
            <a:extLst>
              <a:ext uri="{FF2B5EF4-FFF2-40B4-BE49-F238E27FC236}">
                <a16:creationId xmlns:a16="http://schemas.microsoft.com/office/drawing/2014/main" id="{9A52AF94-CE3A-458E-842C-B743B411045F}"/>
              </a:ext>
            </a:extLst>
          </p:cNvPr>
          <p:cNvSpPr txBox="1"/>
          <p:nvPr/>
        </p:nvSpPr>
        <p:spPr bwMode="auto">
          <a:xfrm>
            <a:off x="4911489" y="3739428"/>
            <a:ext cx="2369022" cy="56653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Text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33ABDA40-D0C2-418D-935E-9C6574C34E77}"/>
              </a:ext>
            </a:extLst>
          </p:cNvPr>
          <p:cNvSpPr txBox="1"/>
          <p:nvPr/>
        </p:nvSpPr>
        <p:spPr bwMode="auto">
          <a:xfrm>
            <a:off x="673099" y="3864157"/>
            <a:ext cx="358933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sz="24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三好班级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00A69A59-D343-4E66-A0A5-7A1EFAEADBDB}"/>
              </a:ext>
            </a:extLst>
          </p:cNvPr>
          <p:cNvSpPr/>
          <p:nvPr/>
        </p:nvSpPr>
        <p:spPr bwMode="auto">
          <a:xfrm>
            <a:off x="673099" y="4305963"/>
            <a:ext cx="3589337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Copy paste fonts. Choose the only option to retain text.</a:t>
            </a:r>
          </a:p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……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BDE5C9A7-22D6-4A86-81B2-A778AF5AA45B}"/>
              </a:ext>
            </a:extLst>
          </p:cNvPr>
          <p:cNvSpPr txBox="1"/>
          <p:nvPr/>
        </p:nvSpPr>
        <p:spPr bwMode="auto">
          <a:xfrm>
            <a:off x="7778749" y="3864157"/>
            <a:ext cx="358933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sz="24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优秀干部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605EC5FD-99EB-439E-98B0-2F2D7F907E8D}"/>
              </a:ext>
            </a:extLst>
          </p:cNvPr>
          <p:cNvSpPr/>
          <p:nvPr/>
        </p:nvSpPr>
        <p:spPr bwMode="auto">
          <a:xfrm>
            <a:off x="7778749" y="4305963"/>
            <a:ext cx="3589337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Copy paste fonts. Choose the only option to retain text.</a:t>
            </a:r>
          </a:p>
          <a:p>
            <a:pPr marL="171450" marR="0" lvl="0" indent="-17145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……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CF804CF4-5D50-4963-BE3E-3E841615709F}"/>
              </a:ext>
            </a:extLst>
          </p:cNvPr>
          <p:cNvSpPr txBox="1"/>
          <p:nvPr/>
        </p:nvSpPr>
        <p:spPr bwMode="auto">
          <a:xfrm>
            <a:off x="673099" y="1130300"/>
            <a:ext cx="1084580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A</a:t>
            </a:r>
            <a:r>
              <a:rPr lang="zh-CN" altLang="en-US" sz="2400" b="1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班优秀奖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F6C4F99B-AEEE-47FE-B155-F5D2B259AED6}"/>
              </a:ext>
            </a:extLst>
          </p:cNvPr>
          <p:cNvSpPr/>
          <p:nvPr/>
        </p:nvSpPr>
        <p:spPr bwMode="auto">
          <a:xfrm>
            <a:off x="673099" y="1572106"/>
            <a:ext cx="10845800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Copy paste fonts. Choose the only option to retain text.</a:t>
            </a:r>
          </a:p>
          <a:p>
            <a:pPr marL="0" marR="0" lvl="0" indent="0" algn="ct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1304892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2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明年工作计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277604" y="369765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7813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明年工作计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7F877AAF-68BD-460F-A187-2382416EF8DD}"/>
              </a:ext>
            </a:extLst>
          </p:cNvPr>
          <p:cNvSpPr/>
          <p:nvPr/>
        </p:nvSpPr>
        <p:spPr bwMode="auto">
          <a:xfrm>
            <a:off x="8290133" y="1929525"/>
            <a:ext cx="2181673" cy="2178775"/>
          </a:xfrm>
          <a:custGeom>
            <a:avLst/>
            <a:gdLst>
              <a:gd name="T0" fmla="*/ 385 w 682"/>
              <a:gd name="T1" fmla="*/ 638 h 680"/>
              <a:gd name="T2" fmla="*/ 425 w 682"/>
              <a:gd name="T3" fmla="*/ 634 h 680"/>
              <a:gd name="T4" fmla="*/ 489 w 682"/>
              <a:gd name="T5" fmla="*/ 641 h 680"/>
              <a:gd name="T6" fmla="*/ 512 w 682"/>
              <a:gd name="T7" fmla="*/ 589 h 680"/>
              <a:gd name="T8" fmla="*/ 569 w 682"/>
              <a:gd name="T9" fmla="*/ 586 h 680"/>
              <a:gd name="T10" fmla="*/ 586 w 682"/>
              <a:gd name="T11" fmla="*/ 524 h 680"/>
              <a:gd name="T12" fmla="*/ 604 w 682"/>
              <a:gd name="T13" fmla="*/ 488 h 680"/>
              <a:gd name="T14" fmla="*/ 659 w 682"/>
              <a:gd name="T15" fmla="*/ 461 h 680"/>
              <a:gd name="T16" fmla="*/ 640 w 682"/>
              <a:gd name="T17" fmla="*/ 408 h 680"/>
              <a:gd name="T18" fmla="*/ 643 w 682"/>
              <a:gd name="T19" fmla="*/ 360 h 680"/>
              <a:gd name="T20" fmla="*/ 681 w 682"/>
              <a:gd name="T21" fmla="*/ 312 h 680"/>
              <a:gd name="T22" fmla="*/ 634 w 682"/>
              <a:gd name="T23" fmla="*/ 263 h 680"/>
              <a:gd name="T24" fmla="*/ 629 w 682"/>
              <a:gd name="T25" fmla="*/ 219 h 680"/>
              <a:gd name="T26" fmla="*/ 609 w 682"/>
              <a:gd name="T27" fmla="*/ 160 h 680"/>
              <a:gd name="T28" fmla="*/ 564 w 682"/>
              <a:gd name="T29" fmla="*/ 134 h 680"/>
              <a:gd name="T30" fmla="*/ 559 w 682"/>
              <a:gd name="T31" fmla="*/ 76 h 680"/>
              <a:gd name="T32" fmla="*/ 499 w 682"/>
              <a:gd name="T33" fmla="*/ 75 h 680"/>
              <a:gd name="T34" fmla="*/ 455 w 682"/>
              <a:gd name="T35" fmla="*/ 57 h 680"/>
              <a:gd name="T36" fmla="*/ 412 w 682"/>
              <a:gd name="T37" fmla="*/ 5 h 680"/>
              <a:gd name="T38" fmla="*/ 360 w 682"/>
              <a:gd name="T39" fmla="*/ 36 h 680"/>
              <a:gd name="T40" fmla="*/ 304 w 682"/>
              <a:gd name="T41" fmla="*/ 8 h 680"/>
              <a:gd name="T42" fmla="*/ 257 w 682"/>
              <a:gd name="T43" fmla="*/ 17 h 680"/>
              <a:gd name="T44" fmla="*/ 224 w 682"/>
              <a:gd name="T45" fmla="*/ 58 h 680"/>
              <a:gd name="T46" fmla="*/ 168 w 682"/>
              <a:gd name="T47" fmla="*/ 49 h 680"/>
              <a:gd name="T48" fmla="*/ 136 w 682"/>
              <a:gd name="T49" fmla="*/ 114 h 680"/>
              <a:gd name="T50" fmla="*/ 109 w 682"/>
              <a:gd name="T51" fmla="*/ 143 h 680"/>
              <a:gd name="T52" fmla="*/ 50 w 682"/>
              <a:gd name="T53" fmla="*/ 160 h 680"/>
              <a:gd name="T54" fmla="*/ 63 w 682"/>
              <a:gd name="T55" fmla="*/ 217 h 680"/>
              <a:gd name="T56" fmla="*/ 42 w 682"/>
              <a:gd name="T57" fmla="*/ 264 h 680"/>
              <a:gd name="T58" fmla="*/ 5 w 682"/>
              <a:gd name="T59" fmla="*/ 316 h 680"/>
              <a:gd name="T60" fmla="*/ 38 w 682"/>
              <a:gd name="T61" fmla="*/ 362 h 680"/>
              <a:gd name="T62" fmla="*/ 9 w 682"/>
              <a:gd name="T63" fmla="*/ 422 h 680"/>
              <a:gd name="T64" fmla="*/ 52 w 682"/>
              <a:gd name="T65" fmla="*/ 458 h 680"/>
              <a:gd name="T66" fmla="*/ 79 w 682"/>
              <a:gd name="T67" fmla="*/ 492 h 680"/>
              <a:gd name="T68" fmla="*/ 81 w 682"/>
              <a:gd name="T69" fmla="*/ 560 h 680"/>
              <a:gd name="T70" fmla="*/ 141 w 682"/>
              <a:gd name="T71" fmla="*/ 567 h 680"/>
              <a:gd name="T72" fmla="*/ 176 w 682"/>
              <a:gd name="T73" fmla="*/ 616 h 680"/>
              <a:gd name="T74" fmla="*/ 219 w 682"/>
              <a:gd name="T75" fmla="*/ 648 h 680"/>
              <a:gd name="T76" fmla="*/ 273 w 682"/>
              <a:gd name="T77" fmla="*/ 634 h 680"/>
              <a:gd name="T78" fmla="*/ 310 w 682"/>
              <a:gd name="T79" fmla="*/ 674 h 680"/>
              <a:gd name="T80" fmla="*/ 297 w 682"/>
              <a:gd name="T81" fmla="*/ 588 h 680"/>
              <a:gd name="T82" fmla="*/ 231 w 682"/>
              <a:gd name="T83" fmla="*/ 567 h 680"/>
              <a:gd name="T84" fmla="*/ 182 w 682"/>
              <a:gd name="T85" fmla="*/ 537 h 680"/>
              <a:gd name="T86" fmla="*/ 117 w 682"/>
              <a:gd name="T87" fmla="*/ 459 h 680"/>
              <a:gd name="T88" fmla="*/ 89 w 682"/>
              <a:gd name="T89" fmla="*/ 375 h 680"/>
              <a:gd name="T90" fmla="*/ 101 w 682"/>
              <a:gd name="T91" fmla="*/ 255 h 680"/>
              <a:gd name="T92" fmla="*/ 145 w 682"/>
              <a:gd name="T93" fmla="*/ 176 h 680"/>
              <a:gd name="T94" fmla="*/ 239 w 682"/>
              <a:gd name="T95" fmla="*/ 106 h 680"/>
              <a:gd name="T96" fmla="*/ 338 w 682"/>
              <a:gd name="T97" fmla="*/ 85 h 680"/>
              <a:gd name="T98" fmla="*/ 435 w 682"/>
              <a:gd name="T99" fmla="*/ 103 h 680"/>
              <a:gd name="T100" fmla="*/ 517 w 682"/>
              <a:gd name="T101" fmla="*/ 156 h 680"/>
              <a:gd name="T102" fmla="*/ 544 w 682"/>
              <a:gd name="T103" fmla="*/ 187 h 680"/>
              <a:gd name="T104" fmla="*/ 587 w 682"/>
              <a:gd name="T105" fmla="*/ 276 h 680"/>
              <a:gd name="T106" fmla="*/ 592 w 682"/>
              <a:gd name="T107" fmla="*/ 373 h 680"/>
              <a:gd name="T108" fmla="*/ 557 w 682"/>
              <a:gd name="T109" fmla="*/ 471 h 680"/>
              <a:gd name="T110" fmla="*/ 488 w 682"/>
              <a:gd name="T111" fmla="*/ 545 h 680"/>
              <a:gd name="T112" fmla="*/ 403 w 682"/>
              <a:gd name="T113" fmla="*/ 585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82" h="680">
                <a:moveTo>
                  <a:pt x="345" y="680"/>
                </a:moveTo>
                <a:cubicBezTo>
                  <a:pt x="348" y="680"/>
                  <a:pt x="352" y="678"/>
                  <a:pt x="353" y="675"/>
                </a:cubicBezTo>
                <a:cubicBezTo>
                  <a:pt x="353" y="675"/>
                  <a:pt x="354" y="673"/>
                  <a:pt x="355" y="670"/>
                </a:cubicBezTo>
                <a:cubicBezTo>
                  <a:pt x="357" y="668"/>
                  <a:pt x="359" y="664"/>
                  <a:pt x="360" y="660"/>
                </a:cubicBezTo>
                <a:cubicBezTo>
                  <a:pt x="364" y="653"/>
                  <a:pt x="367" y="645"/>
                  <a:pt x="367" y="645"/>
                </a:cubicBezTo>
                <a:cubicBezTo>
                  <a:pt x="368" y="642"/>
                  <a:pt x="371" y="640"/>
                  <a:pt x="374" y="640"/>
                </a:cubicBezTo>
                <a:cubicBezTo>
                  <a:pt x="374" y="640"/>
                  <a:pt x="379" y="639"/>
                  <a:pt x="385" y="638"/>
                </a:cubicBezTo>
                <a:cubicBezTo>
                  <a:pt x="388" y="638"/>
                  <a:pt x="390" y="638"/>
                  <a:pt x="392" y="637"/>
                </a:cubicBezTo>
                <a:cubicBezTo>
                  <a:pt x="394" y="637"/>
                  <a:pt x="395" y="637"/>
                  <a:pt x="395" y="637"/>
                </a:cubicBezTo>
                <a:cubicBezTo>
                  <a:pt x="395" y="637"/>
                  <a:pt x="397" y="636"/>
                  <a:pt x="399" y="636"/>
                </a:cubicBezTo>
                <a:cubicBezTo>
                  <a:pt x="401" y="636"/>
                  <a:pt x="403" y="635"/>
                  <a:pt x="406" y="635"/>
                </a:cubicBezTo>
                <a:cubicBezTo>
                  <a:pt x="409" y="634"/>
                  <a:pt x="411" y="633"/>
                  <a:pt x="413" y="633"/>
                </a:cubicBezTo>
                <a:cubicBezTo>
                  <a:pt x="415" y="632"/>
                  <a:pt x="417" y="632"/>
                  <a:pt x="417" y="632"/>
                </a:cubicBezTo>
                <a:cubicBezTo>
                  <a:pt x="420" y="631"/>
                  <a:pt x="423" y="632"/>
                  <a:pt x="425" y="634"/>
                </a:cubicBezTo>
                <a:cubicBezTo>
                  <a:pt x="425" y="634"/>
                  <a:pt x="431" y="640"/>
                  <a:pt x="437" y="646"/>
                </a:cubicBezTo>
                <a:cubicBezTo>
                  <a:pt x="443" y="652"/>
                  <a:pt x="449" y="657"/>
                  <a:pt x="449" y="657"/>
                </a:cubicBezTo>
                <a:cubicBezTo>
                  <a:pt x="451" y="659"/>
                  <a:pt x="455" y="660"/>
                  <a:pt x="458" y="659"/>
                </a:cubicBezTo>
                <a:cubicBezTo>
                  <a:pt x="458" y="659"/>
                  <a:pt x="465" y="656"/>
                  <a:pt x="471" y="654"/>
                </a:cubicBezTo>
                <a:cubicBezTo>
                  <a:pt x="474" y="653"/>
                  <a:pt x="477" y="651"/>
                  <a:pt x="479" y="650"/>
                </a:cubicBezTo>
                <a:cubicBezTo>
                  <a:pt x="482" y="649"/>
                  <a:pt x="483" y="649"/>
                  <a:pt x="483" y="649"/>
                </a:cubicBezTo>
                <a:cubicBezTo>
                  <a:pt x="486" y="647"/>
                  <a:pt x="489" y="644"/>
                  <a:pt x="489" y="641"/>
                </a:cubicBezTo>
                <a:cubicBezTo>
                  <a:pt x="489" y="641"/>
                  <a:pt x="489" y="632"/>
                  <a:pt x="489" y="624"/>
                </a:cubicBezTo>
                <a:cubicBezTo>
                  <a:pt x="490" y="620"/>
                  <a:pt x="490" y="616"/>
                  <a:pt x="490" y="613"/>
                </a:cubicBezTo>
                <a:cubicBezTo>
                  <a:pt x="489" y="610"/>
                  <a:pt x="489" y="608"/>
                  <a:pt x="489" y="608"/>
                </a:cubicBezTo>
                <a:cubicBezTo>
                  <a:pt x="489" y="605"/>
                  <a:pt x="491" y="602"/>
                  <a:pt x="494" y="600"/>
                </a:cubicBezTo>
                <a:cubicBezTo>
                  <a:pt x="494" y="600"/>
                  <a:pt x="495" y="599"/>
                  <a:pt x="497" y="598"/>
                </a:cubicBezTo>
                <a:cubicBezTo>
                  <a:pt x="498" y="597"/>
                  <a:pt x="501" y="596"/>
                  <a:pt x="503" y="594"/>
                </a:cubicBezTo>
                <a:cubicBezTo>
                  <a:pt x="508" y="591"/>
                  <a:pt x="512" y="589"/>
                  <a:pt x="512" y="589"/>
                </a:cubicBezTo>
                <a:cubicBezTo>
                  <a:pt x="512" y="589"/>
                  <a:pt x="516" y="585"/>
                  <a:pt x="521" y="582"/>
                </a:cubicBezTo>
                <a:cubicBezTo>
                  <a:pt x="523" y="581"/>
                  <a:pt x="525" y="579"/>
                  <a:pt x="527" y="578"/>
                </a:cubicBezTo>
                <a:cubicBezTo>
                  <a:pt x="528" y="576"/>
                  <a:pt x="529" y="576"/>
                  <a:pt x="529" y="576"/>
                </a:cubicBezTo>
                <a:cubicBezTo>
                  <a:pt x="532" y="574"/>
                  <a:pt x="535" y="573"/>
                  <a:pt x="538" y="574"/>
                </a:cubicBezTo>
                <a:cubicBezTo>
                  <a:pt x="538" y="574"/>
                  <a:pt x="540" y="575"/>
                  <a:pt x="543" y="576"/>
                </a:cubicBezTo>
                <a:cubicBezTo>
                  <a:pt x="546" y="577"/>
                  <a:pt x="550" y="579"/>
                  <a:pt x="553" y="580"/>
                </a:cubicBezTo>
                <a:cubicBezTo>
                  <a:pt x="561" y="583"/>
                  <a:pt x="569" y="586"/>
                  <a:pt x="569" y="586"/>
                </a:cubicBezTo>
                <a:cubicBezTo>
                  <a:pt x="572" y="587"/>
                  <a:pt x="576" y="586"/>
                  <a:pt x="578" y="583"/>
                </a:cubicBezTo>
                <a:cubicBezTo>
                  <a:pt x="578" y="583"/>
                  <a:pt x="580" y="582"/>
                  <a:pt x="581" y="580"/>
                </a:cubicBezTo>
                <a:cubicBezTo>
                  <a:pt x="583" y="578"/>
                  <a:pt x="586" y="576"/>
                  <a:pt x="588" y="574"/>
                </a:cubicBezTo>
                <a:cubicBezTo>
                  <a:pt x="592" y="569"/>
                  <a:pt x="597" y="564"/>
                  <a:pt x="597" y="564"/>
                </a:cubicBezTo>
                <a:cubicBezTo>
                  <a:pt x="599" y="561"/>
                  <a:pt x="600" y="557"/>
                  <a:pt x="599" y="554"/>
                </a:cubicBezTo>
                <a:cubicBezTo>
                  <a:pt x="599" y="554"/>
                  <a:pt x="596" y="547"/>
                  <a:pt x="593" y="539"/>
                </a:cubicBezTo>
                <a:cubicBezTo>
                  <a:pt x="590" y="531"/>
                  <a:pt x="586" y="524"/>
                  <a:pt x="586" y="524"/>
                </a:cubicBezTo>
                <a:cubicBezTo>
                  <a:pt x="585" y="521"/>
                  <a:pt x="585" y="518"/>
                  <a:pt x="587" y="515"/>
                </a:cubicBezTo>
                <a:cubicBezTo>
                  <a:pt x="587" y="515"/>
                  <a:pt x="588" y="514"/>
                  <a:pt x="589" y="512"/>
                </a:cubicBezTo>
                <a:cubicBezTo>
                  <a:pt x="590" y="511"/>
                  <a:pt x="592" y="508"/>
                  <a:pt x="593" y="506"/>
                </a:cubicBezTo>
                <a:cubicBezTo>
                  <a:pt x="595" y="504"/>
                  <a:pt x="596" y="502"/>
                  <a:pt x="597" y="500"/>
                </a:cubicBezTo>
                <a:cubicBezTo>
                  <a:pt x="598" y="498"/>
                  <a:pt x="599" y="497"/>
                  <a:pt x="599" y="497"/>
                </a:cubicBezTo>
                <a:cubicBezTo>
                  <a:pt x="599" y="497"/>
                  <a:pt x="600" y="496"/>
                  <a:pt x="601" y="494"/>
                </a:cubicBezTo>
                <a:cubicBezTo>
                  <a:pt x="602" y="493"/>
                  <a:pt x="603" y="490"/>
                  <a:pt x="604" y="488"/>
                </a:cubicBezTo>
                <a:cubicBezTo>
                  <a:pt x="607" y="483"/>
                  <a:pt x="610" y="478"/>
                  <a:pt x="610" y="478"/>
                </a:cubicBezTo>
                <a:cubicBezTo>
                  <a:pt x="611" y="476"/>
                  <a:pt x="614" y="474"/>
                  <a:pt x="617" y="474"/>
                </a:cubicBezTo>
                <a:cubicBezTo>
                  <a:pt x="617" y="474"/>
                  <a:pt x="625" y="473"/>
                  <a:pt x="634" y="473"/>
                </a:cubicBezTo>
                <a:cubicBezTo>
                  <a:pt x="638" y="473"/>
                  <a:pt x="642" y="472"/>
                  <a:pt x="645" y="472"/>
                </a:cubicBezTo>
                <a:cubicBezTo>
                  <a:pt x="648" y="472"/>
                  <a:pt x="650" y="471"/>
                  <a:pt x="650" y="471"/>
                </a:cubicBezTo>
                <a:cubicBezTo>
                  <a:pt x="653" y="471"/>
                  <a:pt x="656" y="469"/>
                  <a:pt x="657" y="465"/>
                </a:cubicBezTo>
                <a:cubicBezTo>
                  <a:pt x="657" y="465"/>
                  <a:pt x="658" y="464"/>
                  <a:pt x="659" y="461"/>
                </a:cubicBezTo>
                <a:cubicBezTo>
                  <a:pt x="660" y="459"/>
                  <a:pt x="661" y="456"/>
                  <a:pt x="662" y="453"/>
                </a:cubicBezTo>
                <a:cubicBezTo>
                  <a:pt x="663" y="450"/>
                  <a:pt x="664" y="446"/>
                  <a:pt x="665" y="444"/>
                </a:cubicBezTo>
                <a:cubicBezTo>
                  <a:pt x="666" y="442"/>
                  <a:pt x="666" y="440"/>
                  <a:pt x="666" y="440"/>
                </a:cubicBezTo>
                <a:cubicBezTo>
                  <a:pt x="667" y="436"/>
                  <a:pt x="667" y="433"/>
                  <a:pt x="664" y="430"/>
                </a:cubicBezTo>
                <a:cubicBezTo>
                  <a:pt x="664" y="430"/>
                  <a:pt x="659" y="425"/>
                  <a:pt x="653" y="419"/>
                </a:cubicBezTo>
                <a:cubicBezTo>
                  <a:pt x="650" y="416"/>
                  <a:pt x="647" y="413"/>
                  <a:pt x="644" y="411"/>
                </a:cubicBezTo>
                <a:cubicBezTo>
                  <a:pt x="642" y="409"/>
                  <a:pt x="640" y="408"/>
                  <a:pt x="640" y="408"/>
                </a:cubicBezTo>
                <a:cubicBezTo>
                  <a:pt x="638" y="406"/>
                  <a:pt x="637" y="403"/>
                  <a:pt x="637" y="400"/>
                </a:cubicBezTo>
                <a:cubicBezTo>
                  <a:pt x="637" y="400"/>
                  <a:pt x="638" y="398"/>
                  <a:pt x="638" y="396"/>
                </a:cubicBezTo>
                <a:cubicBezTo>
                  <a:pt x="639" y="394"/>
                  <a:pt x="639" y="392"/>
                  <a:pt x="639" y="389"/>
                </a:cubicBezTo>
                <a:cubicBezTo>
                  <a:pt x="640" y="386"/>
                  <a:pt x="640" y="384"/>
                  <a:pt x="641" y="382"/>
                </a:cubicBezTo>
                <a:cubicBezTo>
                  <a:pt x="641" y="380"/>
                  <a:pt x="641" y="378"/>
                  <a:pt x="641" y="378"/>
                </a:cubicBezTo>
                <a:cubicBezTo>
                  <a:pt x="641" y="378"/>
                  <a:pt x="642" y="373"/>
                  <a:pt x="642" y="368"/>
                </a:cubicBezTo>
                <a:cubicBezTo>
                  <a:pt x="643" y="365"/>
                  <a:pt x="643" y="362"/>
                  <a:pt x="643" y="360"/>
                </a:cubicBezTo>
                <a:cubicBezTo>
                  <a:pt x="643" y="358"/>
                  <a:pt x="643" y="357"/>
                  <a:pt x="643" y="357"/>
                </a:cubicBezTo>
                <a:cubicBezTo>
                  <a:pt x="643" y="354"/>
                  <a:pt x="645" y="351"/>
                  <a:pt x="648" y="349"/>
                </a:cubicBezTo>
                <a:cubicBezTo>
                  <a:pt x="648" y="349"/>
                  <a:pt x="655" y="346"/>
                  <a:pt x="663" y="342"/>
                </a:cubicBezTo>
                <a:cubicBezTo>
                  <a:pt x="666" y="340"/>
                  <a:pt x="670" y="338"/>
                  <a:pt x="673" y="337"/>
                </a:cubicBezTo>
                <a:cubicBezTo>
                  <a:pt x="675" y="335"/>
                  <a:pt x="677" y="334"/>
                  <a:pt x="677" y="334"/>
                </a:cubicBezTo>
                <a:cubicBezTo>
                  <a:pt x="680" y="332"/>
                  <a:pt x="682" y="329"/>
                  <a:pt x="682" y="325"/>
                </a:cubicBezTo>
                <a:cubicBezTo>
                  <a:pt x="682" y="325"/>
                  <a:pt x="681" y="319"/>
                  <a:pt x="681" y="312"/>
                </a:cubicBezTo>
                <a:cubicBezTo>
                  <a:pt x="681" y="309"/>
                  <a:pt x="680" y="305"/>
                  <a:pt x="680" y="303"/>
                </a:cubicBezTo>
                <a:cubicBezTo>
                  <a:pt x="680" y="300"/>
                  <a:pt x="680" y="299"/>
                  <a:pt x="680" y="299"/>
                </a:cubicBezTo>
                <a:cubicBezTo>
                  <a:pt x="679" y="295"/>
                  <a:pt x="677" y="292"/>
                  <a:pt x="674" y="291"/>
                </a:cubicBezTo>
                <a:cubicBezTo>
                  <a:pt x="674" y="291"/>
                  <a:pt x="666" y="288"/>
                  <a:pt x="658" y="285"/>
                </a:cubicBezTo>
                <a:cubicBezTo>
                  <a:pt x="651" y="282"/>
                  <a:pt x="643" y="280"/>
                  <a:pt x="643" y="280"/>
                </a:cubicBezTo>
                <a:cubicBezTo>
                  <a:pt x="640" y="279"/>
                  <a:pt x="638" y="277"/>
                  <a:pt x="637" y="273"/>
                </a:cubicBezTo>
                <a:cubicBezTo>
                  <a:pt x="637" y="273"/>
                  <a:pt x="636" y="268"/>
                  <a:pt x="634" y="263"/>
                </a:cubicBezTo>
                <a:cubicBezTo>
                  <a:pt x="633" y="258"/>
                  <a:pt x="631" y="253"/>
                  <a:pt x="631" y="253"/>
                </a:cubicBezTo>
                <a:cubicBezTo>
                  <a:pt x="631" y="253"/>
                  <a:pt x="631" y="251"/>
                  <a:pt x="630" y="249"/>
                </a:cubicBezTo>
                <a:cubicBezTo>
                  <a:pt x="630" y="247"/>
                  <a:pt x="629" y="245"/>
                  <a:pt x="628" y="242"/>
                </a:cubicBezTo>
                <a:cubicBezTo>
                  <a:pt x="627" y="240"/>
                  <a:pt x="626" y="237"/>
                  <a:pt x="626" y="235"/>
                </a:cubicBezTo>
                <a:cubicBezTo>
                  <a:pt x="625" y="233"/>
                  <a:pt x="625" y="232"/>
                  <a:pt x="625" y="232"/>
                </a:cubicBezTo>
                <a:cubicBezTo>
                  <a:pt x="623" y="229"/>
                  <a:pt x="624" y="226"/>
                  <a:pt x="626" y="223"/>
                </a:cubicBezTo>
                <a:cubicBezTo>
                  <a:pt x="626" y="223"/>
                  <a:pt x="627" y="222"/>
                  <a:pt x="629" y="219"/>
                </a:cubicBezTo>
                <a:cubicBezTo>
                  <a:pt x="631" y="217"/>
                  <a:pt x="634" y="214"/>
                  <a:pt x="636" y="211"/>
                </a:cubicBezTo>
                <a:cubicBezTo>
                  <a:pt x="641" y="204"/>
                  <a:pt x="646" y="197"/>
                  <a:pt x="646" y="197"/>
                </a:cubicBezTo>
                <a:cubicBezTo>
                  <a:pt x="648" y="195"/>
                  <a:pt x="649" y="191"/>
                  <a:pt x="647" y="188"/>
                </a:cubicBezTo>
                <a:cubicBezTo>
                  <a:pt x="647" y="188"/>
                  <a:pt x="644" y="182"/>
                  <a:pt x="641" y="176"/>
                </a:cubicBezTo>
                <a:cubicBezTo>
                  <a:pt x="637" y="170"/>
                  <a:pt x="634" y="164"/>
                  <a:pt x="634" y="164"/>
                </a:cubicBezTo>
                <a:cubicBezTo>
                  <a:pt x="632" y="161"/>
                  <a:pt x="629" y="159"/>
                  <a:pt x="626" y="159"/>
                </a:cubicBezTo>
                <a:cubicBezTo>
                  <a:pt x="626" y="159"/>
                  <a:pt x="617" y="160"/>
                  <a:pt x="609" y="160"/>
                </a:cubicBezTo>
                <a:cubicBezTo>
                  <a:pt x="605" y="161"/>
                  <a:pt x="601" y="161"/>
                  <a:pt x="598" y="162"/>
                </a:cubicBezTo>
                <a:cubicBezTo>
                  <a:pt x="595" y="162"/>
                  <a:pt x="593" y="162"/>
                  <a:pt x="593" y="162"/>
                </a:cubicBezTo>
                <a:cubicBezTo>
                  <a:pt x="590" y="163"/>
                  <a:pt x="587" y="161"/>
                  <a:pt x="585" y="159"/>
                </a:cubicBezTo>
                <a:cubicBezTo>
                  <a:pt x="585" y="159"/>
                  <a:pt x="582" y="154"/>
                  <a:pt x="578" y="150"/>
                </a:cubicBezTo>
                <a:cubicBezTo>
                  <a:pt x="576" y="148"/>
                  <a:pt x="575" y="146"/>
                  <a:pt x="573" y="144"/>
                </a:cubicBezTo>
                <a:cubicBezTo>
                  <a:pt x="572" y="143"/>
                  <a:pt x="571" y="142"/>
                  <a:pt x="571" y="142"/>
                </a:cubicBezTo>
                <a:cubicBezTo>
                  <a:pt x="571" y="142"/>
                  <a:pt x="568" y="138"/>
                  <a:pt x="564" y="134"/>
                </a:cubicBezTo>
                <a:cubicBezTo>
                  <a:pt x="562" y="132"/>
                  <a:pt x="561" y="130"/>
                  <a:pt x="559" y="128"/>
                </a:cubicBezTo>
                <a:cubicBezTo>
                  <a:pt x="558" y="127"/>
                  <a:pt x="557" y="126"/>
                  <a:pt x="557" y="126"/>
                </a:cubicBezTo>
                <a:cubicBezTo>
                  <a:pt x="554" y="123"/>
                  <a:pt x="554" y="120"/>
                  <a:pt x="555" y="117"/>
                </a:cubicBezTo>
                <a:cubicBezTo>
                  <a:pt x="555" y="117"/>
                  <a:pt x="555" y="115"/>
                  <a:pt x="556" y="112"/>
                </a:cubicBezTo>
                <a:cubicBezTo>
                  <a:pt x="557" y="109"/>
                  <a:pt x="558" y="105"/>
                  <a:pt x="559" y="101"/>
                </a:cubicBezTo>
                <a:cubicBezTo>
                  <a:pt x="561" y="93"/>
                  <a:pt x="563" y="85"/>
                  <a:pt x="563" y="85"/>
                </a:cubicBezTo>
                <a:cubicBezTo>
                  <a:pt x="563" y="82"/>
                  <a:pt x="562" y="79"/>
                  <a:pt x="559" y="76"/>
                </a:cubicBezTo>
                <a:cubicBezTo>
                  <a:pt x="559" y="76"/>
                  <a:pt x="558" y="75"/>
                  <a:pt x="556" y="74"/>
                </a:cubicBezTo>
                <a:cubicBezTo>
                  <a:pt x="554" y="72"/>
                  <a:pt x="551" y="70"/>
                  <a:pt x="549" y="68"/>
                </a:cubicBezTo>
                <a:cubicBezTo>
                  <a:pt x="546" y="66"/>
                  <a:pt x="543" y="64"/>
                  <a:pt x="541" y="62"/>
                </a:cubicBezTo>
                <a:cubicBezTo>
                  <a:pt x="539" y="61"/>
                  <a:pt x="538" y="60"/>
                  <a:pt x="538" y="60"/>
                </a:cubicBezTo>
                <a:cubicBezTo>
                  <a:pt x="535" y="58"/>
                  <a:pt x="531" y="57"/>
                  <a:pt x="528" y="59"/>
                </a:cubicBezTo>
                <a:cubicBezTo>
                  <a:pt x="528" y="59"/>
                  <a:pt x="521" y="62"/>
                  <a:pt x="514" y="66"/>
                </a:cubicBezTo>
                <a:cubicBezTo>
                  <a:pt x="506" y="70"/>
                  <a:pt x="499" y="75"/>
                  <a:pt x="499" y="75"/>
                </a:cubicBezTo>
                <a:cubicBezTo>
                  <a:pt x="497" y="76"/>
                  <a:pt x="493" y="76"/>
                  <a:pt x="490" y="75"/>
                </a:cubicBezTo>
                <a:cubicBezTo>
                  <a:pt x="490" y="75"/>
                  <a:pt x="486" y="72"/>
                  <a:pt x="481" y="70"/>
                </a:cubicBezTo>
                <a:cubicBezTo>
                  <a:pt x="479" y="68"/>
                  <a:pt x="476" y="67"/>
                  <a:pt x="474" y="66"/>
                </a:cubicBezTo>
                <a:cubicBezTo>
                  <a:pt x="473" y="65"/>
                  <a:pt x="471" y="65"/>
                  <a:pt x="471" y="65"/>
                </a:cubicBezTo>
                <a:cubicBezTo>
                  <a:pt x="471" y="65"/>
                  <a:pt x="470" y="64"/>
                  <a:pt x="468" y="63"/>
                </a:cubicBezTo>
                <a:cubicBezTo>
                  <a:pt x="466" y="62"/>
                  <a:pt x="464" y="61"/>
                  <a:pt x="462" y="60"/>
                </a:cubicBezTo>
                <a:cubicBezTo>
                  <a:pt x="459" y="59"/>
                  <a:pt x="457" y="58"/>
                  <a:pt x="455" y="57"/>
                </a:cubicBezTo>
                <a:cubicBezTo>
                  <a:pt x="453" y="57"/>
                  <a:pt x="452" y="56"/>
                  <a:pt x="452" y="56"/>
                </a:cubicBezTo>
                <a:cubicBezTo>
                  <a:pt x="449" y="55"/>
                  <a:pt x="446" y="52"/>
                  <a:pt x="446" y="49"/>
                </a:cubicBezTo>
                <a:cubicBezTo>
                  <a:pt x="446" y="49"/>
                  <a:pt x="445" y="41"/>
                  <a:pt x="444" y="33"/>
                </a:cubicBezTo>
                <a:cubicBezTo>
                  <a:pt x="442" y="25"/>
                  <a:pt x="440" y="17"/>
                  <a:pt x="440" y="17"/>
                </a:cubicBezTo>
                <a:cubicBezTo>
                  <a:pt x="440" y="14"/>
                  <a:pt x="437" y="11"/>
                  <a:pt x="433" y="10"/>
                </a:cubicBezTo>
                <a:cubicBezTo>
                  <a:pt x="433" y="10"/>
                  <a:pt x="427" y="8"/>
                  <a:pt x="421" y="7"/>
                </a:cubicBezTo>
                <a:cubicBezTo>
                  <a:pt x="417" y="6"/>
                  <a:pt x="414" y="5"/>
                  <a:pt x="412" y="5"/>
                </a:cubicBezTo>
                <a:cubicBezTo>
                  <a:pt x="409" y="4"/>
                  <a:pt x="407" y="4"/>
                  <a:pt x="407" y="4"/>
                </a:cubicBezTo>
                <a:cubicBezTo>
                  <a:pt x="404" y="3"/>
                  <a:pt x="400" y="4"/>
                  <a:pt x="398" y="7"/>
                </a:cubicBezTo>
                <a:cubicBezTo>
                  <a:pt x="398" y="7"/>
                  <a:pt x="393" y="13"/>
                  <a:pt x="388" y="20"/>
                </a:cubicBezTo>
                <a:cubicBezTo>
                  <a:pt x="383" y="26"/>
                  <a:pt x="378" y="33"/>
                  <a:pt x="378" y="33"/>
                </a:cubicBezTo>
                <a:cubicBezTo>
                  <a:pt x="377" y="36"/>
                  <a:pt x="374" y="37"/>
                  <a:pt x="370" y="37"/>
                </a:cubicBezTo>
                <a:cubicBezTo>
                  <a:pt x="370" y="37"/>
                  <a:pt x="369" y="36"/>
                  <a:pt x="367" y="36"/>
                </a:cubicBezTo>
                <a:cubicBezTo>
                  <a:pt x="365" y="36"/>
                  <a:pt x="362" y="36"/>
                  <a:pt x="360" y="36"/>
                </a:cubicBezTo>
                <a:cubicBezTo>
                  <a:pt x="357" y="36"/>
                  <a:pt x="354" y="35"/>
                  <a:pt x="352" y="35"/>
                </a:cubicBezTo>
                <a:cubicBezTo>
                  <a:pt x="350" y="35"/>
                  <a:pt x="349" y="35"/>
                  <a:pt x="349" y="35"/>
                </a:cubicBezTo>
                <a:cubicBezTo>
                  <a:pt x="349" y="35"/>
                  <a:pt x="343" y="35"/>
                  <a:pt x="338" y="35"/>
                </a:cubicBezTo>
                <a:cubicBezTo>
                  <a:pt x="333" y="35"/>
                  <a:pt x="327" y="35"/>
                  <a:pt x="327" y="35"/>
                </a:cubicBezTo>
                <a:cubicBezTo>
                  <a:pt x="324" y="35"/>
                  <a:pt x="321" y="34"/>
                  <a:pt x="319" y="31"/>
                </a:cubicBezTo>
                <a:cubicBezTo>
                  <a:pt x="319" y="31"/>
                  <a:pt x="315" y="24"/>
                  <a:pt x="310" y="17"/>
                </a:cubicBezTo>
                <a:cubicBezTo>
                  <a:pt x="308" y="14"/>
                  <a:pt x="306" y="11"/>
                  <a:pt x="304" y="8"/>
                </a:cubicBezTo>
                <a:cubicBezTo>
                  <a:pt x="302" y="6"/>
                  <a:pt x="301" y="4"/>
                  <a:pt x="301" y="4"/>
                </a:cubicBezTo>
                <a:cubicBezTo>
                  <a:pt x="299" y="1"/>
                  <a:pt x="295" y="0"/>
                  <a:pt x="292" y="1"/>
                </a:cubicBezTo>
                <a:cubicBezTo>
                  <a:pt x="292" y="1"/>
                  <a:pt x="290" y="1"/>
                  <a:pt x="288" y="1"/>
                </a:cubicBezTo>
                <a:cubicBezTo>
                  <a:pt x="285" y="2"/>
                  <a:pt x="282" y="2"/>
                  <a:pt x="279" y="3"/>
                </a:cubicBezTo>
                <a:cubicBezTo>
                  <a:pt x="272" y="4"/>
                  <a:pt x="266" y="5"/>
                  <a:pt x="266" y="5"/>
                </a:cubicBezTo>
                <a:cubicBezTo>
                  <a:pt x="262" y="6"/>
                  <a:pt x="259" y="9"/>
                  <a:pt x="258" y="12"/>
                </a:cubicBezTo>
                <a:cubicBezTo>
                  <a:pt x="258" y="12"/>
                  <a:pt x="258" y="14"/>
                  <a:pt x="257" y="17"/>
                </a:cubicBezTo>
                <a:cubicBezTo>
                  <a:pt x="256" y="20"/>
                  <a:pt x="255" y="24"/>
                  <a:pt x="254" y="28"/>
                </a:cubicBezTo>
                <a:cubicBezTo>
                  <a:pt x="252" y="36"/>
                  <a:pt x="251" y="44"/>
                  <a:pt x="251" y="44"/>
                </a:cubicBezTo>
                <a:cubicBezTo>
                  <a:pt x="250" y="47"/>
                  <a:pt x="248" y="50"/>
                  <a:pt x="245" y="51"/>
                </a:cubicBezTo>
                <a:cubicBezTo>
                  <a:pt x="245" y="51"/>
                  <a:pt x="244" y="51"/>
                  <a:pt x="242" y="52"/>
                </a:cubicBezTo>
                <a:cubicBezTo>
                  <a:pt x="240" y="52"/>
                  <a:pt x="237" y="53"/>
                  <a:pt x="235" y="54"/>
                </a:cubicBezTo>
                <a:cubicBezTo>
                  <a:pt x="230" y="56"/>
                  <a:pt x="225" y="58"/>
                  <a:pt x="225" y="58"/>
                </a:cubicBezTo>
                <a:cubicBezTo>
                  <a:pt x="225" y="58"/>
                  <a:pt x="224" y="58"/>
                  <a:pt x="224" y="58"/>
                </a:cubicBezTo>
                <a:cubicBezTo>
                  <a:pt x="223" y="59"/>
                  <a:pt x="223" y="59"/>
                  <a:pt x="222" y="59"/>
                </a:cubicBezTo>
                <a:cubicBezTo>
                  <a:pt x="220" y="60"/>
                  <a:pt x="217" y="61"/>
                  <a:pt x="215" y="62"/>
                </a:cubicBezTo>
                <a:cubicBezTo>
                  <a:pt x="212" y="64"/>
                  <a:pt x="210" y="65"/>
                  <a:pt x="208" y="66"/>
                </a:cubicBezTo>
                <a:cubicBezTo>
                  <a:pt x="206" y="66"/>
                  <a:pt x="205" y="67"/>
                  <a:pt x="205" y="67"/>
                </a:cubicBezTo>
                <a:cubicBezTo>
                  <a:pt x="202" y="69"/>
                  <a:pt x="199" y="68"/>
                  <a:pt x="196" y="67"/>
                </a:cubicBezTo>
                <a:cubicBezTo>
                  <a:pt x="196" y="67"/>
                  <a:pt x="189" y="62"/>
                  <a:pt x="182" y="58"/>
                </a:cubicBezTo>
                <a:cubicBezTo>
                  <a:pt x="176" y="53"/>
                  <a:pt x="168" y="49"/>
                  <a:pt x="168" y="49"/>
                </a:cubicBezTo>
                <a:cubicBezTo>
                  <a:pt x="165" y="47"/>
                  <a:pt x="162" y="48"/>
                  <a:pt x="159" y="50"/>
                </a:cubicBezTo>
                <a:cubicBezTo>
                  <a:pt x="159" y="50"/>
                  <a:pt x="153" y="53"/>
                  <a:pt x="147" y="57"/>
                </a:cubicBezTo>
                <a:cubicBezTo>
                  <a:pt x="142" y="61"/>
                  <a:pt x="137" y="65"/>
                  <a:pt x="137" y="65"/>
                </a:cubicBezTo>
                <a:cubicBezTo>
                  <a:pt x="134" y="67"/>
                  <a:pt x="132" y="70"/>
                  <a:pt x="133" y="74"/>
                </a:cubicBezTo>
                <a:cubicBezTo>
                  <a:pt x="133" y="74"/>
                  <a:pt x="134" y="82"/>
                  <a:pt x="135" y="90"/>
                </a:cubicBezTo>
                <a:cubicBezTo>
                  <a:pt x="137" y="98"/>
                  <a:pt x="139" y="106"/>
                  <a:pt x="139" y="106"/>
                </a:cubicBezTo>
                <a:cubicBezTo>
                  <a:pt x="140" y="109"/>
                  <a:pt x="139" y="112"/>
                  <a:pt x="136" y="114"/>
                </a:cubicBezTo>
                <a:cubicBezTo>
                  <a:pt x="136" y="114"/>
                  <a:pt x="135" y="115"/>
                  <a:pt x="134" y="117"/>
                </a:cubicBezTo>
                <a:cubicBezTo>
                  <a:pt x="132" y="118"/>
                  <a:pt x="130" y="120"/>
                  <a:pt x="128" y="122"/>
                </a:cubicBezTo>
                <a:cubicBezTo>
                  <a:pt x="126" y="124"/>
                  <a:pt x="124" y="126"/>
                  <a:pt x="123" y="127"/>
                </a:cubicBezTo>
                <a:cubicBezTo>
                  <a:pt x="122" y="128"/>
                  <a:pt x="122" y="128"/>
                  <a:pt x="121" y="129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1" y="129"/>
                  <a:pt x="117" y="133"/>
                  <a:pt x="113" y="137"/>
                </a:cubicBezTo>
                <a:cubicBezTo>
                  <a:pt x="112" y="139"/>
                  <a:pt x="110" y="141"/>
                  <a:pt x="109" y="143"/>
                </a:cubicBezTo>
                <a:cubicBezTo>
                  <a:pt x="107" y="145"/>
                  <a:pt x="106" y="146"/>
                  <a:pt x="106" y="146"/>
                </a:cubicBezTo>
                <a:cubicBezTo>
                  <a:pt x="104" y="148"/>
                  <a:pt x="101" y="149"/>
                  <a:pt x="98" y="149"/>
                </a:cubicBezTo>
                <a:cubicBezTo>
                  <a:pt x="98" y="149"/>
                  <a:pt x="90" y="147"/>
                  <a:pt x="82" y="146"/>
                </a:cubicBezTo>
                <a:cubicBezTo>
                  <a:pt x="78" y="145"/>
                  <a:pt x="74" y="145"/>
                  <a:pt x="71" y="145"/>
                </a:cubicBezTo>
                <a:cubicBezTo>
                  <a:pt x="67" y="144"/>
                  <a:pt x="65" y="144"/>
                  <a:pt x="65" y="144"/>
                </a:cubicBezTo>
                <a:cubicBezTo>
                  <a:pt x="62" y="144"/>
                  <a:pt x="59" y="145"/>
                  <a:pt x="57" y="149"/>
                </a:cubicBezTo>
                <a:cubicBezTo>
                  <a:pt x="57" y="149"/>
                  <a:pt x="53" y="154"/>
                  <a:pt x="50" y="160"/>
                </a:cubicBezTo>
                <a:cubicBezTo>
                  <a:pt x="48" y="163"/>
                  <a:pt x="46" y="166"/>
                  <a:pt x="45" y="168"/>
                </a:cubicBezTo>
                <a:cubicBezTo>
                  <a:pt x="44" y="170"/>
                  <a:pt x="43" y="171"/>
                  <a:pt x="43" y="171"/>
                </a:cubicBezTo>
                <a:cubicBezTo>
                  <a:pt x="41" y="175"/>
                  <a:pt x="41" y="178"/>
                  <a:pt x="43" y="181"/>
                </a:cubicBezTo>
                <a:cubicBezTo>
                  <a:pt x="43" y="181"/>
                  <a:pt x="44" y="183"/>
                  <a:pt x="46" y="185"/>
                </a:cubicBezTo>
                <a:cubicBezTo>
                  <a:pt x="47" y="188"/>
                  <a:pt x="50" y="191"/>
                  <a:pt x="52" y="195"/>
                </a:cubicBezTo>
                <a:cubicBezTo>
                  <a:pt x="57" y="202"/>
                  <a:pt x="62" y="208"/>
                  <a:pt x="62" y="208"/>
                </a:cubicBezTo>
                <a:cubicBezTo>
                  <a:pt x="64" y="210"/>
                  <a:pt x="64" y="214"/>
                  <a:pt x="63" y="217"/>
                </a:cubicBezTo>
                <a:cubicBezTo>
                  <a:pt x="63" y="217"/>
                  <a:pt x="61" y="222"/>
                  <a:pt x="58" y="227"/>
                </a:cubicBezTo>
                <a:cubicBezTo>
                  <a:pt x="57" y="232"/>
                  <a:pt x="55" y="237"/>
                  <a:pt x="55" y="237"/>
                </a:cubicBezTo>
                <a:cubicBezTo>
                  <a:pt x="55" y="237"/>
                  <a:pt x="54" y="238"/>
                  <a:pt x="54" y="240"/>
                </a:cubicBezTo>
                <a:cubicBezTo>
                  <a:pt x="53" y="242"/>
                  <a:pt x="52" y="245"/>
                  <a:pt x="51" y="247"/>
                </a:cubicBezTo>
                <a:cubicBezTo>
                  <a:pt x="51" y="250"/>
                  <a:pt x="50" y="252"/>
                  <a:pt x="49" y="254"/>
                </a:cubicBezTo>
                <a:cubicBezTo>
                  <a:pt x="49" y="256"/>
                  <a:pt x="48" y="257"/>
                  <a:pt x="48" y="257"/>
                </a:cubicBezTo>
                <a:cubicBezTo>
                  <a:pt x="47" y="261"/>
                  <a:pt x="45" y="263"/>
                  <a:pt x="42" y="264"/>
                </a:cubicBezTo>
                <a:cubicBezTo>
                  <a:pt x="42" y="264"/>
                  <a:pt x="34" y="266"/>
                  <a:pt x="26" y="268"/>
                </a:cubicBezTo>
                <a:cubicBezTo>
                  <a:pt x="18" y="270"/>
                  <a:pt x="10" y="273"/>
                  <a:pt x="10" y="273"/>
                </a:cubicBezTo>
                <a:cubicBezTo>
                  <a:pt x="7" y="274"/>
                  <a:pt x="5" y="277"/>
                  <a:pt x="4" y="280"/>
                </a:cubicBezTo>
                <a:cubicBezTo>
                  <a:pt x="4" y="280"/>
                  <a:pt x="4" y="282"/>
                  <a:pt x="4" y="284"/>
                </a:cubicBezTo>
                <a:cubicBezTo>
                  <a:pt x="3" y="287"/>
                  <a:pt x="3" y="290"/>
                  <a:pt x="2" y="294"/>
                </a:cubicBezTo>
                <a:cubicBezTo>
                  <a:pt x="1" y="300"/>
                  <a:pt x="1" y="307"/>
                  <a:pt x="1" y="307"/>
                </a:cubicBezTo>
                <a:cubicBezTo>
                  <a:pt x="0" y="310"/>
                  <a:pt x="2" y="314"/>
                  <a:pt x="5" y="316"/>
                </a:cubicBezTo>
                <a:cubicBezTo>
                  <a:pt x="5" y="316"/>
                  <a:pt x="11" y="320"/>
                  <a:pt x="18" y="324"/>
                </a:cubicBezTo>
                <a:cubicBezTo>
                  <a:pt x="26" y="329"/>
                  <a:pt x="33" y="333"/>
                  <a:pt x="33" y="333"/>
                </a:cubicBezTo>
                <a:cubicBezTo>
                  <a:pt x="36" y="334"/>
                  <a:pt x="37" y="337"/>
                  <a:pt x="37" y="340"/>
                </a:cubicBezTo>
                <a:cubicBezTo>
                  <a:pt x="37" y="340"/>
                  <a:pt x="37" y="342"/>
                  <a:pt x="37" y="344"/>
                </a:cubicBezTo>
                <a:cubicBezTo>
                  <a:pt x="37" y="346"/>
                  <a:pt x="37" y="348"/>
                  <a:pt x="37" y="351"/>
                </a:cubicBezTo>
                <a:cubicBezTo>
                  <a:pt x="38" y="354"/>
                  <a:pt x="38" y="357"/>
                  <a:pt x="38" y="359"/>
                </a:cubicBezTo>
                <a:cubicBezTo>
                  <a:pt x="38" y="361"/>
                  <a:pt x="38" y="362"/>
                  <a:pt x="38" y="362"/>
                </a:cubicBezTo>
                <a:cubicBezTo>
                  <a:pt x="38" y="362"/>
                  <a:pt x="38" y="363"/>
                  <a:pt x="38" y="365"/>
                </a:cubicBezTo>
                <a:cubicBezTo>
                  <a:pt x="39" y="367"/>
                  <a:pt x="39" y="370"/>
                  <a:pt x="39" y="373"/>
                </a:cubicBezTo>
                <a:cubicBezTo>
                  <a:pt x="40" y="378"/>
                  <a:pt x="41" y="383"/>
                  <a:pt x="41" y="383"/>
                </a:cubicBezTo>
                <a:cubicBezTo>
                  <a:pt x="41" y="387"/>
                  <a:pt x="40" y="390"/>
                  <a:pt x="37" y="392"/>
                </a:cubicBezTo>
                <a:cubicBezTo>
                  <a:pt x="37" y="392"/>
                  <a:pt x="31" y="397"/>
                  <a:pt x="24" y="402"/>
                </a:cubicBezTo>
                <a:cubicBezTo>
                  <a:pt x="18" y="407"/>
                  <a:pt x="12" y="413"/>
                  <a:pt x="12" y="413"/>
                </a:cubicBezTo>
                <a:cubicBezTo>
                  <a:pt x="10" y="415"/>
                  <a:pt x="9" y="419"/>
                  <a:pt x="9" y="422"/>
                </a:cubicBezTo>
                <a:cubicBezTo>
                  <a:pt x="9" y="422"/>
                  <a:pt x="10" y="424"/>
                  <a:pt x="11" y="426"/>
                </a:cubicBezTo>
                <a:cubicBezTo>
                  <a:pt x="11" y="429"/>
                  <a:pt x="12" y="432"/>
                  <a:pt x="13" y="435"/>
                </a:cubicBezTo>
                <a:cubicBezTo>
                  <a:pt x="14" y="438"/>
                  <a:pt x="15" y="441"/>
                  <a:pt x="16" y="444"/>
                </a:cubicBezTo>
                <a:cubicBezTo>
                  <a:pt x="17" y="446"/>
                  <a:pt x="17" y="448"/>
                  <a:pt x="17" y="448"/>
                </a:cubicBezTo>
                <a:cubicBezTo>
                  <a:pt x="18" y="451"/>
                  <a:pt x="21" y="454"/>
                  <a:pt x="24" y="454"/>
                </a:cubicBezTo>
                <a:cubicBezTo>
                  <a:pt x="24" y="454"/>
                  <a:pt x="33" y="456"/>
                  <a:pt x="41" y="457"/>
                </a:cubicBezTo>
                <a:cubicBezTo>
                  <a:pt x="45" y="457"/>
                  <a:pt x="49" y="458"/>
                  <a:pt x="52" y="458"/>
                </a:cubicBezTo>
                <a:cubicBezTo>
                  <a:pt x="55" y="458"/>
                  <a:pt x="57" y="458"/>
                  <a:pt x="57" y="458"/>
                </a:cubicBezTo>
                <a:cubicBezTo>
                  <a:pt x="60" y="459"/>
                  <a:pt x="63" y="461"/>
                  <a:pt x="64" y="464"/>
                </a:cubicBezTo>
                <a:cubicBezTo>
                  <a:pt x="64" y="464"/>
                  <a:pt x="65" y="465"/>
                  <a:pt x="66" y="467"/>
                </a:cubicBezTo>
                <a:cubicBezTo>
                  <a:pt x="66" y="468"/>
                  <a:pt x="68" y="471"/>
                  <a:pt x="69" y="473"/>
                </a:cubicBezTo>
                <a:cubicBezTo>
                  <a:pt x="71" y="478"/>
                  <a:pt x="74" y="483"/>
                  <a:pt x="74" y="483"/>
                </a:cubicBezTo>
                <a:cubicBezTo>
                  <a:pt x="74" y="483"/>
                  <a:pt x="74" y="484"/>
                  <a:pt x="75" y="486"/>
                </a:cubicBezTo>
                <a:cubicBezTo>
                  <a:pt x="76" y="488"/>
                  <a:pt x="78" y="490"/>
                  <a:pt x="79" y="492"/>
                </a:cubicBezTo>
                <a:cubicBezTo>
                  <a:pt x="82" y="497"/>
                  <a:pt x="85" y="501"/>
                  <a:pt x="85" y="501"/>
                </a:cubicBezTo>
                <a:cubicBezTo>
                  <a:pt x="87" y="504"/>
                  <a:pt x="87" y="508"/>
                  <a:pt x="85" y="510"/>
                </a:cubicBezTo>
                <a:cubicBezTo>
                  <a:pt x="85" y="510"/>
                  <a:pt x="84" y="512"/>
                  <a:pt x="83" y="515"/>
                </a:cubicBezTo>
                <a:cubicBezTo>
                  <a:pt x="81" y="518"/>
                  <a:pt x="79" y="521"/>
                  <a:pt x="78" y="525"/>
                </a:cubicBezTo>
                <a:cubicBezTo>
                  <a:pt x="74" y="532"/>
                  <a:pt x="71" y="540"/>
                  <a:pt x="71" y="540"/>
                </a:cubicBezTo>
                <a:cubicBezTo>
                  <a:pt x="69" y="543"/>
                  <a:pt x="70" y="547"/>
                  <a:pt x="72" y="549"/>
                </a:cubicBezTo>
                <a:cubicBezTo>
                  <a:pt x="72" y="549"/>
                  <a:pt x="76" y="555"/>
                  <a:pt x="81" y="560"/>
                </a:cubicBezTo>
                <a:cubicBezTo>
                  <a:pt x="85" y="565"/>
                  <a:pt x="90" y="570"/>
                  <a:pt x="90" y="570"/>
                </a:cubicBezTo>
                <a:cubicBezTo>
                  <a:pt x="92" y="573"/>
                  <a:pt x="96" y="574"/>
                  <a:pt x="99" y="573"/>
                </a:cubicBezTo>
                <a:cubicBezTo>
                  <a:pt x="99" y="573"/>
                  <a:pt x="107" y="571"/>
                  <a:pt x="115" y="568"/>
                </a:cubicBezTo>
                <a:cubicBezTo>
                  <a:pt x="119" y="567"/>
                  <a:pt x="122" y="566"/>
                  <a:pt x="125" y="565"/>
                </a:cubicBezTo>
                <a:cubicBezTo>
                  <a:pt x="128" y="564"/>
                  <a:pt x="130" y="563"/>
                  <a:pt x="130" y="563"/>
                </a:cubicBezTo>
                <a:cubicBezTo>
                  <a:pt x="133" y="562"/>
                  <a:pt x="137" y="563"/>
                  <a:pt x="139" y="565"/>
                </a:cubicBezTo>
                <a:cubicBezTo>
                  <a:pt x="139" y="565"/>
                  <a:pt x="140" y="566"/>
                  <a:pt x="141" y="567"/>
                </a:cubicBezTo>
                <a:cubicBezTo>
                  <a:pt x="143" y="569"/>
                  <a:pt x="145" y="570"/>
                  <a:pt x="147" y="572"/>
                </a:cubicBezTo>
                <a:cubicBezTo>
                  <a:pt x="149" y="574"/>
                  <a:pt x="151" y="576"/>
                  <a:pt x="153" y="577"/>
                </a:cubicBezTo>
                <a:cubicBezTo>
                  <a:pt x="155" y="578"/>
                  <a:pt x="156" y="579"/>
                  <a:pt x="156" y="579"/>
                </a:cubicBezTo>
                <a:cubicBezTo>
                  <a:pt x="156" y="579"/>
                  <a:pt x="160" y="582"/>
                  <a:pt x="164" y="585"/>
                </a:cubicBezTo>
                <a:cubicBezTo>
                  <a:pt x="169" y="588"/>
                  <a:pt x="173" y="591"/>
                  <a:pt x="173" y="591"/>
                </a:cubicBezTo>
                <a:cubicBezTo>
                  <a:pt x="176" y="593"/>
                  <a:pt x="177" y="596"/>
                  <a:pt x="177" y="599"/>
                </a:cubicBezTo>
                <a:cubicBezTo>
                  <a:pt x="177" y="599"/>
                  <a:pt x="177" y="607"/>
                  <a:pt x="176" y="616"/>
                </a:cubicBezTo>
                <a:cubicBezTo>
                  <a:pt x="176" y="624"/>
                  <a:pt x="176" y="632"/>
                  <a:pt x="176" y="632"/>
                </a:cubicBezTo>
                <a:cubicBezTo>
                  <a:pt x="176" y="635"/>
                  <a:pt x="178" y="639"/>
                  <a:pt x="181" y="640"/>
                </a:cubicBezTo>
                <a:cubicBezTo>
                  <a:pt x="181" y="640"/>
                  <a:pt x="183" y="641"/>
                  <a:pt x="185" y="642"/>
                </a:cubicBezTo>
                <a:cubicBezTo>
                  <a:pt x="187" y="643"/>
                  <a:pt x="190" y="645"/>
                  <a:pt x="193" y="646"/>
                </a:cubicBezTo>
                <a:cubicBezTo>
                  <a:pt x="199" y="649"/>
                  <a:pt x="205" y="652"/>
                  <a:pt x="205" y="652"/>
                </a:cubicBezTo>
                <a:cubicBezTo>
                  <a:pt x="209" y="653"/>
                  <a:pt x="213" y="653"/>
                  <a:pt x="215" y="651"/>
                </a:cubicBezTo>
                <a:cubicBezTo>
                  <a:pt x="215" y="651"/>
                  <a:pt x="217" y="650"/>
                  <a:pt x="219" y="648"/>
                </a:cubicBezTo>
                <a:cubicBezTo>
                  <a:pt x="222" y="646"/>
                  <a:pt x="225" y="643"/>
                  <a:pt x="228" y="640"/>
                </a:cubicBezTo>
                <a:cubicBezTo>
                  <a:pt x="234" y="635"/>
                  <a:pt x="240" y="629"/>
                  <a:pt x="240" y="629"/>
                </a:cubicBezTo>
                <a:cubicBezTo>
                  <a:pt x="242" y="627"/>
                  <a:pt x="246" y="626"/>
                  <a:pt x="249" y="627"/>
                </a:cubicBezTo>
                <a:cubicBezTo>
                  <a:pt x="249" y="627"/>
                  <a:pt x="250" y="628"/>
                  <a:pt x="252" y="628"/>
                </a:cubicBezTo>
                <a:cubicBezTo>
                  <a:pt x="254" y="629"/>
                  <a:pt x="256" y="630"/>
                  <a:pt x="259" y="631"/>
                </a:cubicBezTo>
                <a:cubicBezTo>
                  <a:pt x="264" y="632"/>
                  <a:pt x="269" y="633"/>
                  <a:pt x="269" y="633"/>
                </a:cubicBezTo>
                <a:cubicBezTo>
                  <a:pt x="269" y="633"/>
                  <a:pt x="271" y="634"/>
                  <a:pt x="273" y="634"/>
                </a:cubicBezTo>
                <a:cubicBezTo>
                  <a:pt x="275" y="634"/>
                  <a:pt x="277" y="635"/>
                  <a:pt x="280" y="636"/>
                </a:cubicBezTo>
                <a:cubicBezTo>
                  <a:pt x="283" y="636"/>
                  <a:pt x="285" y="637"/>
                  <a:pt x="287" y="637"/>
                </a:cubicBezTo>
                <a:cubicBezTo>
                  <a:pt x="289" y="637"/>
                  <a:pt x="291" y="637"/>
                  <a:pt x="291" y="637"/>
                </a:cubicBezTo>
                <a:cubicBezTo>
                  <a:pt x="294" y="638"/>
                  <a:pt x="296" y="640"/>
                  <a:pt x="297" y="643"/>
                </a:cubicBezTo>
                <a:cubicBezTo>
                  <a:pt x="297" y="643"/>
                  <a:pt x="298" y="645"/>
                  <a:pt x="299" y="648"/>
                </a:cubicBezTo>
                <a:cubicBezTo>
                  <a:pt x="300" y="651"/>
                  <a:pt x="302" y="655"/>
                  <a:pt x="303" y="659"/>
                </a:cubicBezTo>
                <a:cubicBezTo>
                  <a:pt x="306" y="666"/>
                  <a:pt x="310" y="674"/>
                  <a:pt x="310" y="674"/>
                </a:cubicBezTo>
                <a:cubicBezTo>
                  <a:pt x="311" y="677"/>
                  <a:pt x="314" y="679"/>
                  <a:pt x="318" y="679"/>
                </a:cubicBezTo>
                <a:cubicBezTo>
                  <a:pt x="318" y="679"/>
                  <a:pt x="320" y="679"/>
                  <a:pt x="322" y="679"/>
                </a:cubicBezTo>
                <a:cubicBezTo>
                  <a:pt x="325" y="679"/>
                  <a:pt x="328" y="680"/>
                  <a:pt x="331" y="680"/>
                </a:cubicBezTo>
                <a:cubicBezTo>
                  <a:pt x="335" y="680"/>
                  <a:pt x="338" y="680"/>
                  <a:pt x="340" y="680"/>
                </a:cubicBezTo>
                <a:cubicBezTo>
                  <a:pt x="343" y="680"/>
                  <a:pt x="345" y="680"/>
                  <a:pt x="345" y="680"/>
                </a:cubicBezTo>
                <a:close/>
                <a:moveTo>
                  <a:pt x="334" y="592"/>
                </a:moveTo>
                <a:cubicBezTo>
                  <a:pt x="320" y="592"/>
                  <a:pt x="307" y="590"/>
                  <a:pt x="297" y="588"/>
                </a:cubicBezTo>
                <a:cubicBezTo>
                  <a:pt x="295" y="588"/>
                  <a:pt x="293" y="588"/>
                  <a:pt x="291" y="587"/>
                </a:cubicBezTo>
                <a:cubicBezTo>
                  <a:pt x="289" y="587"/>
                  <a:pt x="287" y="586"/>
                  <a:pt x="285" y="586"/>
                </a:cubicBezTo>
                <a:cubicBezTo>
                  <a:pt x="284" y="586"/>
                  <a:pt x="283" y="586"/>
                  <a:pt x="282" y="585"/>
                </a:cubicBezTo>
                <a:cubicBezTo>
                  <a:pt x="281" y="585"/>
                  <a:pt x="281" y="585"/>
                  <a:pt x="281" y="585"/>
                </a:cubicBezTo>
                <a:cubicBezTo>
                  <a:pt x="281" y="585"/>
                  <a:pt x="279" y="585"/>
                  <a:pt x="277" y="584"/>
                </a:cubicBezTo>
                <a:cubicBezTo>
                  <a:pt x="274" y="583"/>
                  <a:pt x="270" y="582"/>
                  <a:pt x="265" y="581"/>
                </a:cubicBezTo>
                <a:cubicBezTo>
                  <a:pt x="255" y="578"/>
                  <a:pt x="243" y="573"/>
                  <a:pt x="231" y="567"/>
                </a:cubicBezTo>
                <a:cubicBezTo>
                  <a:pt x="225" y="565"/>
                  <a:pt x="219" y="561"/>
                  <a:pt x="214" y="558"/>
                </a:cubicBezTo>
                <a:cubicBezTo>
                  <a:pt x="208" y="555"/>
                  <a:pt x="203" y="552"/>
                  <a:pt x="199" y="549"/>
                </a:cubicBezTo>
                <a:cubicBezTo>
                  <a:pt x="197" y="548"/>
                  <a:pt x="195" y="547"/>
                  <a:pt x="194" y="546"/>
                </a:cubicBezTo>
                <a:cubicBezTo>
                  <a:pt x="192" y="544"/>
                  <a:pt x="191" y="543"/>
                  <a:pt x="189" y="542"/>
                </a:cubicBezTo>
                <a:cubicBezTo>
                  <a:pt x="187" y="541"/>
                  <a:pt x="186" y="540"/>
                  <a:pt x="186" y="540"/>
                </a:cubicBezTo>
                <a:cubicBezTo>
                  <a:pt x="186" y="540"/>
                  <a:pt x="185" y="539"/>
                  <a:pt x="185" y="539"/>
                </a:cubicBezTo>
                <a:cubicBezTo>
                  <a:pt x="184" y="538"/>
                  <a:pt x="183" y="538"/>
                  <a:pt x="182" y="537"/>
                </a:cubicBezTo>
                <a:cubicBezTo>
                  <a:pt x="180" y="535"/>
                  <a:pt x="177" y="532"/>
                  <a:pt x="173" y="529"/>
                </a:cubicBezTo>
                <a:cubicBezTo>
                  <a:pt x="166" y="523"/>
                  <a:pt x="156" y="513"/>
                  <a:pt x="147" y="503"/>
                </a:cubicBezTo>
                <a:cubicBezTo>
                  <a:pt x="139" y="493"/>
                  <a:pt x="131" y="482"/>
                  <a:pt x="126" y="474"/>
                </a:cubicBezTo>
                <a:cubicBezTo>
                  <a:pt x="124" y="472"/>
                  <a:pt x="123" y="470"/>
                  <a:pt x="122" y="468"/>
                </a:cubicBezTo>
                <a:cubicBezTo>
                  <a:pt x="121" y="466"/>
                  <a:pt x="120" y="464"/>
                  <a:pt x="120" y="463"/>
                </a:cubicBezTo>
                <a:cubicBezTo>
                  <a:pt x="119" y="462"/>
                  <a:pt x="118" y="461"/>
                  <a:pt x="118" y="460"/>
                </a:cubicBezTo>
                <a:cubicBezTo>
                  <a:pt x="117" y="460"/>
                  <a:pt x="117" y="459"/>
                  <a:pt x="117" y="459"/>
                </a:cubicBezTo>
                <a:cubicBezTo>
                  <a:pt x="117" y="459"/>
                  <a:pt x="117" y="458"/>
                  <a:pt x="115" y="455"/>
                </a:cubicBezTo>
                <a:cubicBezTo>
                  <a:pt x="114" y="453"/>
                  <a:pt x="112" y="449"/>
                  <a:pt x="110" y="444"/>
                </a:cubicBezTo>
                <a:cubicBezTo>
                  <a:pt x="109" y="442"/>
                  <a:pt x="108" y="440"/>
                  <a:pt x="107" y="437"/>
                </a:cubicBezTo>
                <a:cubicBezTo>
                  <a:pt x="106" y="434"/>
                  <a:pt x="104" y="432"/>
                  <a:pt x="103" y="429"/>
                </a:cubicBezTo>
                <a:cubicBezTo>
                  <a:pt x="102" y="426"/>
                  <a:pt x="101" y="423"/>
                  <a:pt x="100" y="420"/>
                </a:cubicBezTo>
                <a:cubicBezTo>
                  <a:pt x="99" y="417"/>
                  <a:pt x="98" y="413"/>
                  <a:pt x="97" y="410"/>
                </a:cubicBezTo>
                <a:cubicBezTo>
                  <a:pt x="93" y="398"/>
                  <a:pt x="91" y="384"/>
                  <a:pt x="89" y="375"/>
                </a:cubicBezTo>
                <a:cubicBezTo>
                  <a:pt x="88" y="365"/>
                  <a:pt x="87" y="358"/>
                  <a:pt x="87" y="358"/>
                </a:cubicBezTo>
                <a:cubicBezTo>
                  <a:pt x="87" y="358"/>
                  <a:pt x="87" y="356"/>
                  <a:pt x="87" y="354"/>
                </a:cubicBezTo>
                <a:cubicBezTo>
                  <a:pt x="87" y="351"/>
                  <a:pt x="87" y="347"/>
                  <a:pt x="87" y="342"/>
                </a:cubicBezTo>
                <a:cubicBezTo>
                  <a:pt x="87" y="332"/>
                  <a:pt x="87" y="318"/>
                  <a:pt x="89" y="305"/>
                </a:cubicBezTo>
                <a:cubicBezTo>
                  <a:pt x="91" y="292"/>
                  <a:pt x="94" y="279"/>
                  <a:pt x="96" y="269"/>
                </a:cubicBezTo>
                <a:cubicBezTo>
                  <a:pt x="98" y="264"/>
                  <a:pt x="99" y="261"/>
                  <a:pt x="100" y="258"/>
                </a:cubicBezTo>
                <a:cubicBezTo>
                  <a:pt x="100" y="256"/>
                  <a:pt x="101" y="255"/>
                  <a:pt x="101" y="255"/>
                </a:cubicBezTo>
                <a:cubicBezTo>
                  <a:pt x="101" y="254"/>
                  <a:pt x="101" y="253"/>
                  <a:pt x="101" y="253"/>
                </a:cubicBezTo>
                <a:cubicBezTo>
                  <a:pt x="101" y="253"/>
                  <a:pt x="102" y="252"/>
                  <a:pt x="103" y="249"/>
                </a:cubicBezTo>
                <a:cubicBezTo>
                  <a:pt x="103" y="248"/>
                  <a:pt x="104" y="246"/>
                  <a:pt x="105" y="244"/>
                </a:cubicBezTo>
                <a:cubicBezTo>
                  <a:pt x="106" y="242"/>
                  <a:pt x="106" y="240"/>
                  <a:pt x="107" y="238"/>
                </a:cubicBezTo>
                <a:cubicBezTo>
                  <a:pt x="109" y="233"/>
                  <a:pt x="112" y="228"/>
                  <a:pt x="115" y="223"/>
                </a:cubicBezTo>
                <a:cubicBezTo>
                  <a:pt x="118" y="217"/>
                  <a:pt x="121" y="211"/>
                  <a:pt x="124" y="206"/>
                </a:cubicBezTo>
                <a:cubicBezTo>
                  <a:pt x="131" y="194"/>
                  <a:pt x="139" y="183"/>
                  <a:pt x="145" y="176"/>
                </a:cubicBezTo>
                <a:cubicBezTo>
                  <a:pt x="149" y="172"/>
                  <a:pt x="151" y="169"/>
                  <a:pt x="153" y="167"/>
                </a:cubicBezTo>
                <a:cubicBezTo>
                  <a:pt x="155" y="165"/>
                  <a:pt x="156" y="164"/>
                  <a:pt x="156" y="164"/>
                </a:cubicBezTo>
                <a:cubicBezTo>
                  <a:pt x="156" y="164"/>
                  <a:pt x="158" y="162"/>
                  <a:pt x="160" y="160"/>
                </a:cubicBezTo>
                <a:cubicBezTo>
                  <a:pt x="162" y="158"/>
                  <a:pt x="165" y="155"/>
                  <a:pt x="168" y="152"/>
                </a:cubicBezTo>
                <a:cubicBezTo>
                  <a:pt x="176" y="145"/>
                  <a:pt x="186" y="137"/>
                  <a:pt x="197" y="129"/>
                </a:cubicBezTo>
                <a:cubicBezTo>
                  <a:pt x="208" y="122"/>
                  <a:pt x="220" y="115"/>
                  <a:pt x="229" y="111"/>
                </a:cubicBezTo>
                <a:cubicBezTo>
                  <a:pt x="233" y="108"/>
                  <a:pt x="237" y="107"/>
                  <a:pt x="239" y="106"/>
                </a:cubicBezTo>
                <a:cubicBezTo>
                  <a:pt x="242" y="104"/>
                  <a:pt x="244" y="104"/>
                  <a:pt x="244" y="104"/>
                </a:cubicBezTo>
                <a:cubicBezTo>
                  <a:pt x="244" y="104"/>
                  <a:pt x="245" y="103"/>
                  <a:pt x="248" y="102"/>
                </a:cubicBezTo>
                <a:cubicBezTo>
                  <a:pt x="251" y="101"/>
                  <a:pt x="254" y="99"/>
                  <a:pt x="259" y="98"/>
                </a:cubicBezTo>
                <a:cubicBezTo>
                  <a:pt x="269" y="95"/>
                  <a:pt x="281" y="91"/>
                  <a:pt x="294" y="89"/>
                </a:cubicBezTo>
                <a:cubicBezTo>
                  <a:pt x="301" y="87"/>
                  <a:pt x="308" y="87"/>
                  <a:pt x="314" y="86"/>
                </a:cubicBezTo>
                <a:cubicBezTo>
                  <a:pt x="320" y="85"/>
                  <a:pt x="326" y="85"/>
                  <a:pt x="331" y="85"/>
                </a:cubicBezTo>
                <a:cubicBezTo>
                  <a:pt x="333" y="85"/>
                  <a:pt x="336" y="85"/>
                  <a:pt x="338" y="85"/>
                </a:cubicBezTo>
                <a:cubicBezTo>
                  <a:pt x="340" y="85"/>
                  <a:pt x="341" y="85"/>
                  <a:pt x="343" y="85"/>
                </a:cubicBezTo>
                <a:cubicBezTo>
                  <a:pt x="346" y="85"/>
                  <a:pt x="347" y="85"/>
                  <a:pt x="347" y="85"/>
                </a:cubicBezTo>
                <a:cubicBezTo>
                  <a:pt x="347" y="85"/>
                  <a:pt x="348" y="85"/>
                  <a:pt x="349" y="85"/>
                </a:cubicBezTo>
                <a:cubicBezTo>
                  <a:pt x="349" y="85"/>
                  <a:pt x="350" y="85"/>
                  <a:pt x="352" y="85"/>
                </a:cubicBezTo>
                <a:cubicBezTo>
                  <a:pt x="355" y="85"/>
                  <a:pt x="359" y="85"/>
                  <a:pt x="364" y="86"/>
                </a:cubicBezTo>
                <a:cubicBezTo>
                  <a:pt x="374" y="87"/>
                  <a:pt x="387" y="89"/>
                  <a:pt x="400" y="92"/>
                </a:cubicBezTo>
                <a:cubicBezTo>
                  <a:pt x="413" y="95"/>
                  <a:pt x="426" y="99"/>
                  <a:pt x="435" y="103"/>
                </a:cubicBezTo>
                <a:cubicBezTo>
                  <a:pt x="439" y="105"/>
                  <a:pt x="443" y="106"/>
                  <a:pt x="446" y="107"/>
                </a:cubicBezTo>
                <a:cubicBezTo>
                  <a:pt x="449" y="109"/>
                  <a:pt x="450" y="109"/>
                  <a:pt x="450" y="109"/>
                </a:cubicBezTo>
                <a:cubicBezTo>
                  <a:pt x="450" y="109"/>
                  <a:pt x="456" y="112"/>
                  <a:pt x="465" y="117"/>
                </a:cubicBezTo>
                <a:cubicBezTo>
                  <a:pt x="473" y="122"/>
                  <a:pt x="485" y="129"/>
                  <a:pt x="495" y="137"/>
                </a:cubicBezTo>
                <a:cubicBezTo>
                  <a:pt x="498" y="139"/>
                  <a:pt x="500" y="141"/>
                  <a:pt x="503" y="143"/>
                </a:cubicBezTo>
                <a:cubicBezTo>
                  <a:pt x="505" y="145"/>
                  <a:pt x="508" y="147"/>
                  <a:pt x="510" y="150"/>
                </a:cubicBezTo>
                <a:cubicBezTo>
                  <a:pt x="512" y="152"/>
                  <a:pt x="515" y="154"/>
                  <a:pt x="517" y="156"/>
                </a:cubicBezTo>
                <a:cubicBezTo>
                  <a:pt x="519" y="158"/>
                  <a:pt x="521" y="160"/>
                  <a:pt x="522" y="161"/>
                </a:cubicBezTo>
                <a:cubicBezTo>
                  <a:pt x="526" y="165"/>
                  <a:pt x="529" y="168"/>
                  <a:pt x="531" y="170"/>
                </a:cubicBezTo>
                <a:cubicBezTo>
                  <a:pt x="533" y="172"/>
                  <a:pt x="534" y="174"/>
                  <a:pt x="534" y="174"/>
                </a:cubicBezTo>
                <a:cubicBezTo>
                  <a:pt x="534" y="174"/>
                  <a:pt x="534" y="174"/>
                  <a:pt x="534" y="175"/>
                </a:cubicBezTo>
                <a:cubicBezTo>
                  <a:pt x="535" y="175"/>
                  <a:pt x="536" y="176"/>
                  <a:pt x="537" y="177"/>
                </a:cubicBezTo>
                <a:cubicBezTo>
                  <a:pt x="537" y="178"/>
                  <a:pt x="539" y="180"/>
                  <a:pt x="540" y="181"/>
                </a:cubicBezTo>
                <a:cubicBezTo>
                  <a:pt x="541" y="183"/>
                  <a:pt x="543" y="185"/>
                  <a:pt x="544" y="187"/>
                </a:cubicBezTo>
                <a:cubicBezTo>
                  <a:pt x="550" y="195"/>
                  <a:pt x="557" y="206"/>
                  <a:pt x="564" y="218"/>
                </a:cubicBezTo>
                <a:cubicBezTo>
                  <a:pt x="570" y="229"/>
                  <a:pt x="575" y="241"/>
                  <a:pt x="579" y="251"/>
                </a:cubicBezTo>
                <a:cubicBezTo>
                  <a:pt x="580" y="255"/>
                  <a:pt x="582" y="259"/>
                  <a:pt x="583" y="262"/>
                </a:cubicBezTo>
                <a:cubicBezTo>
                  <a:pt x="583" y="264"/>
                  <a:pt x="583" y="265"/>
                  <a:pt x="584" y="265"/>
                </a:cubicBezTo>
                <a:cubicBezTo>
                  <a:pt x="584" y="266"/>
                  <a:pt x="584" y="267"/>
                  <a:pt x="584" y="267"/>
                </a:cubicBezTo>
                <a:cubicBezTo>
                  <a:pt x="584" y="267"/>
                  <a:pt x="584" y="268"/>
                  <a:pt x="585" y="271"/>
                </a:cubicBezTo>
                <a:cubicBezTo>
                  <a:pt x="586" y="272"/>
                  <a:pt x="586" y="274"/>
                  <a:pt x="587" y="276"/>
                </a:cubicBezTo>
                <a:cubicBezTo>
                  <a:pt x="587" y="278"/>
                  <a:pt x="588" y="280"/>
                  <a:pt x="588" y="283"/>
                </a:cubicBezTo>
                <a:cubicBezTo>
                  <a:pt x="589" y="287"/>
                  <a:pt x="590" y="293"/>
                  <a:pt x="591" y="299"/>
                </a:cubicBezTo>
                <a:cubicBezTo>
                  <a:pt x="592" y="305"/>
                  <a:pt x="593" y="312"/>
                  <a:pt x="594" y="319"/>
                </a:cubicBezTo>
                <a:cubicBezTo>
                  <a:pt x="595" y="332"/>
                  <a:pt x="595" y="345"/>
                  <a:pt x="594" y="355"/>
                </a:cubicBezTo>
                <a:cubicBezTo>
                  <a:pt x="593" y="360"/>
                  <a:pt x="593" y="364"/>
                  <a:pt x="593" y="367"/>
                </a:cubicBezTo>
                <a:cubicBezTo>
                  <a:pt x="592" y="370"/>
                  <a:pt x="592" y="372"/>
                  <a:pt x="592" y="372"/>
                </a:cubicBezTo>
                <a:cubicBezTo>
                  <a:pt x="592" y="372"/>
                  <a:pt x="592" y="372"/>
                  <a:pt x="592" y="373"/>
                </a:cubicBezTo>
                <a:cubicBezTo>
                  <a:pt x="592" y="374"/>
                  <a:pt x="592" y="375"/>
                  <a:pt x="591" y="376"/>
                </a:cubicBezTo>
                <a:cubicBezTo>
                  <a:pt x="591" y="378"/>
                  <a:pt x="591" y="379"/>
                  <a:pt x="591" y="381"/>
                </a:cubicBezTo>
                <a:cubicBezTo>
                  <a:pt x="590" y="383"/>
                  <a:pt x="590" y="386"/>
                  <a:pt x="589" y="388"/>
                </a:cubicBezTo>
                <a:cubicBezTo>
                  <a:pt x="588" y="398"/>
                  <a:pt x="584" y="411"/>
                  <a:pt x="580" y="423"/>
                </a:cubicBezTo>
                <a:cubicBezTo>
                  <a:pt x="575" y="436"/>
                  <a:pt x="570" y="448"/>
                  <a:pt x="565" y="457"/>
                </a:cubicBezTo>
                <a:cubicBezTo>
                  <a:pt x="563" y="461"/>
                  <a:pt x="561" y="465"/>
                  <a:pt x="559" y="467"/>
                </a:cubicBezTo>
                <a:cubicBezTo>
                  <a:pt x="558" y="470"/>
                  <a:pt x="557" y="471"/>
                  <a:pt x="557" y="471"/>
                </a:cubicBezTo>
                <a:cubicBezTo>
                  <a:pt x="557" y="471"/>
                  <a:pt x="556" y="473"/>
                  <a:pt x="554" y="475"/>
                </a:cubicBezTo>
                <a:cubicBezTo>
                  <a:pt x="553" y="478"/>
                  <a:pt x="550" y="481"/>
                  <a:pt x="548" y="485"/>
                </a:cubicBezTo>
                <a:cubicBezTo>
                  <a:pt x="542" y="493"/>
                  <a:pt x="534" y="504"/>
                  <a:pt x="525" y="513"/>
                </a:cubicBezTo>
                <a:cubicBezTo>
                  <a:pt x="515" y="523"/>
                  <a:pt x="505" y="532"/>
                  <a:pt x="497" y="538"/>
                </a:cubicBezTo>
                <a:cubicBezTo>
                  <a:pt x="496" y="539"/>
                  <a:pt x="496" y="539"/>
                  <a:pt x="495" y="540"/>
                </a:cubicBezTo>
                <a:cubicBezTo>
                  <a:pt x="494" y="541"/>
                  <a:pt x="493" y="541"/>
                  <a:pt x="492" y="542"/>
                </a:cubicBezTo>
                <a:cubicBezTo>
                  <a:pt x="490" y="543"/>
                  <a:pt x="489" y="544"/>
                  <a:pt x="488" y="545"/>
                </a:cubicBezTo>
                <a:cubicBezTo>
                  <a:pt x="485" y="547"/>
                  <a:pt x="484" y="548"/>
                  <a:pt x="484" y="548"/>
                </a:cubicBezTo>
                <a:cubicBezTo>
                  <a:pt x="484" y="548"/>
                  <a:pt x="483" y="549"/>
                  <a:pt x="480" y="550"/>
                </a:cubicBezTo>
                <a:cubicBezTo>
                  <a:pt x="479" y="551"/>
                  <a:pt x="478" y="552"/>
                  <a:pt x="476" y="553"/>
                </a:cubicBezTo>
                <a:cubicBezTo>
                  <a:pt x="475" y="554"/>
                  <a:pt x="474" y="554"/>
                  <a:pt x="473" y="555"/>
                </a:cubicBezTo>
                <a:cubicBezTo>
                  <a:pt x="472" y="555"/>
                  <a:pt x="471" y="556"/>
                  <a:pt x="470" y="557"/>
                </a:cubicBezTo>
                <a:cubicBezTo>
                  <a:pt x="461" y="562"/>
                  <a:pt x="450" y="568"/>
                  <a:pt x="437" y="573"/>
                </a:cubicBezTo>
                <a:cubicBezTo>
                  <a:pt x="425" y="578"/>
                  <a:pt x="412" y="582"/>
                  <a:pt x="403" y="585"/>
                </a:cubicBezTo>
                <a:cubicBezTo>
                  <a:pt x="398" y="586"/>
                  <a:pt x="394" y="587"/>
                  <a:pt x="391" y="587"/>
                </a:cubicBezTo>
                <a:cubicBezTo>
                  <a:pt x="388" y="588"/>
                  <a:pt x="387" y="588"/>
                  <a:pt x="387" y="588"/>
                </a:cubicBezTo>
                <a:cubicBezTo>
                  <a:pt x="387" y="588"/>
                  <a:pt x="385" y="588"/>
                  <a:pt x="382" y="589"/>
                </a:cubicBezTo>
                <a:cubicBezTo>
                  <a:pt x="379" y="589"/>
                  <a:pt x="375" y="590"/>
                  <a:pt x="370" y="591"/>
                </a:cubicBezTo>
                <a:cubicBezTo>
                  <a:pt x="360" y="592"/>
                  <a:pt x="347" y="593"/>
                  <a:pt x="334" y="5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D93BD21E-3782-48D9-8BD3-8F9459E11CA1}"/>
              </a:ext>
            </a:extLst>
          </p:cNvPr>
          <p:cNvSpPr/>
          <p:nvPr/>
        </p:nvSpPr>
        <p:spPr bwMode="auto">
          <a:xfrm>
            <a:off x="5978082" y="1788465"/>
            <a:ext cx="1766241" cy="1768487"/>
          </a:xfrm>
          <a:custGeom>
            <a:avLst/>
            <a:gdLst>
              <a:gd name="T0" fmla="*/ 413 w 714"/>
              <a:gd name="T1" fmla="*/ 709 h 714"/>
              <a:gd name="T2" fmla="*/ 455 w 714"/>
              <a:gd name="T3" fmla="*/ 706 h 714"/>
              <a:gd name="T4" fmla="*/ 482 w 714"/>
              <a:gd name="T5" fmla="*/ 644 h 714"/>
              <a:gd name="T6" fmla="*/ 528 w 714"/>
              <a:gd name="T7" fmla="*/ 619 h 714"/>
              <a:gd name="T8" fmla="*/ 594 w 714"/>
              <a:gd name="T9" fmla="*/ 631 h 714"/>
              <a:gd name="T10" fmla="*/ 620 w 714"/>
              <a:gd name="T11" fmla="*/ 606 h 714"/>
              <a:gd name="T12" fmla="*/ 608 w 714"/>
              <a:gd name="T13" fmla="*/ 554 h 714"/>
              <a:gd name="T14" fmla="*/ 625 w 714"/>
              <a:gd name="T15" fmla="*/ 519 h 714"/>
              <a:gd name="T16" fmla="*/ 690 w 714"/>
              <a:gd name="T17" fmla="*/ 484 h 714"/>
              <a:gd name="T18" fmla="*/ 690 w 714"/>
              <a:gd name="T19" fmla="*/ 415 h 714"/>
              <a:gd name="T20" fmla="*/ 670 w 714"/>
              <a:gd name="T21" fmla="*/ 360 h 714"/>
              <a:gd name="T22" fmla="*/ 680 w 714"/>
              <a:gd name="T23" fmla="*/ 322 h 714"/>
              <a:gd name="T24" fmla="*/ 713 w 714"/>
              <a:gd name="T25" fmla="*/ 287 h 714"/>
              <a:gd name="T26" fmla="*/ 696 w 714"/>
              <a:gd name="T27" fmla="*/ 245 h 714"/>
              <a:gd name="T28" fmla="*/ 638 w 714"/>
              <a:gd name="T29" fmla="*/ 219 h 714"/>
              <a:gd name="T30" fmla="*/ 617 w 714"/>
              <a:gd name="T31" fmla="*/ 171 h 714"/>
              <a:gd name="T32" fmla="*/ 619 w 714"/>
              <a:gd name="T33" fmla="*/ 106 h 714"/>
              <a:gd name="T34" fmla="*/ 588 w 714"/>
              <a:gd name="T35" fmla="*/ 92 h 714"/>
              <a:gd name="T36" fmla="*/ 540 w 714"/>
              <a:gd name="T37" fmla="*/ 102 h 714"/>
              <a:gd name="T38" fmla="*/ 495 w 714"/>
              <a:gd name="T39" fmla="*/ 76 h 714"/>
              <a:gd name="T40" fmla="*/ 459 w 714"/>
              <a:gd name="T41" fmla="*/ 9 h 714"/>
              <a:gd name="T42" fmla="*/ 392 w 714"/>
              <a:gd name="T43" fmla="*/ 45 h 714"/>
              <a:gd name="T44" fmla="*/ 341 w 714"/>
              <a:gd name="T45" fmla="*/ 44 h 714"/>
              <a:gd name="T46" fmla="*/ 305 w 714"/>
              <a:gd name="T47" fmla="*/ 10 h 714"/>
              <a:gd name="T48" fmla="*/ 271 w 714"/>
              <a:gd name="T49" fmla="*/ 4 h 714"/>
              <a:gd name="T50" fmla="*/ 239 w 714"/>
              <a:gd name="T51" fmla="*/ 60 h 714"/>
              <a:gd name="T52" fmla="*/ 195 w 714"/>
              <a:gd name="T53" fmla="*/ 89 h 714"/>
              <a:gd name="T54" fmla="*/ 132 w 714"/>
              <a:gd name="T55" fmla="*/ 80 h 714"/>
              <a:gd name="T56" fmla="*/ 95 w 714"/>
              <a:gd name="T57" fmla="*/ 106 h 714"/>
              <a:gd name="T58" fmla="*/ 104 w 714"/>
              <a:gd name="T59" fmla="*/ 153 h 714"/>
              <a:gd name="T60" fmla="*/ 92 w 714"/>
              <a:gd name="T61" fmla="*/ 190 h 714"/>
              <a:gd name="T62" fmla="*/ 45 w 714"/>
              <a:gd name="T63" fmla="*/ 226 h 714"/>
              <a:gd name="T64" fmla="*/ 8 w 714"/>
              <a:gd name="T65" fmla="*/ 284 h 714"/>
              <a:gd name="T66" fmla="*/ 44 w 714"/>
              <a:gd name="T67" fmla="*/ 349 h 714"/>
              <a:gd name="T68" fmla="*/ 39 w 714"/>
              <a:gd name="T69" fmla="*/ 388 h 714"/>
              <a:gd name="T70" fmla="*/ 1 w 714"/>
              <a:gd name="T71" fmla="*/ 425 h 714"/>
              <a:gd name="T72" fmla="*/ 9 w 714"/>
              <a:gd name="T73" fmla="*/ 460 h 714"/>
              <a:gd name="T74" fmla="*/ 72 w 714"/>
              <a:gd name="T75" fmla="*/ 486 h 714"/>
              <a:gd name="T76" fmla="*/ 97 w 714"/>
              <a:gd name="T77" fmla="*/ 531 h 714"/>
              <a:gd name="T78" fmla="*/ 86 w 714"/>
              <a:gd name="T79" fmla="*/ 598 h 714"/>
              <a:gd name="T80" fmla="*/ 120 w 714"/>
              <a:gd name="T81" fmla="*/ 623 h 714"/>
              <a:gd name="T82" fmla="*/ 171 w 714"/>
              <a:gd name="T83" fmla="*/ 609 h 714"/>
              <a:gd name="T84" fmla="*/ 206 w 714"/>
              <a:gd name="T85" fmla="*/ 631 h 714"/>
              <a:gd name="T86" fmla="*/ 238 w 714"/>
              <a:gd name="T87" fmla="*/ 699 h 714"/>
              <a:gd name="T88" fmla="*/ 311 w 714"/>
              <a:gd name="T89" fmla="*/ 673 h 714"/>
              <a:gd name="T90" fmla="*/ 364 w 714"/>
              <a:gd name="T91" fmla="*/ 670 h 714"/>
              <a:gd name="T92" fmla="*/ 346 w 714"/>
              <a:gd name="T93" fmla="*/ 606 h 714"/>
              <a:gd name="T94" fmla="*/ 227 w 714"/>
              <a:gd name="T95" fmla="*/ 569 h 714"/>
              <a:gd name="T96" fmla="*/ 144 w 714"/>
              <a:gd name="T97" fmla="*/ 487 h 714"/>
              <a:gd name="T98" fmla="*/ 129 w 714"/>
              <a:gd name="T99" fmla="*/ 458 h 714"/>
              <a:gd name="T100" fmla="*/ 108 w 714"/>
              <a:gd name="T101" fmla="*/ 345 h 714"/>
              <a:gd name="T102" fmla="*/ 144 w 714"/>
              <a:gd name="T103" fmla="*/ 227 h 714"/>
              <a:gd name="T104" fmla="*/ 227 w 714"/>
              <a:gd name="T105" fmla="*/ 144 h 714"/>
              <a:gd name="T106" fmla="*/ 256 w 714"/>
              <a:gd name="T107" fmla="*/ 129 h 714"/>
              <a:gd name="T108" fmla="*/ 368 w 714"/>
              <a:gd name="T109" fmla="*/ 108 h 714"/>
              <a:gd name="T110" fmla="*/ 487 w 714"/>
              <a:gd name="T111" fmla="*/ 144 h 714"/>
              <a:gd name="T112" fmla="*/ 570 w 714"/>
              <a:gd name="T113" fmla="*/ 227 h 714"/>
              <a:gd name="T114" fmla="*/ 585 w 714"/>
              <a:gd name="T115" fmla="*/ 255 h 714"/>
              <a:gd name="T116" fmla="*/ 606 w 714"/>
              <a:gd name="T117" fmla="*/ 368 h 714"/>
              <a:gd name="T118" fmla="*/ 570 w 714"/>
              <a:gd name="T119" fmla="*/ 486 h 714"/>
              <a:gd name="T120" fmla="*/ 487 w 714"/>
              <a:gd name="T121" fmla="*/ 569 h 714"/>
              <a:gd name="T122" fmla="*/ 458 w 714"/>
              <a:gd name="T123" fmla="*/ 584 h 7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14" h="714">
                <a:moveTo>
                  <a:pt x="388" y="674"/>
                </a:moveTo>
                <a:cubicBezTo>
                  <a:pt x="388" y="674"/>
                  <a:pt x="390" y="677"/>
                  <a:pt x="392" y="680"/>
                </a:cubicBezTo>
                <a:cubicBezTo>
                  <a:pt x="394" y="683"/>
                  <a:pt x="397" y="687"/>
                  <a:pt x="400" y="692"/>
                </a:cubicBezTo>
                <a:cubicBezTo>
                  <a:pt x="403" y="696"/>
                  <a:pt x="407" y="700"/>
                  <a:pt x="409" y="704"/>
                </a:cubicBezTo>
                <a:cubicBezTo>
                  <a:pt x="412" y="707"/>
                  <a:pt x="413" y="709"/>
                  <a:pt x="413" y="709"/>
                </a:cubicBezTo>
                <a:cubicBezTo>
                  <a:pt x="416" y="712"/>
                  <a:pt x="421" y="714"/>
                  <a:pt x="425" y="713"/>
                </a:cubicBezTo>
                <a:cubicBezTo>
                  <a:pt x="425" y="713"/>
                  <a:pt x="426" y="713"/>
                  <a:pt x="427" y="712"/>
                </a:cubicBezTo>
                <a:cubicBezTo>
                  <a:pt x="428" y="712"/>
                  <a:pt x="429" y="712"/>
                  <a:pt x="431" y="712"/>
                </a:cubicBezTo>
                <a:cubicBezTo>
                  <a:pt x="434" y="711"/>
                  <a:pt x="438" y="710"/>
                  <a:pt x="443" y="709"/>
                </a:cubicBezTo>
                <a:cubicBezTo>
                  <a:pt x="447" y="708"/>
                  <a:pt x="451" y="707"/>
                  <a:pt x="455" y="706"/>
                </a:cubicBezTo>
                <a:cubicBezTo>
                  <a:pt x="458" y="705"/>
                  <a:pt x="460" y="704"/>
                  <a:pt x="460" y="704"/>
                </a:cubicBezTo>
                <a:cubicBezTo>
                  <a:pt x="465" y="703"/>
                  <a:pt x="468" y="699"/>
                  <a:pt x="469" y="695"/>
                </a:cubicBezTo>
                <a:cubicBezTo>
                  <a:pt x="469" y="695"/>
                  <a:pt x="471" y="685"/>
                  <a:pt x="473" y="674"/>
                </a:cubicBezTo>
                <a:cubicBezTo>
                  <a:pt x="474" y="663"/>
                  <a:pt x="475" y="653"/>
                  <a:pt x="475" y="653"/>
                </a:cubicBezTo>
                <a:cubicBezTo>
                  <a:pt x="476" y="649"/>
                  <a:pt x="479" y="646"/>
                  <a:pt x="482" y="644"/>
                </a:cubicBezTo>
                <a:cubicBezTo>
                  <a:pt x="482" y="644"/>
                  <a:pt x="484" y="643"/>
                  <a:pt x="486" y="642"/>
                </a:cubicBezTo>
                <a:cubicBezTo>
                  <a:pt x="489" y="641"/>
                  <a:pt x="492" y="640"/>
                  <a:pt x="495" y="638"/>
                </a:cubicBezTo>
                <a:cubicBezTo>
                  <a:pt x="501" y="635"/>
                  <a:pt x="507" y="632"/>
                  <a:pt x="507" y="632"/>
                </a:cubicBezTo>
                <a:cubicBezTo>
                  <a:pt x="507" y="632"/>
                  <a:pt x="513" y="628"/>
                  <a:pt x="519" y="625"/>
                </a:cubicBezTo>
                <a:cubicBezTo>
                  <a:pt x="522" y="623"/>
                  <a:pt x="525" y="621"/>
                  <a:pt x="528" y="619"/>
                </a:cubicBezTo>
                <a:cubicBezTo>
                  <a:pt x="530" y="618"/>
                  <a:pt x="531" y="617"/>
                  <a:pt x="531" y="617"/>
                </a:cubicBezTo>
                <a:cubicBezTo>
                  <a:pt x="535" y="615"/>
                  <a:pt x="539" y="614"/>
                  <a:pt x="543" y="616"/>
                </a:cubicBezTo>
                <a:cubicBezTo>
                  <a:pt x="543" y="616"/>
                  <a:pt x="552" y="621"/>
                  <a:pt x="562" y="625"/>
                </a:cubicBezTo>
                <a:cubicBezTo>
                  <a:pt x="572" y="630"/>
                  <a:pt x="582" y="634"/>
                  <a:pt x="582" y="634"/>
                </a:cubicBezTo>
                <a:cubicBezTo>
                  <a:pt x="586" y="635"/>
                  <a:pt x="591" y="634"/>
                  <a:pt x="594" y="631"/>
                </a:cubicBezTo>
                <a:cubicBezTo>
                  <a:pt x="594" y="631"/>
                  <a:pt x="596" y="629"/>
                  <a:pt x="598" y="627"/>
                </a:cubicBezTo>
                <a:cubicBezTo>
                  <a:pt x="601" y="625"/>
                  <a:pt x="604" y="622"/>
                  <a:pt x="607" y="619"/>
                </a:cubicBezTo>
                <a:cubicBezTo>
                  <a:pt x="611" y="616"/>
                  <a:pt x="614" y="613"/>
                  <a:pt x="616" y="610"/>
                </a:cubicBezTo>
                <a:cubicBezTo>
                  <a:pt x="617" y="609"/>
                  <a:pt x="618" y="608"/>
                  <a:pt x="619" y="607"/>
                </a:cubicBezTo>
                <a:cubicBezTo>
                  <a:pt x="620" y="607"/>
                  <a:pt x="620" y="606"/>
                  <a:pt x="620" y="606"/>
                </a:cubicBezTo>
                <a:cubicBezTo>
                  <a:pt x="623" y="603"/>
                  <a:pt x="625" y="598"/>
                  <a:pt x="623" y="594"/>
                </a:cubicBezTo>
                <a:cubicBezTo>
                  <a:pt x="623" y="594"/>
                  <a:pt x="623" y="591"/>
                  <a:pt x="621" y="588"/>
                </a:cubicBezTo>
                <a:cubicBezTo>
                  <a:pt x="620" y="584"/>
                  <a:pt x="618" y="579"/>
                  <a:pt x="616" y="574"/>
                </a:cubicBezTo>
                <a:cubicBezTo>
                  <a:pt x="614" y="569"/>
                  <a:pt x="612" y="564"/>
                  <a:pt x="611" y="560"/>
                </a:cubicBezTo>
                <a:cubicBezTo>
                  <a:pt x="609" y="557"/>
                  <a:pt x="608" y="554"/>
                  <a:pt x="608" y="554"/>
                </a:cubicBezTo>
                <a:cubicBezTo>
                  <a:pt x="606" y="550"/>
                  <a:pt x="607" y="546"/>
                  <a:pt x="609" y="543"/>
                </a:cubicBezTo>
                <a:cubicBezTo>
                  <a:pt x="609" y="543"/>
                  <a:pt x="610" y="541"/>
                  <a:pt x="612" y="539"/>
                </a:cubicBezTo>
                <a:cubicBezTo>
                  <a:pt x="613" y="537"/>
                  <a:pt x="615" y="534"/>
                  <a:pt x="617" y="531"/>
                </a:cubicBezTo>
                <a:cubicBezTo>
                  <a:pt x="619" y="528"/>
                  <a:pt x="621" y="525"/>
                  <a:pt x="622" y="523"/>
                </a:cubicBezTo>
                <a:cubicBezTo>
                  <a:pt x="624" y="521"/>
                  <a:pt x="625" y="519"/>
                  <a:pt x="625" y="519"/>
                </a:cubicBezTo>
                <a:cubicBezTo>
                  <a:pt x="625" y="519"/>
                  <a:pt x="628" y="514"/>
                  <a:pt x="632" y="507"/>
                </a:cubicBezTo>
                <a:cubicBezTo>
                  <a:pt x="635" y="501"/>
                  <a:pt x="638" y="495"/>
                  <a:pt x="638" y="495"/>
                </a:cubicBezTo>
                <a:cubicBezTo>
                  <a:pt x="640" y="491"/>
                  <a:pt x="644" y="489"/>
                  <a:pt x="648" y="489"/>
                </a:cubicBezTo>
                <a:cubicBezTo>
                  <a:pt x="648" y="489"/>
                  <a:pt x="658" y="488"/>
                  <a:pt x="669" y="487"/>
                </a:cubicBezTo>
                <a:cubicBezTo>
                  <a:pt x="680" y="486"/>
                  <a:pt x="690" y="484"/>
                  <a:pt x="690" y="484"/>
                </a:cubicBezTo>
                <a:cubicBezTo>
                  <a:pt x="694" y="483"/>
                  <a:pt x="698" y="480"/>
                  <a:pt x="700" y="475"/>
                </a:cubicBezTo>
                <a:cubicBezTo>
                  <a:pt x="700" y="475"/>
                  <a:pt x="702" y="467"/>
                  <a:pt x="705" y="459"/>
                </a:cubicBezTo>
                <a:cubicBezTo>
                  <a:pt x="707" y="450"/>
                  <a:pt x="710" y="441"/>
                  <a:pt x="710" y="441"/>
                </a:cubicBezTo>
                <a:cubicBezTo>
                  <a:pt x="711" y="437"/>
                  <a:pt x="709" y="432"/>
                  <a:pt x="706" y="429"/>
                </a:cubicBezTo>
                <a:cubicBezTo>
                  <a:pt x="706" y="429"/>
                  <a:pt x="698" y="422"/>
                  <a:pt x="690" y="415"/>
                </a:cubicBezTo>
                <a:cubicBezTo>
                  <a:pt x="681" y="408"/>
                  <a:pt x="673" y="402"/>
                  <a:pt x="673" y="402"/>
                </a:cubicBezTo>
                <a:cubicBezTo>
                  <a:pt x="670" y="400"/>
                  <a:pt x="668" y="396"/>
                  <a:pt x="668" y="392"/>
                </a:cubicBezTo>
                <a:cubicBezTo>
                  <a:pt x="668" y="392"/>
                  <a:pt x="669" y="385"/>
                  <a:pt x="670" y="378"/>
                </a:cubicBezTo>
                <a:cubicBezTo>
                  <a:pt x="670" y="371"/>
                  <a:pt x="670" y="364"/>
                  <a:pt x="670" y="364"/>
                </a:cubicBezTo>
                <a:cubicBezTo>
                  <a:pt x="670" y="364"/>
                  <a:pt x="670" y="362"/>
                  <a:pt x="670" y="360"/>
                </a:cubicBezTo>
                <a:cubicBezTo>
                  <a:pt x="670" y="357"/>
                  <a:pt x="670" y="353"/>
                  <a:pt x="670" y="350"/>
                </a:cubicBezTo>
                <a:cubicBezTo>
                  <a:pt x="670" y="346"/>
                  <a:pt x="670" y="343"/>
                  <a:pt x="670" y="340"/>
                </a:cubicBezTo>
                <a:cubicBezTo>
                  <a:pt x="670" y="338"/>
                  <a:pt x="670" y="336"/>
                  <a:pt x="670" y="336"/>
                </a:cubicBezTo>
                <a:cubicBezTo>
                  <a:pt x="669" y="332"/>
                  <a:pt x="671" y="328"/>
                  <a:pt x="675" y="326"/>
                </a:cubicBezTo>
                <a:cubicBezTo>
                  <a:pt x="675" y="326"/>
                  <a:pt x="677" y="324"/>
                  <a:pt x="680" y="322"/>
                </a:cubicBezTo>
                <a:cubicBezTo>
                  <a:pt x="684" y="320"/>
                  <a:pt x="688" y="317"/>
                  <a:pt x="692" y="314"/>
                </a:cubicBezTo>
                <a:cubicBezTo>
                  <a:pt x="697" y="310"/>
                  <a:pt x="701" y="307"/>
                  <a:pt x="704" y="305"/>
                </a:cubicBezTo>
                <a:cubicBezTo>
                  <a:pt x="707" y="302"/>
                  <a:pt x="709" y="300"/>
                  <a:pt x="709" y="300"/>
                </a:cubicBezTo>
                <a:cubicBezTo>
                  <a:pt x="713" y="298"/>
                  <a:pt x="714" y="293"/>
                  <a:pt x="713" y="288"/>
                </a:cubicBezTo>
                <a:cubicBezTo>
                  <a:pt x="713" y="288"/>
                  <a:pt x="713" y="288"/>
                  <a:pt x="713" y="287"/>
                </a:cubicBezTo>
                <a:cubicBezTo>
                  <a:pt x="713" y="286"/>
                  <a:pt x="712" y="284"/>
                  <a:pt x="712" y="283"/>
                </a:cubicBezTo>
                <a:cubicBezTo>
                  <a:pt x="711" y="280"/>
                  <a:pt x="710" y="275"/>
                  <a:pt x="709" y="271"/>
                </a:cubicBezTo>
                <a:cubicBezTo>
                  <a:pt x="708" y="266"/>
                  <a:pt x="707" y="262"/>
                  <a:pt x="706" y="259"/>
                </a:cubicBezTo>
                <a:cubicBezTo>
                  <a:pt x="705" y="256"/>
                  <a:pt x="705" y="254"/>
                  <a:pt x="705" y="254"/>
                </a:cubicBezTo>
                <a:cubicBezTo>
                  <a:pt x="704" y="249"/>
                  <a:pt x="700" y="246"/>
                  <a:pt x="696" y="245"/>
                </a:cubicBezTo>
                <a:cubicBezTo>
                  <a:pt x="696" y="245"/>
                  <a:pt x="685" y="242"/>
                  <a:pt x="675" y="241"/>
                </a:cubicBezTo>
                <a:cubicBezTo>
                  <a:pt x="664" y="239"/>
                  <a:pt x="653" y="238"/>
                  <a:pt x="653" y="238"/>
                </a:cubicBezTo>
                <a:cubicBezTo>
                  <a:pt x="649" y="238"/>
                  <a:pt x="646" y="235"/>
                  <a:pt x="644" y="231"/>
                </a:cubicBezTo>
                <a:cubicBezTo>
                  <a:pt x="644" y="231"/>
                  <a:pt x="643" y="230"/>
                  <a:pt x="642" y="227"/>
                </a:cubicBezTo>
                <a:cubicBezTo>
                  <a:pt x="641" y="225"/>
                  <a:pt x="640" y="222"/>
                  <a:pt x="638" y="219"/>
                </a:cubicBezTo>
                <a:cubicBezTo>
                  <a:pt x="635" y="212"/>
                  <a:pt x="632" y="206"/>
                  <a:pt x="632" y="206"/>
                </a:cubicBezTo>
                <a:cubicBezTo>
                  <a:pt x="632" y="206"/>
                  <a:pt x="628" y="200"/>
                  <a:pt x="625" y="194"/>
                </a:cubicBezTo>
                <a:cubicBezTo>
                  <a:pt x="623" y="191"/>
                  <a:pt x="621" y="188"/>
                  <a:pt x="620" y="186"/>
                </a:cubicBezTo>
                <a:cubicBezTo>
                  <a:pt x="618" y="184"/>
                  <a:pt x="617" y="182"/>
                  <a:pt x="617" y="182"/>
                </a:cubicBezTo>
                <a:cubicBezTo>
                  <a:pt x="615" y="179"/>
                  <a:pt x="615" y="175"/>
                  <a:pt x="617" y="171"/>
                </a:cubicBezTo>
                <a:cubicBezTo>
                  <a:pt x="617" y="171"/>
                  <a:pt x="621" y="162"/>
                  <a:pt x="626" y="152"/>
                </a:cubicBezTo>
                <a:cubicBezTo>
                  <a:pt x="630" y="142"/>
                  <a:pt x="634" y="132"/>
                  <a:pt x="634" y="132"/>
                </a:cubicBezTo>
                <a:cubicBezTo>
                  <a:pt x="635" y="128"/>
                  <a:pt x="635" y="123"/>
                  <a:pt x="631" y="119"/>
                </a:cubicBezTo>
                <a:cubicBezTo>
                  <a:pt x="631" y="119"/>
                  <a:pt x="630" y="118"/>
                  <a:pt x="628" y="115"/>
                </a:cubicBezTo>
                <a:cubicBezTo>
                  <a:pt x="625" y="113"/>
                  <a:pt x="623" y="109"/>
                  <a:pt x="619" y="106"/>
                </a:cubicBezTo>
                <a:cubicBezTo>
                  <a:pt x="616" y="103"/>
                  <a:pt x="613" y="100"/>
                  <a:pt x="611" y="97"/>
                </a:cubicBezTo>
                <a:cubicBezTo>
                  <a:pt x="610" y="96"/>
                  <a:pt x="609" y="95"/>
                  <a:pt x="608" y="95"/>
                </a:cubicBezTo>
                <a:cubicBezTo>
                  <a:pt x="607" y="94"/>
                  <a:pt x="607" y="94"/>
                  <a:pt x="607" y="94"/>
                </a:cubicBezTo>
                <a:cubicBezTo>
                  <a:pt x="603" y="90"/>
                  <a:pt x="598" y="89"/>
                  <a:pt x="594" y="90"/>
                </a:cubicBezTo>
                <a:cubicBezTo>
                  <a:pt x="594" y="90"/>
                  <a:pt x="592" y="91"/>
                  <a:pt x="588" y="92"/>
                </a:cubicBezTo>
                <a:cubicBezTo>
                  <a:pt x="584" y="94"/>
                  <a:pt x="579" y="96"/>
                  <a:pt x="574" y="98"/>
                </a:cubicBezTo>
                <a:cubicBezTo>
                  <a:pt x="569" y="100"/>
                  <a:pt x="564" y="102"/>
                  <a:pt x="561" y="103"/>
                </a:cubicBezTo>
                <a:cubicBezTo>
                  <a:pt x="557" y="105"/>
                  <a:pt x="555" y="106"/>
                  <a:pt x="555" y="106"/>
                </a:cubicBezTo>
                <a:cubicBezTo>
                  <a:pt x="551" y="108"/>
                  <a:pt x="546" y="107"/>
                  <a:pt x="543" y="105"/>
                </a:cubicBezTo>
                <a:cubicBezTo>
                  <a:pt x="543" y="105"/>
                  <a:pt x="542" y="103"/>
                  <a:pt x="540" y="102"/>
                </a:cubicBezTo>
                <a:cubicBezTo>
                  <a:pt x="537" y="100"/>
                  <a:pt x="535" y="98"/>
                  <a:pt x="532" y="96"/>
                </a:cubicBezTo>
                <a:cubicBezTo>
                  <a:pt x="529" y="95"/>
                  <a:pt x="526" y="93"/>
                  <a:pt x="524" y="91"/>
                </a:cubicBezTo>
                <a:cubicBezTo>
                  <a:pt x="521" y="90"/>
                  <a:pt x="520" y="89"/>
                  <a:pt x="520" y="89"/>
                </a:cubicBezTo>
                <a:cubicBezTo>
                  <a:pt x="520" y="89"/>
                  <a:pt x="514" y="85"/>
                  <a:pt x="508" y="82"/>
                </a:cubicBezTo>
                <a:cubicBezTo>
                  <a:pt x="502" y="79"/>
                  <a:pt x="495" y="76"/>
                  <a:pt x="495" y="76"/>
                </a:cubicBezTo>
                <a:cubicBezTo>
                  <a:pt x="492" y="74"/>
                  <a:pt x="489" y="70"/>
                  <a:pt x="489" y="66"/>
                </a:cubicBezTo>
                <a:cubicBezTo>
                  <a:pt x="489" y="66"/>
                  <a:pt x="488" y="56"/>
                  <a:pt x="487" y="45"/>
                </a:cubicBezTo>
                <a:cubicBezTo>
                  <a:pt x="486" y="34"/>
                  <a:pt x="484" y="24"/>
                  <a:pt x="484" y="24"/>
                </a:cubicBezTo>
                <a:cubicBezTo>
                  <a:pt x="484" y="19"/>
                  <a:pt x="480" y="16"/>
                  <a:pt x="476" y="14"/>
                </a:cubicBezTo>
                <a:cubicBezTo>
                  <a:pt x="476" y="14"/>
                  <a:pt x="467" y="11"/>
                  <a:pt x="459" y="9"/>
                </a:cubicBezTo>
                <a:cubicBezTo>
                  <a:pt x="450" y="6"/>
                  <a:pt x="442" y="4"/>
                  <a:pt x="442" y="4"/>
                </a:cubicBezTo>
                <a:cubicBezTo>
                  <a:pt x="437" y="3"/>
                  <a:pt x="432" y="4"/>
                  <a:pt x="429" y="7"/>
                </a:cubicBezTo>
                <a:cubicBezTo>
                  <a:pt x="429" y="7"/>
                  <a:pt x="422" y="15"/>
                  <a:pt x="416" y="24"/>
                </a:cubicBezTo>
                <a:cubicBezTo>
                  <a:pt x="409" y="32"/>
                  <a:pt x="403" y="41"/>
                  <a:pt x="403" y="41"/>
                </a:cubicBezTo>
                <a:cubicBezTo>
                  <a:pt x="400" y="44"/>
                  <a:pt x="396" y="46"/>
                  <a:pt x="392" y="45"/>
                </a:cubicBezTo>
                <a:cubicBezTo>
                  <a:pt x="392" y="45"/>
                  <a:pt x="385" y="44"/>
                  <a:pt x="378" y="44"/>
                </a:cubicBezTo>
                <a:cubicBezTo>
                  <a:pt x="371" y="43"/>
                  <a:pt x="364" y="43"/>
                  <a:pt x="364" y="43"/>
                </a:cubicBezTo>
                <a:cubicBezTo>
                  <a:pt x="364" y="43"/>
                  <a:pt x="363" y="43"/>
                  <a:pt x="360" y="43"/>
                </a:cubicBezTo>
                <a:cubicBezTo>
                  <a:pt x="357" y="43"/>
                  <a:pt x="354" y="43"/>
                  <a:pt x="350" y="43"/>
                </a:cubicBezTo>
                <a:cubicBezTo>
                  <a:pt x="347" y="43"/>
                  <a:pt x="343" y="44"/>
                  <a:pt x="341" y="44"/>
                </a:cubicBezTo>
                <a:cubicBezTo>
                  <a:pt x="338" y="44"/>
                  <a:pt x="336" y="44"/>
                  <a:pt x="336" y="44"/>
                </a:cubicBezTo>
                <a:cubicBezTo>
                  <a:pt x="332" y="44"/>
                  <a:pt x="328" y="42"/>
                  <a:pt x="326" y="39"/>
                </a:cubicBezTo>
                <a:cubicBezTo>
                  <a:pt x="326" y="39"/>
                  <a:pt x="325" y="37"/>
                  <a:pt x="322" y="33"/>
                </a:cubicBezTo>
                <a:cubicBezTo>
                  <a:pt x="320" y="30"/>
                  <a:pt x="317" y="26"/>
                  <a:pt x="314" y="21"/>
                </a:cubicBezTo>
                <a:cubicBezTo>
                  <a:pt x="311" y="17"/>
                  <a:pt x="308" y="13"/>
                  <a:pt x="305" y="10"/>
                </a:cubicBezTo>
                <a:cubicBezTo>
                  <a:pt x="303" y="6"/>
                  <a:pt x="301" y="4"/>
                  <a:pt x="301" y="4"/>
                </a:cubicBezTo>
                <a:cubicBezTo>
                  <a:pt x="298" y="1"/>
                  <a:pt x="293" y="0"/>
                  <a:pt x="289" y="0"/>
                </a:cubicBezTo>
                <a:cubicBezTo>
                  <a:pt x="289" y="0"/>
                  <a:pt x="288" y="1"/>
                  <a:pt x="287" y="1"/>
                </a:cubicBezTo>
                <a:cubicBezTo>
                  <a:pt x="286" y="1"/>
                  <a:pt x="285" y="1"/>
                  <a:pt x="283" y="2"/>
                </a:cubicBezTo>
                <a:cubicBezTo>
                  <a:pt x="280" y="2"/>
                  <a:pt x="276" y="3"/>
                  <a:pt x="271" y="4"/>
                </a:cubicBezTo>
                <a:cubicBezTo>
                  <a:pt x="267" y="5"/>
                  <a:pt x="263" y="7"/>
                  <a:pt x="259" y="7"/>
                </a:cubicBezTo>
                <a:cubicBezTo>
                  <a:pt x="256" y="8"/>
                  <a:pt x="254" y="9"/>
                  <a:pt x="254" y="9"/>
                </a:cubicBezTo>
                <a:cubicBezTo>
                  <a:pt x="249" y="10"/>
                  <a:pt x="246" y="14"/>
                  <a:pt x="245" y="18"/>
                </a:cubicBezTo>
                <a:cubicBezTo>
                  <a:pt x="245" y="18"/>
                  <a:pt x="243" y="29"/>
                  <a:pt x="241" y="39"/>
                </a:cubicBezTo>
                <a:cubicBezTo>
                  <a:pt x="240" y="50"/>
                  <a:pt x="239" y="60"/>
                  <a:pt x="239" y="60"/>
                </a:cubicBezTo>
                <a:cubicBezTo>
                  <a:pt x="238" y="64"/>
                  <a:pt x="236" y="68"/>
                  <a:pt x="232" y="70"/>
                </a:cubicBezTo>
                <a:cubicBezTo>
                  <a:pt x="232" y="70"/>
                  <a:pt x="230" y="70"/>
                  <a:pt x="228" y="71"/>
                </a:cubicBezTo>
                <a:cubicBezTo>
                  <a:pt x="225" y="72"/>
                  <a:pt x="222" y="74"/>
                  <a:pt x="219" y="75"/>
                </a:cubicBezTo>
                <a:cubicBezTo>
                  <a:pt x="213" y="79"/>
                  <a:pt x="207" y="82"/>
                  <a:pt x="207" y="82"/>
                </a:cubicBezTo>
                <a:cubicBezTo>
                  <a:pt x="207" y="82"/>
                  <a:pt x="201" y="85"/>
                  <a:pt x="195" y="89"/>
                </a:cubicBezTo>
                <a:cubicBezTo>
                  <a:pt x="192" y="90"/>
                  <a:pt x="189" y="92"/>
                  <a:pt x="187" y="94"/>
                </a:cubicBezTo>
                <a:cubicBezTo>
                  <a:pt x="184" y="95"/>
                  <a:pt x="183" y="96"/>
                  <a:pt x="183" y="96"/>
                </a:cubicBezTo>
                <a:cubicBezTo>
                  <a:pt x="179" y="98"/>
                  <a:pt x="175" y="99"/>
                  <a:pt x="171" y="97"/>
                </a:cubicBezTo>
                <a:cubicBezTo>
                  <a:pt x="171" y="97"/>
                  <a:pt x="162" y="92"/>
                  <a:pt x="152" y="88"/>
                </a:cubicBezTo>
                <a:cubicBezTo>
                  <a:pt x="142" y="83"/>
                  <a:pt x="132" y="80"/>
                  <a:pt x="132" y="80"/>
                </a:cubicBezTo>
                <a:cubicBezTo>
                  <a:pt x="128" y="78"/>
                  <a:pt x="123" y="79"/>
                  <a:pt x="120" y="82"/>
                </a:cubicBezTo>
                <a:cubicBezTo>
                  <a:pt x="120" y="82"/>
                  <a:pt x="118" y="84"/>
                  <a:pt x="116" y="86"/>
                </a:cubicBezTo>
                <a:cubicBezTo>
                  <a:pt x="113" y="88"/>
                  <a:pt x="110" y="91"/>
                  <a:pt x="107" y="94"/>
                </a:cubicBezTo>
                <a:cubicBezTo>
                  <a:pt x="103" y="97"/>
                  <a:pt x="100" y="101"/>
                  <a:pt x="98" y="103"/>
                </a:cubicBezTo>
                <a:cubicBezTo>
                  <a:pt x="97" y="104"/>
                  <a:pt x="96" y="105"/>
                  <a:pt x="95" y="106"/>
                </a:cubicBezTo>
                <a:cubicBezTo>
                  <a:pt x="94" y="106"/>
                  <a:pt x="94" y="107"/>
                  <a:pt x="94" y="107"/>
                </a:cubicBezTo>
                <a:cubicBezTo>
                  <a:pt x="91" y="110"/>
                  <a:pt x="89" y="115"/>
                  <a:pt x="91" y="119"/>
                </a:cubicBezTo>
                <a:cubicBezTo>
                  <a:pt x="91" y="119"/>
                  <a:pt x="92" y="122"/>
                  <a:pt x="93" y="126"/>
                </a:cubicBezTo>
                <a:cubicBezTo>
                  <a:pt x="94" y="129"/>
                  <a:pt x="96" y="135"/>
                  <a:pt x="98" y="140"/>
                </a:cubicBezTo>
                <a:cubicBezTo>
                  <a:pt x="100" y="145"/>
                  <a:pt x="102" y="149"/>
                  <a:pt x="104" y="153"/>
                </a:cubicBezTo>
                <a:cubicBezTo>
                  <a:pt x="105" y="157"/>
                  <a:pt x="106" y="159"/>
                  <a:pt x="106" y="159"/>
                </a:cubicBezTo>
                <a:cubicBezTo>
                  <a:pt x="108" y="163"/>
                  <a:pt x="107" y="167"/>
                  <a:pt x="105" y="171"/>
                </a:cubicBezTo>
                <a:cubicBezTo>
                  <a:pt x="105" y="171"/>
                  <a:pt x="104" y="172"/>
                  <a:pt x="102" y="174"/>
                </a:cubicBezTo>
                <a:cubicBezTo>
                  <a:pt x="101" y="176"/>
                  <a:pt x="99" y="179"/>
                  <a:pt x="97" y="182"/>
                </a:cubicBezTo>
                <a:cubicBezTo>
                  <a:pt x="95" y="185"/>
                  <a:pt x="93" y="188"/>
                  <a:pt x="92" y="190"/>
                </a:cubicBezTo>
                <a:cubicBezTo>
                  <a:pt x="90" y="192"/>
                  <a:pt x="89" y="194"/>
                  <a:pt x="89" y="194"/>
                </a:cubicBezTo>
                <a:cubicBezTo>
                  <a:pt x="89" y="194"/>
                  <a:pt x="86" y="200"/>
                  <a:pt x="82" y="206"/>
                </a:cubicBezTo>
                <a:cubicBezTo>
                  <a:pt x="79" y="212"/>
                  <a:pt x="76" y="218"/>
                  <a:pt x="76" y="218"/>
                </a:cubicBezTo>
                <a:cubicBezTo>
                  <a:pt x="74" y="222"/>
                  <a:pt x="70" y="224"/>
                  <a:pt x="66" y="225"/>
                </a:cubicBezTo>
                <a:cubicBezTo>
                  <a:pt x="66" y="225"/>
                  <a:pt x="56" y="225"/>
                  <a:pt x="45" y="226"/>
                </a:cubicBezTo>
                <a:cubicBezTo>
                  <a:pt x="35" y="227"/>
                  <a:pt x="24" y="229"/>
                  <a:pt x="24" y="229"/>
                </a:cubicBezTo>
                <a:cubicBezTo>
                  <a:pt x="20" y="230"/>
                  <a:pt x="16" y="233"/>
                  <a:pt x="14" y="238"/>
                </a:cubicBezTo>
                <a:cubicBezTo>
                  <a:pt x="14" y="238"/>
                  <a:pt x="12" y="246"/>
                  <a:pt x="9" y="255"/>
                </a:cubicBezTo>
                <a:cubicBezTo>
                  <a:pt x="7" y="263"/>
                  <a:pt x="4" y="272"/>
                  <a:pt x="4" y="272"/>
                </a:cubicBezTo>
                <a:cubicBezTo>
                  <a:pt x="3" y="277"/>
                  <a:pt x="5" y="281"/>
                  <a:pt x="8" y="284"/>
                </a:cubicBezTo>
                <a:cubicBezTo>
                  <a:pt x="8" y="284"/>
                  <a:pt x="16" y="291"/>
                  <a:pt x="24" y="298"/>
                </a:cubicBezTo>
                <a:cubicBezTo>
                  <a:pt x="33" y="305"/>
                  <a:pt x="41" y="311"/>
                  <a:pt x="41" y="311"/>
                </a:cubicBezTo>
                <a:cubicBezTo>
                  <a:pt x="44" y="313"/>
                  <a:pt x="46" y="317"/>
                  <a:pt x="46" y="322"/>
                </a:cubicBezTo>
                <a:cubicBezTo>
                  <a:pt x="46" y="322"/>
                  <a:pt x="45" y="328"/>
                  <a:pt x="44" y="335"/>
                </a:cubicBezTo>
                <a:cubicBezTo>
                  <a:pt x="44" y="342"/>
                  <a:pt x="44" y="349"/>
                  <a:pt x="44" y="349"/>
                </a:cubicBezTo>
                <a:cubicBezTo>
                  <a:pt x="44" y="349"/>
                  <a:pt x="44" y="351"/>
                  <a:pt x="44" y="354"/>
                </a:cubicBezTo>
                <a:cubicBezTo>
                  <a:pt x="44" y="356"/>
                  <a:pt x="44" y="360"/>
                  <a:pt x="44" y="363"/>
                </a:cubicBezTo>
                <a:cubicBezTo>
                  <a:pt x="44" y="367"/>
                  <a:pt x="44" y="370"/>
                  <a:pt x="44" y="373"/>
                </a:cubicBezTo>
                <a:cubicBezTo>
                  <a:pt x="44" y="375"/>
                  <a:pt x="44" y="377"/>
                  <a:pt x="44" y="377"/>
                </a:cubicBezTo>
                <a:cubicBezTo>
                  <a:pt x="45" y="381"/>
                  <a:pt x="43" y="385"/>
                  <a:pt x="39" y="388"/>
                </a:cubicBezTo>
                <a:cubicBezTo>
                  <a:pt x="39" y="388"/>
                  <a:pt x="37" y="389"/>
                  <a:pt x="34" y="391"/>
                </a:cubicBezTo>
                <a:cubicBezTo>
                  <a:pt x="31" y="394"/>
                  <a:pt x="26" y="397"/>
                  <a:pt x="22" y="400"/>
                </a:cubicBezTo>
                <a:cubicBezTo>
                  <a:pt x="18" y="403"/>
                  <a:pt x="13" y="406"/>
                  <a:pt x="10" y="409"/>
                </a:cubicBezTo>
                <a:cubicBezTo>
                  <a:pt x="7" y="411"/>
                  <a:pt x="5" y="413"/>
                  <a:pt x="5" y="413"/>
                </a:cubicBezTo>
                <a:cubicBezTo>
                  <a:pt x="2" y="415"/>
                  <a:pt x="0" y="420"/>
                  <a:pt x="1" y="425"/>
                </a:cubicBezTo>
                <a:cubicBezTo>
                  <a:pt x="1" y="425"/>
                  <a:pt x="1" y="426"/>
                  <a:pt x="1" y="427"/>
                </a:cubicBezTo>
                <a:cubicBezTo>
                  <a:pt x="1" y="427"/>
                  <a:pt x="2" y="429"/>
                  <a:pt x="2" y="430"/>
                </a:cubicBezTo>
                <a:cubicBezTo>
                  <a:pt x="3" y="434"/>
                  <a:pt x="4" y="438"/>
                  <a:pt x="5" y="442"/>
                </a:cubicBezTo>
                <a:cubicBezTo>
                  <a:pt x="6" y="447"/>
                  <a:pt x="7" y="451"/>
                  <a:pt x="8" y="454"/>
                </a:cubicBezTo>
                <a:cubicBezTo>
                  <a:pt x="9" y="457"/>
                  <a:pt x="9" y="460"/>
                  <a:pt x="9" y="460"/>
                </a:cubicBezTo>
                <a:cubicBezTo>
                  <a:pt x="11" y="464"/>
                  <a:pt x="14" y="468"/>
                  <a:pt x="18" y="469"/>
                </a:cubicBezTo>
                <a:cubicBezTo>
                  <a:pt x="18" y="469"/>
                  <a:pt x="29" y="471"/>
                  <a:pt x="40" y="472"/>
                </a:cubicBezTo>
                <a:cubicBezTo>
                  <a:pt x="50" y="474"/>
                  <a:pt x="61" y="475"/>
                  <a:pt x="61" y="475"/>
                </a:cubicBezTo>
                <a:cubicBezTo>
                  <a:pt x="65" y="475"/>
                  <a:pt x="68" y="478"/>
                  <a:pt x="70" y="482"/>
                </a:cubicBezTo>
                <a:cubicBezTo>
                  <a:pt x="70" y="482"/>
                  <a:pt x="71" y="484"/>
                  <a:pt x="72" y="486"/>
                </a:cubicBezTo>
                <a:cubicBezTo>
                  <a:pt x="73" y="488"/>
                  <a:pt x="74" y="491"/>
                  <a:pt x="76" y="495"/>
                </a:cubicBezTo>
                <a:cubicBezTo>
                  <a:pt x="79" y="501"/>
                  <a:pt x="82" y="507"/>
                  <a:pt x="82" y="507"/>
                </a:cubicBezTo>
                <a:cubicBezTo>
                  <a:pt x="82" y="507"/>
                  <a:pt x="86" y="513"/>
                  <a:pt x="89" y="519"/>
                </a:cubicBezTo>
                <a:cubicBezTo>
                  <a:pt x="91" y="522"/>
                  <a:pt x="93" y="525"/>
                  <a:pt x="94" y="527"/>
                </a:cubicBezTo>
                <a:cubicBezTo>
                  <a:pt x="96" y="529"/>
                  <a:pt x="97" y="531"/>
                  <a:pt x="97" y="531"/>
                </a:cubicBezTo>
                <a:cubicBezTo>
                  <a:pt x="99" y="534"/>
                  <a:pt x="99" y="539"/>
                  <a:pt x="97" y="542"/>
                </a:cubicBezTo>
                <a:cubicBezTo>
                  <a:pt x="97" y="542"/>
                  <a:pt x="93" y="552"/>
                  <a:pt x="88" y="562"/>
                </a:cubicBezTo>
                <a:cubicBezTo>
                  <a:pt x="84" y="571"/>
                  <a:pt x="80" y="581"/>
                  <a:pt x="80" y="581"/>
                </a:cubicBezTo>
                <a:cubicBezTo>
                  <a:pt x="79" y="585"/>
                  <a:pt x="79" y="590"/>
                  <a:pt x="83" y="594"/>
                </a:cubicBezTo>
                <a:cubicBezTo>
                  <a:pt x="83" y="594"/>
                  <a:pt x="84" y="596"/>
                  <a:pt x="86" y="598"/>
                </a:cubicBezTo>
                <a:cubicBezTo>
                  <a:pt x="89" y="600"/>
                  <a:pt x="92" y="604"/>
                  <a:pt x="95" y="607"/>
                </a:cubicBezTo>
                <a:cubicBezTo>
                  <a:pt x="98" y="610"/>
                  <a:pt x="101" y="613"/>
                  <a:pt x="103" y="616"/>
                </a:cubicBezTo>
                <a:cubicBezTo>
                  <a:pt x="104" y="617"/>
                  <a:pt x="105" y="618"/>
                  <a:pt x="106" y="619"/>
                </a:cubicBezTo>
                <a:cubicBezTo>
                  <a:pt x="107" y="619"/>
                  <a:pt x="107" y="620"/>
                  <a:pt x="107" y="620"/>
                </a:cubicBezTo>
                <a:cubicBezTo>
                  <a:pt x="111" y="623"/>
                  <a:pt x="116" y="624"/>
                  <a:pt x="120" y="623"/>
                </a:cubicBezTo>
                <a:cubicBezTo>
                  <a:pt x="120" y="623"/>
                  <a:pt x="122" y="622"/>
                  <a:pt x="126" y="621"/>
                </a:cubicBezTo>
                <a:cubicBezTo>
                  <a:pt x="130" y="619"/>
                  <a:pt x="135" y="618"/>
                  <a:pt x="140" y="616"/>
                </a:cubicBezTo>
                <a:cubicBezTo>
                  <a:pt x="145" y="614"/>
                  <a:pt x="150" y="612"/>
                  <a:pt x="153" y="610"/>
                </a:cubicBezTo>
                <a:cubicBezTo>
                  <a:pt x="157" y="609"/>
                  <a:pt x="159" y="607"/>
                  <a:pt x="159" y="607"/>
                </a:cubicBezTo>
                <a:cubicBezTo>
                  <a:pt x="163" y="606"/>
                  <a:pt x="168" y="606"/>
                  <a:pt x="171" y="609"/>
                </a:cubicBezTo>
                <a:cubicBezTo>
                  <a:pt x="171" y="609"/>
                  <a:pt x="172" y="610"/>
                  <a:pt x="175" y="611"/>
                </a:cubicBezTo>
                <a:cubicBezTo>
                  <a:pt x="177" y="613"/>
                  <a:pt x="180" y="615"/>
                  <a:pt x="182" y="617"/>
                </a:cubicBezTo>
                <a:cubicBezTo>
                  <a:pt x="185" y="619"/>
                  <a:pt x="188" y="621"/>
                  <a:pt x="190" y="622"/>
                </a:cubicBezTo>
                <a:cubicBezTo>
                  <a:pt x="193" y="623"/>
                  <a:pt x="194" y="624"/>
                  <a:pt x="194" y="624"/>
                </a:cubicBezTo>
                <a:cubicBezTo>
                  <a:pt x="194" y="624"/>
                  <a:pt x="200" y="628"/>
                  <a:pt x="206" y="631"/>
                </a:cubicBezTo>
                <a:cubicBezTo>
                  <a:pt x="212" y="635"/>
                  <a:pt x="219" y="638"/>
                  <a:pt x="219" y="638"/>
                </a:cubicBezTo>
                <a:cubicBezTo>
                  <a:pt x="222" y="639"/>
                  <a:pt x="225" y="643"/>
                  <a:pt x="225" y="647"/>
                </a:cubicBezTo>
                <a:cubicBezTo>
                  <a:pt x="225" y="647"/>
                  <a:pt x="226" y="658"/>
                  <a:pt x="227" y="668"/>
                </a:cubicBezTo>
                <a:cubicBezTo>
                  <a:pt x="228" y="679"/>
                  <a:pt x="230" y="690"/>
                  <a:pt x="230" y="690"/>
                </a:cubicBezTo>
                <a:cubicBezTo>
                  <a:pt x="230" y="694"/>
                  <a:pt x="234" y="698"/>
                  <a:pt x="238" y="699"/>
                </a:cubicBezTo>
                <a:cubicBezTo>
                  <a:pt x="238" y="699"/>
                  <a:pt x="247" y="702"/>
                  <a:pt x="255" y="705"/>
                </a:cubicBezTo>
                <a:cubicBezTo>
                  <a:pt x="264" y="707"/>
                  <a:pt x="272" y="709"/>
                  <a:pt x="272" y="709"/>
                </a:cubicBezTo>
                <a:cubicBezTo>
                  <a:pt x="277" y="710"/>
                  <a:pt x="282" y="709"/>
                  <a:pt x="285" y="706"/>
                </a:cubicBezTo>
                <a:cubicBezTo>
                  <a:pt x="285" y="706"/>
                  <a:pt x="292" y="698"/>
                  <a:pt x="299" y="689"/>
                </a:cubicBezTo>
                <a:cubicBezTo>
                  <a:pt x="305" y="681"/>
                  <a:pt x="311" y="673"/>
                  <a:pt x="311" y="673"/>
                </a:cubicBezTo>
                <a:cubicBezTo>
                  <a:pt x="314" y="669"/>
                  <a:pt x="318" y="667"/>
                  <a:pt x="322" y="668"/>
                </a:cubicBezTo>
                <a:cubicBezTo>
                  <a:pt x="322" y="668"/>
                  <a:pt x="329" y="669"/>
                  <a:pt x="336" y="669"/>
                </a:cubicBezTo>
                <a:cubicBezTo>
                  <a:pt x="343" y="670"/>
                  <a:pt x="350" y="670"/>
                  <a:pt x="350" y="670"/>
                </a:cubicBezTo>
                <a:cubicBezTo>
                  <a:pt x="350" y="670"/>
                  <a:pt x="352" y="670"/>
                  <a:pt x="354" y="670"/>
                </a:cubicBezTo>
                <a:cubicBezTo>
                  <a:pt x="357" y="670"/>
                  <a:pt x="360" y="670"/>
                  <a:pt x="364" y="670"/>
                </a:cubicBezTo>
                <a:cubicBezTo>
                  <a:pt x="367" y="670"/>
                  <a:pt x="371" y="670"/>
                  <a:pt x="373" y="670"/>
                </a:cubicBezTo>
                <a:cubicBezTo>
                  <a:pt x="376" y="669"/>
                  <a:pt x="378" y="669"/>
                  <a:pt x="378" y="669"/>
                </a:cubicBezTo>
                <a:cubicBezTo>
                  <a:pt x="382" y="669"/>
                  <a:pt x="386" y="671"/>
                  <a:pt x="388" y="674"/>
                </a:cubicBezTo>
                <a:close/>
                <a:moveTo>
                  <a:pt x="351" y="606"/>
                </a:moveTo>
                <a:cubicBezTo>
                  <a:pt x="351" y="606"/>
                  <a:pt x="349" y="606"/>
                  <a:pt x="346" y="606"/>
                </a:cubicBezTo>
                <a:cubicBezTo>
                  <a:pt x="342" y="605"/>
                  <a:pt x="337" y="605"/>
                  <a:pt x="331" y="604"/>
                </a:cubicBezTo>
                <a:cubicBezTo>
                  <a:pt x="319" y="603"/>
                  <a:pt x="303" y="600"/>
                  <a:pt x="287" y="596"/>
                </a:cubicBezTo>
                <a:cubicBezTo>
                  <a:pt x="271" y="591"/>
                  <a:pt x="256" y="585"/>
                  <a:pt x="245" y="579"/>
                </a:cubicBezTo>
                <a:cubicBezTo>
                  <a:pt x="240" y="577"/>
                  <a:pt x="235" y="574"/>
                  <a:pt x="232" y="572"/>
                </a:cubicBezTo>
                <a:cubicBezTo>
                  <a:pt x="229" y="571"/>
                  <a:pt x="227" y="569"/>
                  <a:pt x="227" y="569"/>
                </a:cubicBezTo>
                <a:cubicBezTo>
                  <a:pt x="227" y="569"/>
                  <a:pt x="226" y="568"/>
                  <a:pt x="223" y="567"/>
                </a:cubicBezTo>
                <a:cubicBezTo>
                  <a:pt x="220" y="565"/>
                  <a:pt x="215" y="562"/>
                  <a:pt x="210" y="558"/>
                </a:cubicBezTo>
                <a:cubicBezTo>
                  <a:pt x="200" y="551"/>
                  <a:pt x="188" y="541"/>
                  <a:pt x="177" y="529"/>
                </a:cubicBezTo>
                <a:cubicBezTo>
                  <a:pt x="165" y="517"/>
                  <a:pt x="156" y="504"/>
                  <a:pt x="149" y="494"/>
                </a:cubicBezTo>
                <a:cubicBezTo>
                  <a:pt x="147" y="491"/>
                  <a:pt x="146" y="489"/>
                  <a:pt x="144" y="487"/>
                </a:cubicBezTo>
                <a:cubicBezTo>
                  <a:pt x="143" y="485"/>
                  <a:pt x="142" y="483"/>
                  <a:pt x="141" y="481"/>
                </a:cubicBezTo>
                <a:cubicBezTo>
                  <a:pt x="139" y="478"/>
                  <a:pt x="138" y="476"/>
                  <a:pt x="138" y="476"/>
                </a:cubicBezTo>
                <a:cubicBezTo>
                  <a:pt x="138" y="476"/>
                  <a:pt x="137" y="474"/>
                  <a:pt x="136" y="471"/>
                </a:cubicBezTo>
                <a:cubicBezTo>
                  <a:pt x="135" y="470"/>
                  <a:pt x="134" y="468"/>
                  <a:pt x="133" y="465"/>
                </a:cubicBezTo>
                <a:cubicBezTo>
                  <a:pt x="132" y="463"/>
                  <a:pt x="131" y="461"/>
                  <a:pt x="129" y="458"/>
                </a:cubicBezTo>
                <a:cubicBezTo>
                  <a:pt x="124" y="447"/>
                  <a:pt x="119" y="431"/>
                  <a:pt x="115" y="416"/>
                </a:cubicBezTo>
                <a:cubicBezTo>
                  <a:pt x="111" y="400"/>
                  <a:pt x="109" y="383"/>
                  <a:pt x="108" y="371"/>
                </a:cubicBezTo>
                <a:cubicBezTo>
                  <a:pt x="108" y="365"/>
                  <a:pt x="108" y="360"/>
                  <a:pt x="108" y="357"/>
                </a:cubicBezTo>
                <a:cubicBezTo>
                  <a:pt x="108" y="353"/>
                  <a:pt x="108" y="351"/>
                  <a:pt x="108" y="351"/>
                </a:cubicBezTo>
                <a:cubicBezTo>
                  <a:pt x="108" y="351"/>
                  <a:pt x="108" y="349"/>
                  <a:pt x="108" y="345"/>
                </a:cubicBezTo>
                <a:cubicBezTo>
                  <a:pt x="108" y="342"/>
                  <a:pt x="108" y="337"/>
                  <a:pt x="109" y="331"/>
                </a:cubicBezTo>
                <a:cubicBezTo>
                  <a:pt x="110" y="318"/>
                  <a:pt x="113" y="302"/>
                  <a:pt x="118" y="287"/>
                </a:cubicBezTo>
                <a:cubicBezTo>
                  <a:pt x="122" y="271"/>
                  <a:pt x="129" y="256"/>
                  <a:pt x="134" y="245"/>
                </a:cubicBezTo>
                <a:cubicBezTo>
                  <a:pt x="137" y="239"/>
                  <a:pt x="140" y="235"/>
                  <a:pt x="141" y="232"/>
                </a:cubicBezTo>
                <a:cubicBezTo>
                  <a:pt x="143" y="229"/>
                  <a:pt x="144" y="227"/>
                  <a:pt x="144" y="227"/>
                </a:cubicBezTo>
                <a:cubicBezTo>
                  <a:pt x="144" y="227"/>
                  <a:pt x="145" y="225"/>
                  <a:pt x="147" y="222"/>
                </a:cubicBezTo>
                <a:cubicBezTo>
                  <a:pt x="149" y="219"/>
                  <a:pt x="152" y="215"/>
                  <a:pt x="155" y="210"/>
                </a:cubicBezTo>
                <a:cubicBezTo>
                  <a:pt x="163" y="200"/>
                  <a:pt x="173" y="188"/>
                  <a:pt x="185" y="176"/>
                </a:cubicBezTo>
                <a:cubicBezTo>
                  <a:pt x="197" y="165"/>
                  <a:pt x="210" y="155"/>
                  <a:pt x="220" y="149"/>
                </a:cubicBezTo>
                <a:cubicBezTo>
                  <a:pt x="223" y="147"/>
                  <a:pt x="225" y="145"/>
                  <a:pt x="227" y="144"/>
                </a:cubicBezTo>
                <a:cubicBezTo>
                  <a:pt x="229" y="143"/>
                  <a:pt x="231" y="142"/>
                  <a:pt x="233" y="141"/>
                </a:cubicBezTo>
                <a:cubicBezTo>
                  <a:pt x="236" y="139"/>
                  <a:pt x="237" y="138"/>
                  <a:pt x="237" y="138"/>
                </a:cubicBezTo>
                <a:cubicBezTo>
                  <a:pt x="237" y="138"/>
                  <a:pt x="239" y="137"/>
                  <a:pt x="242" y="135"/>
                </a:cubicBezTo>
                <a:cubicBezTo>
                  <a:pt x="244" y="135"/>
                  <a:pt x="246" y="134"/>
                  <a:pt x="248" y="132"/>
                </a:cubicBezTo>
                <a:cubicBezTo>
                  <a:pt x="250" y="131"/>
                  <a:pt x="253" y="130"/>
                  <a:pt x="256" y="129"/>
                </a:cubicBezTo>
                <a:cubicBezTo>
                  <a:pt x="267" y="124"/>
                  <a:pt x="282" y="118"/>
                  <a:pt x="298" y="114"/>
                </a:cubicBezTo>
                <a:cubicBezTo>
                  <a:pt x="314" y="111"/>
                  <a:pt x="330" y="108"/>
                  <a:pt x="342" y="108"/>
                </a:cubicBezTo>
                <a:cubicBezTo>
                  <a:pt x="348" y="107"/>
                  <a:pt x="354" y="107"/>
                  <a:pt x="357" y="107"/>
                </a:cubicBezTo>
                <a:cubicBezTo>
                  <a:pt x="361" y="107"/>
                  <a:pt x="363" y="107"/>
                  <a:pt x="363" y="107"/>
                </a:cubicBezTo>
                <a:cubicBezTo>
                  <a:pt x="363" y="107"/>
                  <a:pt x="365" y="108"/>
                  <a:pt x="368" y="108"/>
                </a:cubicBezTo>
                <a:cubicBezTo>
                  <a:pt x="372" y="108"/>
                  <a:pt x="377" y="108"/>
                  <a:pt x="383" y="109"/>
                </a:cubicBezTo>
                <a:cubicBezTo>
                  <a:pt x="395" y="110"/>
                  <a:pt x="411" y="113"/>
                  <a:pt x="427" y="117"/>
                </a:cubicBezTo>
                <a:cubicBezTo>
                  <a:pt x="443" y="122"/>
                  <a:pt x="458" y="128"/>
                  <a:pt x="469" y="134"/>
                </a:cubicBezTo>
                <a:cubicBezTo>
                  <a:pt x="474" y="137"/>
                  <a:pt x="479" y="139"/>
                  <a:pt x="482" y="141"/>
                </a:cubicBezTo>
                <a:cubicBezTo>
                  <a:pt x="485" y="143"/>
                  <a:pt x="487" y="144"/>
                  <a:pt x="487" y="144"/>
                </a:cubicBezTo>
                <a:cubicBezTo>
                  <a:pt x="487" y="144"/>
                  <a:pt x="488" y="145"/>
                  <a:pt x="491" y="147"/>
                </a:cubicBezTo>
                <a:cubicBezTo>
                  <a:pt x="494" y="149"/>
                  <a:pt x="499" y="151"/>
                  <a:pt x="504" y="155"/>
                </a:cubicBezTo>
                <a:cubicBezTo>
                  <a:pt x="514" y="162"/>
                  <a:pt x="526" y="173"/>
                  <a:pt x="537" y="184"/>
                </a:cubicBezTo>
                <a:cubicBezTo>
                  <a:pt x="549" y="196"/>
                  <a:pt x="558" y="209"/>
                  <a:pt x="565" y="220"/>
                </a:cubicBezTo>
                <a:cubicBezTo>
                  <a:pt x="567" y="222"/>
                  <a:pt x="568" y="224"/>
                  <a:pt x="570" y="227"/>
                </a:cubicBezTo>
                <a:cubicBezTo>
                  <a:pt x="571" y="229"/>
                  <a:pt x="572" y="231"/>
                  <a:pt x="573" y="232"/>
                </a:cubicBezTo>
                <a:cubicBezTo>
                  <a:pt x="575" y="235"/>
                  <a:pt x="576" y="237"/>
                  <a:pt x="576" y="237"/>
                </a:cubicBezTo>
                <a:cubicBezTo>
                  <a:pt x="576" y="237"/>
                  <a:pt x="577" y="239"/>
                  <a:pt x="578" y="242"/>
                </a:cubicBezTo>
                <a:cubicBezTo>
                  <a:pt x="579" y="244"/>
                  <a:pt x="580" y="246"/>
                  <a:pt x="581" y="248"/>
                </a:cubicBezTo>
                <a:cubicBezTo>
                  <a:pt x="582" y="250"/>
                  <a:pt x="583" y="253"/>
                  <a:pt x="585" y="255"/>
                </a:cubicBezTo>
                <a:cubicBezTo>
                  <a:pt x="590" y="267"/>
                  <a:pt x="595" y="282"/>
                  <a:pt x="599" y="298"/>
                </a:cubicBezTo>
                <a:cubicBezTo>
                  <a:pt x="603" y="314"/>
                  <a:pt x="605" y="330"/>
                  <a:pt x="606" y="342"/>
                </a:cubicBezTo>
                <a:cubicBezTo>
                  <a:pt x="606" y="348"/>
                  <a:pt x="606" y="353"/>
                  <a:pt x="606" y="357"/>
                </a:cubicBezTo>
                <a:cubicBezTo>
                  <a:pt x="606" y="360"/>
                  <a:pt x="606" y="362"/>
                  <a:pt x="606" y="362"/>
                </a:cubicBezTo>
                <a:cubicBezTo>
                  <a:pt x="606" y="362"/>
                  <a:pt x="606" y="364"/>
                  <a:pt x="606" y="368"/>
                </a:cubicBezTo>
                <a:cubicBezTo>
                  <a:pt x="606" y="371"/>
                  <a:pt x="606" y="377"/>
                  <a:pt x="605" y="383"/>
                </a:cubicBezTo>
                <a:cubicBezTo>
                  <a:pt x="604" y="395"/>
                  <a:pt x="601" y="411"/>
                  <a:pt x="596" y="427"/>
                </a:cubicBezTo>
                <a:cubicBezTo>
                  <a:pt x="592" y="442"/>
                  <a:pt x="585" y="458"/>
                  <a:pt x="580" y="468"/>
                </a:cubicBezTo>
                <a:cubicBezTo>
                  <a:pt x="577" y="474"/>
                  <a:pt x="574" y="478"/>
                  <a:pt x="573" y="481"/>
                </a:cubicBezTo>
                <a:cubicBezTo>
                  <a:pt x="571" y="484"/>
                  <a:pt x="570" y="486"/>
                  <a:pt x="570" y="486"/>
                </a:cubicBezTo>
                <a:cubicBezTo>
                  <a:pt x="570" y="486"/>
                  <a:pt x="569" y="488"/>
                  <a:pt x="567" y="491"/>
                </a:cubicBezTo>
                <a:cubicBezTo>
                  <a:pt x="565" y="494"/>
                  <a:pt x="562" y="498"/>
                  <a:pt x="559" y="503"/>
                </a:cubicBezTo>
                <a:cubicBezTo>
                  <a:pt x="552" y="513"/>
                  <a:pt x="541" y="526"/>
                  <a:pt x="529" y="537"/>
                </a:cubicBezTo>
                <a:cubicBezTo>
                  <a:pt x="517" y="548"/>
                  <a:pt x="504" y="558"/>
                  <a:pt x="494" y="565"/>
                </a:cubicBezTo>
                <a:cubicBezTo>
                  <a:pt x="492" y="566"/>
                  <a:pt x="489" y="568"/>
                  <a:pt x="487" y="569"/>
                </a:cubicBezTo>
                <a:cubicBezTo>
                  <a:pt x="485" y="570"/>
                  <a:pt x="483" y="572"/>
                  <a:pt x="482" y="572"/>
                </a:cubicBezTo>
                <a:cubicBezTo>
                  <a:pt x="478" y="574"/>
                  <a:pt x="477" y="575"/>
                  <a:pt x="477" y="575"/>
                </a:cubicBezTo>
                <a:cubicBezTo>
                  <a:pt x="477" y="575"/>
                  <a:pt x="475" y="576"/>
                  <a:pt x="472" y="578"/>
                </a:cubicBezTo>
                <a:cubicBezTo>
                  <a:pt x="470" y="579"/>
                  <a:pt x="468" y="580"/>
                  <a:pt x="466" y="581"/>
                </a:cubicBezTo>
                <a:cubicBezTo>
                  <a:pt x="464" y="582"/>
                  <a:pt x="461" y="583"/>
                  <a:pt x="458" y="584"/>
                </a:cubicBezTo>
                <a:cubicBezTo>
                  <a:pt x="447" y="589"/>
                  <a:pt x="432" y="595"/>
                  <a:pt x="416" y="599"/>
                </a:cubicBezTo>
                <a:cubicBezTo>
                  <a:pt x="400" y="603"/>
                  <a:pt x="384" y="605"/>
                  <a:pt x="372" y="605"/>
                </a:cubicBezTo>
                <a:cubicBezTo>
                  <a:pt x="366" y="606"/>
                  <a:pt x="361" y="606"/>
                  <a:pt x="357" y="606"/>
                </a:cubicBezTo>
                <a:cubicBezTo>
                  <a:pt x="353" y="606"/>
                  <a:pt x="351" y="606"/>
                  <a:pt x="351" y="60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C020E4B0-B56F-4CC2-B5EC-DF639A0FEB1A}"/>
              </a:ext>
            </a:extLst>
          </p:cNvPr>
          <p:cNvSpPr/>
          <p:nvPr/>
        </p:nvSpPr>
        <p:spPr bwMode="auto">
          <a:xfrm>
            <a:off x="7565799" y="1406037"/>
            <a:ext cx="1082393" cy="1090629"/>
          </a:xfrm>
          <a:custGeom>
            <a:avLst/>
            <a:gdLst>
              <a:gd name="T0" fmla="*/ 320 w 596"/>
              <a:gd name="T1" fmla="*/ 561 h 599"/>
              <a:gd name="T2" fmla="*/ 361 w 596"/>
              <a:gd name="T3" fmla="*/ 559 h 599"/>
              <a:gd name="T4" fmla="*/ 406 w 596"/>
              <a:gd name="T5" fmla="*/ 581 h 599"/>
              <a:gd name="T6" fmla="*/ 430 w 596"/>
              <a:gd name="T7" fmla="*/ 527 h 599"/>
              <a:gd name="T8" fmla="*/ 466 w 596"/>
              <a:gd name="T9" fmla="*/ 503 h 599"/>
              <a:gd name="T10" fmla="*/ 524 w 596"/>
              <a:gd name="T11" fmla="*/ 500 h 599"/>
              <a:gd name="T12" fmla="*/ 521 w 596"/>
              <a:gd name="T13" fmla="*/ 450 h 599"/>
              <a:gd name="T14" fmla="*/ 537 w 596"/>
              <a:gd name="T15" fmla="*/ 413 h 599"/>
              <a:gd name="T16" fmla="*/ 588 w 596"/>
              <a:gd name="T17" fmla="*/ 385 h 599"/>
              <a:gd name="T18" fmla="*/ 579 w 596"/>
              <a:gd name="T19" fmla="*/ 340 h 599"/>
              <a:gd name="T20" fmla="*/ 562 w 596"/>
              <a:gd name="T21" fmla="*/ 297 h 599"/>
              <a:gd name="T22" fmla="*/ 592 w 596"/>
              <a:gd name="T23" fmla="*/ 251 h 599"/>
              <a:gd name="T24" fmla="*/ 588 w 596"/>
              <a:gd name="T25" fmla="*/ 216 h 599"/>
              <a:gd name="T26" fmla="*/ 537 w 596"/>
              <a:gd name="T27" fmla="*/ 188 h 599"/>
              <a:gd name="T28" fmla="*/ 522 w 596"/>
              <a:gd name="T29" fmla="*/ 151 h 599"/>
              <a:gd name="T30" fmla="*/ 526 w 596"/>
              <a:gd name="T31" fmla="*/ 101 h 599"/>
              <a:gd name="T32" fmla="*/ 476 w 596"/>
              <a:gd name="T33" fmla="*/ 99 h 599"/>
              <a:gd name="T34" fmla="*/ 432 w 596"/>
              <a:gd name="T35" fmla="*/ 73 h 599"/>
              <a:gd name="T36" fmla="*/ 416 w 596"/>
              <a:gd name="T37" fmla="*/ 23 h 599"/>
              <a:gd name="T38" fmla="*/ 381 w 596"/>
              <a:gd name="T39" fmla="*/ 20 h 599"/>
              <a:gd name="T40" fmla="*/ 336 w 596"/>
              <a:gd name="T41" fmla="*/ 40 h 599"/>
              <a:gd name="T42" fmla="*/ 301 w 596"/>
              <a:gd name="T43" fmla="*/ 28 h 599"/>
              <a:gd name="T44" fmla="*/ 256 w 596"/>
              <a:gd name="T45" fmla="*/ 3 h 599"/>
              <a:gd name="T46" fmla="*/ 228 w 596"/>
              <a:gd name="T47" fmla="*/ 47 h 599"/>
              <a:gd name="T48" fmla="*/ 188 w 596"/>
              <a:gd name="T49" fmla="*/ 63 h 599"/>
              <a:gd name="T50" fmla="*/ 119 w 596"/>
              <a:gd name="T51" fmla="*/ 60 h 599"/>
              <a:gd name="T52" fmla="*/ 104 w 596"/>
              <a:gd name="T53" fmla="*/ 125 h 599"/>
              <a:gd name="T54" fmla="*/ 66 w 596"/>
              <a:gd name="T55" fmla="*/ 144 h 599"/>
              <a:gd name="T56" fmla="*/ 30 w 596"/>
              <a:gd name="T57" fmla="*/ 168 h 599"/>
              <a:gd name="T58" fmla="*/ 52 w 596"/>
              <a:gd name="T59" fmla="*/ 215 h 599"/>
              <a:gd name="T60" fmla="*/ 42 w 596"/>
              <a:gd name="T61" fmla="*/ 254 h 599"/>
              <a:gd name="T62" fmla="*/ 0 w 596"/>
              <a:gd name="T63" fmla="*/ 285 h 599"/>
              <a:gd name="T64" fmla="*/ 5 w 596"/>
              <a:gd name="T65" fmla="*/ 321 h 599"/>
              <a:gd name="T66" fmla="*/ 45 w 596"/>
              <a:gd name="T67" fmla="*/ 362 h 599"/>
              <a:gd name="T68" fmla="*/ 32 w 596"/>
              <a:gd name="T69" fmla="*/ 412 h 599"/>
              <a:gd name="T70" fmla="*/ 40 w 596"/>
              <a:gd name="T71" fmla="*/ 450 h 599"/>
              <a:gd name="T72" fmla="*/ 92 w 596"/>
              <a:gd name="T73" fmla="*/ 459 h 599"/>
              <a:gd name="T74" fmla="*/ 121 w 596"/>
              <a:gd name="T75" fmla="*/ 497 h 599"/>
              <a:gd name="T76" fmla="*/ 129 w 596"/>
              <a:gd name="T77" fmla="*/ 546 h 599"/>
              <a:gd name="T78" fmla="*/ 178 w 596"/>
              <a:gd name="T79" fmla="*/ 537 h 599"/>
              <a:gd name="T80" fmla="*/ 217 w 596"/>
              <a:gd name="T81" fmla="*/ 548 h 599"/>
              <a:gd name="T82" fmla="*/ 250 w 596"/>
              <a:gd name="T83" fmla="*/ 596 h 599"/>
              <a:gd name="T84" fmla="*/ 274 w 596"/>
              <a:gd name="T85" fmla="*/ 511 h 599"/>
              <a:gd name="T86" fmla="*/ 215 w 596"/>
              <a:gd name="T87" fmla="*/ 495 h 599"/>
              <a:gd name="T88" fmla="*/ 141 w 596"/>
              <a:gd name="T89" fmla="*/ 440 h 599"/>
              <a:gd name="T90" fmla="*/ 94 w 596"/>
              <a:gd name="T91" fmla="*/ 354 h 599"/>
              <a:gd name="T92" fmla="*/ 90 w 596"/>
              <a:gd name="T93" fmla="*/ 264 h 599"/>
              <a:gd name="T94" fmla="*/ 98 w 596"/>
              <a:gd name="T95" fmla="*/ 233 h 599"/>
              <a:gd name="T96" fmla="*/ 141 w 596"/>
              <a:gd name="T97" fmla="*/ 158 h 599"/>
              <a:gd name="T98" fmla="*/ 225 w 596"/>
              <a:gd name="T99" fmla="*/ 100 h 599"/>
              <a:gd name="T100" fmla="*/ 310 w 596"/>
              <a:gd name="T101" fmla="*/ 87 h 599"/>
              <a:gd name="T102" fmla="*/ 342 w 596"/>
              <a:gd name="T103" fmla="*/ 91 h 599"/>
              <a:gd name="T104" fmla="*/ 425 w 596"/>
              <a:gd name="T105" fmla="*/ 127 h 599"/>
              <a:gd name="T106" fmla="*/ 489 w 596"/>
              <a:gd name="T107" fmla="*/ 201 h 599"/>
              <a:gd name="T108" fmla="*/ 513 w 596"/>
              <a:gd name="T109" fmla="*/ 291 h 599"/>
              <a:gd name="T110" fmla="*/ 507 w 596"/>
              <a:gd name="T111" fmla="*/ 351 h 599"/>
              <a:gd name="T112" fmla="*/ 480 w 596"/>
              <a:gd name="T113" fmla="*/ 413 h 599"/>
              <a:gd name="T114" fmla="*/ 420 w 596"/>
              <a:gd name="T115" fmla="*/ 475 h 599"/>
              <a:gd name="T116" fmla="*/ 341 w 596"/>
              <a:gd name="T117" fmla="*/ 509 h 599"/>
              <a:gd name="T118" fmla="*/ 274 w 596"/>
              <a:gd name="T119" fmla="*/ 511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96" h="599">
                <a:moveTo>
                  <a:pt x="285" y="595"/>
                </a:moveTo>
                <a:cubicBezTo>
                  <a:pt x="285" y="595"/>
                  <a:pt x="287" y="593"/>
                  <a:pt x="288" y="591"/>
                </a:cubicBezTo>
                <a:cubicBezTo>
                  <a:pt x="290" y="588"/>
                  <a:pt x="292" y="584"/>
                  <a:pt x="294" y="581"/>
                </a:cubicBezTo>
                <a:cubicBezTo>
                  <a:pt x="298" y="574"/>
                  <a:pt x="302" y="566"/>
                  <a:pt x="302" y="566"/>
                </a:cubicBezTo>
                <a:cubicBezTo>
                  <a:pt x="303" y="564"/>
                  <a:pt x="306" y="562"/>
                  <a:pt x="310" y="562"/>
                </a:cubicBezTo>
                <a:cubicBezTo>
                  <a:pt x="310" y="562"/>
                  <a:pt x="315" y="562"/>
                  <a:pt x="320" y="561"/>
                </a:cubicBezTo>
                <a:cubicBezTo>
                  <a:pt x="323" y="561"/>
                  <a:pt x="326" y="561"/>
                  <a:pt x="328" y="561"/>
                </a:cubicBezTo>
                <a:cubicBezTo>
                  <a:pt x="330" y="560"/>
                  <a:pt x="331" y="560"/>
                  <a:pt x="331" y="560"/>
                </a:cubicBezTo>
                <a:cubicBezTo>
                  <a:pt x="331" y="560"/>
                  <a:pt x="332" y="560"/>
                  <a:pt x="334" y="560"/>
                </a:cubicBezTo>
                <a:cubicBezTo>
                  <a:pt x="336" y="559"/>
                  <a:pt x="339" y="559"/>
                  <a:pt x="342" y="559"/>
                </a:cubicBezTo>
                <a:cubicBezTo>
                  <a:pt x="347" y="558"/>
                  <a:pt x="352" y="557"/>
                  <a:pt x="352" y="557"/>
                </a:cubicBezTo>
                <a:cubicBezTo>
                  <a:pt x="355" y="556"/>
                  <a:pt x="359" y="557"/>
                  <a:pt x="361" y="559"/>
                </a:cubicBezTo>
                <a:cubicBezTo>
                  <a:pt x="361" y="559"/>
                  <a:pt x="362" y="561"/>
                  <a:pt x="364" y="563"/>
                </a:cubicBezTo>
                <a:cubicBezTo>
                  <a:pt x="366" y="566"/>
                  <a:pt x="369" y="569"/>
                  <a:pt x="372" y="572"/>
                </a:cubicBezTo>
                <a:cubicBezTo>
                  <a:pt x="377" y="578"/>
                  <a:pt x="383" y="583"/>
                  <a:pt x="383" y="583"/>
                </a:cubicBezTo>
                <a:cubicBezTo>
                  <a:pt x="386" y="586"/>
                  <a:pt x="389" y="587"/>
                  <a:pt x="393" y="585"/>
                </a:cubicBezTo>
                <a:cubicBezTo>
                  <a:pt x="393" y="585"/>
                  <a:pt x="395" y="585"/>
                  <a:pt x="397" y="584"/>
                </a:cubicBezTo>
                <a:cubicBezTo>
                  <a:pt x="399" y="583"/>
                  <a:pt x="403" y="582"/>
                  <a:pt x="406" y="581"/>
                </a:cubicBezTo>
                <a:cubicBezTo>
                  <a:pt x="409" y="580"/>
                  <a:pt x="412" y="578"/>
                  <a:pt x="415" y="577"/>
                </a:cubicBezTo>
                <a:cubicBezTo>
                  <a:pt x="417" y="576"/>
                  <a:pt x="418" y="576"/>
                  <a:pt x="418" y="576"/>
                </a:cubicBezTo>
                <a:cubicBezTo>
                  <a:pt x="422" y="574"/>
                  <a:pt x="424" y="571"/>
                  <a:pt x="424" y="568"/>
                </a:cubicBezTo>
                <a:cubicBezTo>
                  <a:pt x="424" y="568"/>
                  <a:pt x="425" y="560"/>
                  <a:pt x="425" y="551"/>
                </a:cubicBezTo>
                <a:cubicBezTo>
                  <a:pt x="426" y="543"/>
                  <a:pt x="426" y="535"/>
                  <a:pt x="426" y="535"/>
                </a:cubicBezTo>
                <a:cubicBezTo>
                  <a:pt x="426" y="532"/>
                  <a:pt x="427" y="529"/>
                  <a:pt x="430" y="527"/>
                </a:cubicBezTo>
                <a:cubicBezTo>
                  <a:pt x="430" y="527"/>
                  <a:pt x="431" y="527"/>
                  <a:pt x="433" y="526"/>
                </a:cubicBezTo>
                <a:cubicBezTo>
                  <a:pt x="435" y="525"/>
                  <a:pt x="437" y="523"/>
                  <a:pt x="439" y="522"/>
                </a:cubicBezTo>
                <a:cubicBezTo>
                  <a:pt x="444" y="519"/>
                  <a:pt x="448" y="516"/>
                  <a:pt x="448" y="516"/>
                </a:cubicBezTo>
                <a:cubicBezTo>
                  <a:pt x="448" y="516"/>
                  <a:pt x="453" y="513"/>
                  <a:pt x="457" y="510"/>
                </a:cubicBezTo>
                <a:cubicBezTo>
                  <a:pt x="459" y="508"/>
                  <a:pt x="461" y="506"/>
                  <a:pt x="463" y="505"/>
                </a:cubicBezTo>
                <a:cubicBezTo>
                  <a:pt x="465" y="504"/>
                  <a:pt x="466" y="503"/>
                  <a:pt x="466" y="503"/>
                </a:cubicBezTo>
                <a:cubicBezTo>
                  <a:pt x="468" y="501"/>
                  <a:pt x="472" y="500"/>
                  <a:pt x="475" y="502"/>
                </a:cubicBezTo>
                <a:cubicBezTo>
                  <a:pt x="475" y="502"/>
                  <a:pt x="482" y="505"/>
                  <a:pt x="490" y="507"/>
                </a:cubicBezTo>
                <a:cubicBezTo>
                  <a:pt x="498" y="510"/>
                  <a:pt x="506" y="512"/>
                  <a:pt x="506" y="512"/>
                </a:cubicBezTo>
                <a:cubicBezTo>
                  <a:pt x="509" y="513"/>
                  <a:pt x="512" y="512"/>
                  <a:pt x="515" y="509"/>
                </a:cubicBezTo>
                <a:cubicBezTo>
                  <a:pt x="515" y="509"/>
                  <a:pt x="516" y="508"/>
                  <a:pt x="518" y="506"/>
                </a:cubicBezTo>
                <a:cubicBezTo>
                  <a:pt x="520" y="505"/>
                  <a:pt x="522" y="502"/>
                  <a:pt x="524" y="500"/>
                </a:cubicBezTo>
                <a:cubicBezTo>
                  <a:pt x="527" y="497"/>
                  <a:pt x="529" y="494"/>
                  <a:pt x="530" y="492"/>
                </a:cubicBezTo>
                <a:cubicBezTo>
                  <a:pt x="532" y="490"/>
                  <a:pt x="533" y="489"/>
                  <a:pt x="533" y="489"/>
                </a:cubicBezTo>
                <a:cubicBezTo>
                  <a:pt x="536" y="486"/>
                  <a:pt x="536" y="483"/>
                  <a:pt x="535" y="480"/>
                </a:cubicBezTo>
                <a:cubicBezTo>
                  <a:pt x="535" y="480"/>
                  <a:pt x="532" y="472"/>
                  <a:pt x="528" y="464"/>
                </a:cubicBezTo>
                <a:cubicBezTo>
                  <a:pt x="526" y="461"/>
                  <a:pt x="525" y="457"/>
                  <a:pt x="523" y="454"/>
                </a:cubicBezTo>
                <a:cubicBezTo>
                  <a:pt x="522" y="452"/>
                  <a:pt x="521" y="450"/>
                  <a:pt x="521" y="450"/>
                </a:cubicBezTo>
                <a:cubicBezTo>
                  <a:pt x="519" y="447"/>
                  <a:pt x="519" y="444"/>
                  <a:pt x="521" y="441"/>
                </a:cubicBezTo>
                <a:cubicBezTo>
                  <a:pt x="521" y="441"/>
                  <a:pt x="524" y="436"/>
                  <a:pt x="527" y="432"/>
                </a:cubicBezTo>
                <a:cubicBezTo>
                  <a:pt x="528" y="429"/>
                  <a:pt x="529" y="427"/>
                  <a:pt x="530" y="425"/>
                </a:cubicBezTo>
                <a:cubicBezTo>
                  <a:pt x="531" y="423"/>
                  <a:pt x="532" y="422"/>
                  <a:pt x="532" y="422"/>
                </a:cubicBezTo>
                <a:cubicBezTo>
                  <a:pt x="532" y="422"/>
                  <a:pt x="533" y="421"/>
                  <a:pt x="534" y="419"/>
                </a:cubicBezTo>
                <a:cubicBezTo>
                  <a:pt x="534" y="417"/>
                  <a:pt x="536" y="415"/>
                  <a:pt x="537" y="413"/>
                </a:cubicBezTo>
                <a:cubicBezTo>
                  <a:pt x="539" y="408"/>
                  <a:pt x="541" y="403"/>
                  <a:pt x="541" y="403"/>
                </a:cubicBezTo>
                <a:cubicBezTo>
                  <a:pt x="542" y="400"/>
                  <a:pt x="545" y="398"/>
                  <a:pt x="548" y="397"/>
                </a:cubicBezTo>
                <a:cubicBezTo>
                  <a:pt x="548" y="397"/>
                  <a:pt x="556" y="397"/>
                  <a:pt x="565" y="395"/>
                </a:cubicBezTo>
                <a:cubicBezTo>
                  <a:pt x="569" y="395"/>
                  <a:pt x="573" y="394"/>
                  <a:pt x="576" y="393"/>
                </a:cubicBezTo>
                <a:cubicBezTo>
                  <a:pt x="579" y="393"/>
                  <a:pt x="581" y="392"/>
                  <a:pt x="581" y="392"/>
                </a:cubicBezTo>
                <a:cubicBezTo>
                  <a:pt x="584" y="392"/>
                  <a:pt x="587" y="389"/>
                  <a:pt x="588" y="385"/>
                </a:cubicBezTo>
                <a:cubicBezTo>
                  <a:pt x="588" y="385"/>
                  <a:pt x="588" y="384"/>
                  <a:pt x="589" y="381"/>
                </a:cubicBezTo>
                <a:cubicBezTo>
                  <a:pt x="590" y="379"/>
                  <a:pt x="591" y="376"/>
                  <a:pt x="591" y="372"/>
                </a:cubicBezTo>
                <a:cubicBezTo>
                  <a:pt x="592" y="369"/>
                  <a:pt x="593" y="366"/>
                  <a:pt x="594" y="363"/>
                </a:cubicBezTo>
                <a:cubicBezTo>
                  <a:pt x="594" y="361"/>
                  <a:pt x="594" y="359"/>
                  <a:pt x="594" y="359"/>
                </a:cubicBezTo>
                <a:cubicBezTo>
                  <a:pt x="595" y="356"/>
                  <a:pt x="594" y="352"/>
                  <a:pt x="592" y="350"/>
                </a:cubicBezTo>
                <a:cubicBezTo>
                  <a:pt x="592" y="350"/>
                  <a:pt x="585" y="344"/>
                  <a:pt x="579" y="340"/>
                </a:cubicBezTo>
                <a:cubicBezTo>
                  <a:pt x="575" y="337"/>
                  <a:pt x="572" y="335"/>
                  <a:pt x="569" y="333"/>
                </a:cubicBezTo>
                <a:cubicBezTo>
                  <a:pt x="567" y="331"/>
                  <a:pt x="565" y="330"/>
                  <a:pt x="565" y="330"/>
                </a:cubicBezTo>
                <a:cubicBezTo>
                  <a:pt x="563" y="328"/>
                  <a:pt x="561" y="325"/>
                  <a:pt x="561" y="322"/>
                </a:cubicBezTo>
                <a:cubicBezTo>
                  <a:pt x="561" y="322"/>
                  <a:pt x="562" y="317"/>
                  <a:pt x="562" y="311"/>
                </a:cubicBezTo>
                <a:cubicBezTo>
                  <a:pt x="562" y="306"/>
                  <a:pt x="562" y="300"/>
                  <a:pt x="562" y="300"/>
                </a:cubicBezTo>
                <a:cubicBezTo>
                  <a:pt x="562" y="300"/>
                  <a:pt x="562" y="299"/>
                  <a:pt x="562" y="297"/>
                </a:cubicBezTo>
                <a:cubicBezTo>
                  <a:pt x="562" y="295"/>
                  <a:pt x="562" y="292"/>
                  <a:pt x="562" y="290"/>
                </a:cubicBezTo>
                <a:cubicBezTo>
                  <a:pt x="562" y="287"/>
                  <a:pt x="562" y="284"/>
                  <a:pt x="562" y="282"/>
                </a:cubicBezTo>
                <a:cubicBezTo>
                  <a:pt x="562" y="280"/>
                  <a:pt x="562" y="279"/>
                  <a:pt x="562" y="279"/>
                </a:cubicBezTo>
                <a:cubicBezTo>
                  <a:pt x="561" y="276"/>
                  <a:pt x="563" y="273"/>
                  <a:pt x="565" y="271"/>
                </a:cubicBezTo>
                <a:cubicBezTo>
                  <a:pt x="565" y="271"/>
                  <a:pt x="572" y="266"/>
                  <a:pt x="579" y="261"/>
                </a:cubicBezTo>
                <a:cubicBezTo>
                  <a:pt x="586" y="257"/>
                  <a:pt x="592" y="251"/>
                  <a:pt x="592" y="251"/>
                </a:cubicBezTo>
                <a:cubicBezTo>
                  <a:pt x="594" y="249"/>
                  <a:pt x="596" y="246"/>
                  <a:pt x="595" y="242"/>
                </a:cubicBezTo>
                <a:cubicBezTo>
                  <a:pt x="595" y="242"/>
                  <a:pt x="595" y="242"/>
                  <a:pt x="595" y="241"/>
                </a:cubicBezTo>
                <a:cubicBezTo>
                  <a:pt x="595" y="240"/>
                  <a:pt x="594" y="239"/>
                  <a:pt x="594" y="238"/>
                </a:cubicBezTo>
                <a:cubicBezTo>
                  <a:pt x="593" y="235"/>
                  <a:pt x="593" y="232"/>
                  <a:pt x="592" y="229"/>
                </a:cubicBezTo>
                <a:cubicBezTo>
                  <a:pt x="591" y="225"/>
                  <a:pt x="590" y="222"/>
                  <a:pt x="590" y="220"/>
                </a:cubicBezTo>
                <a:cubicBezTo>
                  <a:pt x="589" y="217"/>
                  <a:pt x="588" y="216"/>
                  <a:pt x="588" y="216"/>
                </a:cubicBezTo>
                <a:cubicBezTo>
                  <a:pt x="587" y="212"/>
                  <a:pt x="585" y="209"/>
                  <a:pt x="582" y="209"/>
                </a:cubicBezTo>
                <a:cubicBezTo>
                  <a:pt x="582" y="209"/>
                  <a:pt x="573" y="207"/>
                  <a:pt x="565" y="206"/>
                </a:cubicBezTo>
                <a:cubicBezTo>
                  <a:pt x="561" y="205"/>
                  <a:pt x="557" y="204"/>
                  <a:pt x="554" y="204"/>
                </a:cubicBezTo>
                <a:cubicBezTo>
                  <a:pt x="551" y="204"/>
                  <a:pt x="549" y="203"/>
                  <a:pt x="549" y="203"/>
                </a:cubicBezTo>
                <a:cubicBezTo>
                  <a:pt x="546" y="203"/>
                  <a:pt x="543" y="201"/>
                  <a:pt x="542" y="198"/>
                </a:cubicBezTo>
                <a:cubicBezTo>
                  <a:pt x="542" y="198"/>
                  <a:pt x="540" y="193"/>
                  <a:pt x="537" y="188"/>
                </a:cubicBezTo>
                <a:cubicBezTo>
                  <a:pt x="536" y="186"/>
                  <a:pt x="535" y="183"/>
                  <a:pt x="534" y="182"/>
                </a:cubicBezTo>
                <a:cubicBezTo>
                  <a:pt x="533" y="180"/>
                  <a:pt x="533" y="179"/>
                  <a:pt x="533" y="179"/>
                </a:cubicBezTo>
                <a:cubicBezTo>
                  <a:pt x="533" y="179"/>
                  <a:pt x="530" y="174"/>
                  <a:pt x="527" y="169"/>
                </a:cubicBezTo>
                <a:cubicBezTo>
                  <a:pt x="526" y="167"/>
                  <a:pt x="525" y="164"/>
                  <a:pt x="524" y="163"/>
                </a:cubicBezTo>
                <a:cubicBezTo>
                  <a:pt x="523" y="161"/>
                  <a:pt x="522" y="160"/>
                  <a:pt x="522" y="160"/>
                </a:cubicBezTo>
                <a:cubicBezTo>
                  <a:pt x="520" y="157"/>
                  <a:pt x="520" y="154"/>
                  <a:pt x="522" y="151"/>
                </a:cubicBezTo>
                <a:cubicBezTo>
                  <a:pt x="522" y="151"/>
                  <a:pt x="523" y="149"/>
                  <a:pt x="524" y="146"/>
                </a:cubicBezTo>
                <a:cubicBezTo>
                  <a:pt x="525" y="144"/>
                  <a:pt x="527" y="140"/>
                  <a:pt x="529" y="136"/>
                </a:cubicBezTo>
                <a:cubicBezTo>
                  <a:pt x="533" y="129"/>
                  <a:pt x="536" y="121"/>
                  <a:pt x="536" y="121"/>
                </a:cubicBezTo>
                <a:cubicBezTo>
                  <a:pt x="537" y="118"/>
                  <a:pt x="537" y="115"/>
                  <a:pt x="534" y="112"/>
                </a:cubicBezTo>
                <a:cubicBezTo>
                  <a:pt x="534" y="112"/>
                  <a:pt x="533" y="110"/>
                  <a:pt x="532" y="108"/>
                </a:cubicBezTo>
                <a:cubicBezTo>
                  <a:pt x="530" y="106"/>
                  <a:pt x="528" y="104"/>
                  <a:pt x="526" y="101"/>
                </a:cubicBezTo>
                <a:cubicBezTo>
                  <a:pt x="523" y="99"/>
                  <a:pt x="521" y="96"/>
                  <a:pt x="519" y="94"/>
                </a:cubicBezTo>
                <a:cubicBezTo>
                  <a:pt x="518" y="92"/>
                  <a:pt x="516" y="91"/>
                  <a:pt x="516" y="91"/>
                </a:cubicBezTo>
                <a:cubicBezTo>
                  <a:pt x="514" y="89"/>
                  <a:pt x="510" y="87"/>
                  <a:pt x="507" y="88"/>
                </a:cubicBezTo>
                <a:cubicBezTo>
                  <a:pt x="507" y="88"/>
                  <a:pt x="505" y="89"/>
                  <a:pt x="502" y="90"/>
                </a:cubicBezTo>
                <a:cubicBezTo>
                  <a:pt x="499" y="91"/>
                  <a:pt x="495" y="92"/>
                  <a:pt x="491" y="93"/>
                </a:cubicBezTo>
                <a:cubicBezTo>
                  <a:pt x="483" y="96"/>
                  <a:pt x="476" y="99"/>
                  <a:pt x="476" y="99"/>
                </a:cubicBezTo>
                <a:cubicBezTo>
                  <a:pt x="473" y="100"/>
                  <a:pt x="469" y="99"/>
                  <a:pt x="467" y="97"/>
                </a:cubicBezTo>
                <a:cubicBezTo>
                  <a:pt x="467" y="97"/>
                  <a:pt x="463" y="94"/>
                  <a:pt x="458" y="91"/>
                </a:cubicBezTo>
                <a:cubicBezTo>
                  <a:pt x="456" y="89"/>
                  <a:pt x="454" y="87"/>
                  <a:pt x="453" y="86"/>
                </a:cubicBezTo>
                <a:cubicBezTo>
                  <a:pt x="451" y="85"/>
                  <a:pt x="450" y="84"/>
                  <a:pt x="450" y="84"/>
                </a:cubicBezTo>
                <a:cubicBezTo>
                  <a:pt x="450" y="84"/>
                  <a:pt x="445" y="81"/>
                  <a:pt x="441" y="78"/>
                </a:cubicBezTo>
                <a:cubicBezTo>
                  <a:pt x="436" y="76"/>
                  <a:pt x="432" y="73"/>
                  <a:pt x="432" y="73"/>
                </a:cubicBezTo>
                <a:cubicBezTo>
                  <a:pt x="429" y="71"/>
                  <a:pt x="427" y="68"/>
                  <a:pt x="427" y="65"/>
                </a:cubicBezTo>
                <a:cubicBezTo>
                  <a:pt x="427" y="65"/>
                  <a:pt x="427" y="63"/>
                  <a:pt x="427" y="60"/>
                </a:cubicBezTo>
                <a:cubicBezTo>
                  <a:pt x="427" y="57"/>
                  <a:pt x="427" y="53"/>
                  <a:pt x="427" y="49"/>
                </a:cubicBezTo>
                <a:cubicBezTo>
                  <a:pt x="427" y="40"/>
                  <a:pt x="426" y="32"/>
                  <a:pt x="426" y="32"/>
                </a:cubicBezTo>
                <a:cubicBezTo>
                  <a:pt x="426" y="29"/>
                  <a:pt x="423" y="26"/>
                  <a:pt x="420" y="24"/>
                </a:cubicBezTo>
                <a:cubicBezTo>
                  <a:pt x="420" y="24"/>
                  <a:pt x="418" y="24"/>
                  <a:pt x="416" y="23"/>
                </a:cubicBezTo>
                <a:cubicBezTo>
                  <a:pt x="414" y="22"/>
                  <a:pt x="411" y="20"/>
                  <a:pt x="407" y="19"/>
                </a:cubicBezTo>
                <a:cubicBezTo>
                  <a:pt x="404" y="18"/>
                  <a:pt x="401" y="17"/>
                  <a:pt x="399" y="16"/>
                </a:cubicBezTo>
                <a:cubicBezTo>
                  <a:pt x="397" y="16"/>
                  <a:pt x="396" y="15"/>
                  <a:pt x="396" y="15"/>
                </a:cubicBezTo>
                <a:cubicBezTo>
                  <a:pt x="395" y="15"/>
                  <a:pt x="395" y="15"/>
                  <a:pt x="395" y="15"/>
                </a:cubicBezTo>
                <a:cubicBezTo>
                  <a:pt x="391" y="14"/>
                  <a:pt x="387" y="14"/>
                  <a:pt x="385" y="16"/>
                </a:cubicBezTo>
                <a:cubicBezTo>
                  <a:pt x="385" y="16"/>
                  <a:pt x="384" y="18"/>
                  <a:pt x="381" y="20"/>
                </a:cubicBezTo>
                <a:cubicBezTo>
                  <a:pt x="379" y="22"/>
                  <a:pt x="376" y="25"/>
                  <a:pt x="373" y="28"/>
                </a:cubicBezTo>
                <a:cubicBezTo>
                  <a:pt x="368" y="34"/>
                  <a:pt x="362" y="40"/>
                  <a:pt x="362" y="40"/>
                </a:cubicBezTo>
                <a:cubicBezTo>
                  <a:pt x="360" y="43"/>
                  <a:pt x="357" y="44"/>
                  <a:pt x="354" y="43"/>
                </a:cubicBezTo>
                <a:cubicBezTo>
                  <a:pt x="354" y="43"/>
                  <a:pt x="352" y="43"/>
                  <a:pt x="350" y="42"/>
                </a:cubicBezTo>
                <a:cubicBezTo>
                  <a:pt x="349" y="42"/>
                  <a:pt x="346" y="42"/>
                  <a:pt x="343" y="41"/>
                </a:cubicBezTo>
                <a:cubicBezTo>
                  <a:pt x="341" y="41"/>
                  <a:pt x="338" y="40"/>
                  <a:pt x="336" y="40"/>
                </a:cubicBezTo>
                <a:cubicBezTo>
                  <a:pt x="334" y="40"/>
                  <a:pt x="333" y="40"/>
                  <a:pt x="333" y="40"/>
                </a:cubicBezTo>
                <a:cubicBezTo>
                  <a:pt x="333" y="40"/>
                  <a:pt x="331" y="39"/>
                  <a:pt x="329" y="39"/>
                </a:cubicBezTo>
                <a:cubicBezTo>
                  <a:pt x="327" y="39"/>
                  <a:pt x="325" y="39"/>
                  <a:pt x="322" y="38"/>
                </a:cubicBezTo>
                <a:cubicBezTo>
                  <a:pt x="316" y="38"/>
                  <a:pt x="311" y="38"/>
                  <a:pt x="311" y="38"/>
                </a:cubicBezTo>
                <a:cubicBezTo>
                  <a:pt x="308" y="38"/>
                  <a:pt x="305" y="36"/>
                  <a:pt x="304" y="33"/>
                </a:cubicBezTo>
                <a:cubicBezTo>
                  <a:pt x="304" y="33"/>
                  <a:pt x="303" y="31"/>
                  <a:pt x="301" y="28"/>
                </a:cubicBezTo>
                <a:cubicBezTo>
                  <a:pt x="300" y="26"/>
                  <a:pt x="298" y="22"/>
                  <a:pt x="296" y="18"/>
                </a:cubicBezTo>
                <a:cubicBezTo>
                  <a:pt x="292" y="11"/>
                  <a:pt x="287" y="4"/>
                  <a:pt x="287" y="4"/>
                </a:cubicBezTo>
                <a:cubicBezTo>
                  <a:pt x="286" y="1"/>
                  <a:pt x="282" y="0"/>
                  <a:pt x="278" y="0"/>
                </a:cubicBezTo>
                <a:cubicBezTo>
                  <a:pt x="278" y="0"/>
                  <a:pt x="277" y="0"/>
                  <a:pt x="274" y="1"/>
                </a:cubicBezTo>
                <a:cubicBezTo>
                  <a:pt x="272" y="1"/>
                  <a:pt x="268" y="1"/>
                  <a:pt x="265" y="1"/>
                </a:cubicBezTo>
                <a:cubicBezTo>
                  <a:pt x="262" y="2"/>
                  <a:pt x="258" y="2"/>
                  <a:pt x="256" y="3"/>
                </a:cubicBezTo>
                <a:cubicBezTo>
                  <a:pt x="253" y="3"/>
                  <a:pt x="251" y="3"/>
                  <a:pt x="251" y="3"/>
                </a:cubicBezTo>
                <a:cubicBezTo>
                  <a:pt x="248" y="4"/>
                  <a:pt x="245" y="6"/>
                  <a:pt x="244" y="9"/>
                </a:cubicBezTo>
                <a:cubicBezTo>
                  <a:pt x="244" y="9"/>
                  <a:pt x="243" y="11"/>
                  <a:pt x="242" y="14"/>
                </a:cubicBezTo>
                <a:cubicBezTo>
                  <a:pt x="241" y="17"/>
                  <a:pt x="240" y="21"/>
                  <a:pt x="239" y="25"/>
                </a:cubicBezTo>
                <a:cubicBezTo>
                  <a:pt x="236" y="33"/>
                  <a:pt x="235" y="41"/>
                  <a:pt x="235" y="41"/>
                </a:cubicBezTo>
                <a:cubicBezTo>
                  <a:pt x="234" y="44"/>
                  <a:pt x="231" y="47"/>
                  <a:pt x="228" y="47"/>
                </a:cubicBezTo>
                <a:cubicBezTo>
                  <a:pt x="228" y="47"/>
                  <a:pt x="227" y="48"/>
                  <a:pt x="225" y="48"/>
                </a:cubicBezTo>
                <a:cubicBezTo>
                  <a:pt x="223" y="49"/>
                  <a:pt x="221" y="50"/>
                  <a:pt x="218" y="51"/>
                </a:cubicBezTo>
                <a:cubicBezTo>
                  <a:pt x="216" y="51"/>
                  <a:pt x="213" y="52"/>
                  <a:pt x="211" y="53"/>
                </a:cubicBezTo>
                <a:cubicBezTo>
                  <a:pt x="209" y="54"/>
                  <a:pt x="208" y="54"/>
                  <a:pt x="208" y="54"/>
                </a:cubicBezTo>
                <a:cubicBezTo>
                  <a:pt x="208" y="54"/>
                  <a:pt x="203" y="56"/>
                  <a:pt x="198" y="58"/>
                </a:cubicBezTo>
                <a:cubicBezTo>
                  <a:pt x="193" y="60"/>
                  <a:pt x="188" y="63"/>
                  <a:pt x="188" y="63"/>
                </a:cubicBezTo>
                <a:cubicBezTo>
                  <a:pt x="185" y="64"/>
                  <a:pt x="182" y="64"/>
                  <a:pt x="179" y="62"/>
                </a:cubicBezTo>
                <a:cubicBezTo>
                  <a:pt x="179" y="62"/>
                  <a:pt x="173" y="57"/>
                  <a:pt x="166" y="53"/>
                </a:cubicBezTo>
                <a:cubicBezTo>
                  <a:pt x="159" y="48"/>
                  <a:pt x="151" y="44"/>
                  <a:pt x="151" y="44"/>
                </a:cubicBezTo>
                <a:cubicBezTo>
                  <a:pt x="149" y="43"/>
                  <a:pt x="145" y="43"/>
                  <a:pt x="142" y="45"/>
                </a:cubicBezTo>
                <a:cubicBezTo>
                  <a:pt x="142" y="45"/>
                  <a:pt x="136" y="48"/>
                  <a:pt x="130" y="52"/>
                </a:cubicBezTo>
                <a:cubicBezTo>
                  <a:pt x="125" y="56"/>
                  <a:pt x="119" y="60"/>
                  <a:pt x="119" y="60"/>
                </a:cubicBezTo>
                <a:cubicBezTo>
                  <a:pt x="116" y="62"/>
                  <a:pt x="115" y="66"/>
                  <a:pt x="115" y="69"/>
                </a:cubicBezTo>
                <a:cubicBezTo>
                  <a:pt x="115" y="69"/>
                  <a:pt x="117" y="77"/>
                  <a:pt x="118" y="85"/>
                </a:cubicBezTo>
                <a:cubicBezTo>
                  <a:pt x="120" y="93"/>
                  <a:pt x="122" y="101"/>
                  <a:pt x="122" y="101"/>
                </a:cubicBezTo>
                <a:cubicBezTo>
                  <a:pt x="123" y="104"/>
                  <a:pt x="122" y="107"/>
                  <a:pt x="119" y="110"/>
                </a:cubicBezTo>
                <a:cubicBezTo>
                  <a:pt x="119" y="110"/>
                  <a:pt x="116" y="114"/>
                  <a:pt x="112" y="117"/>
                </a:cubicBezTo>
                <a:cubicBezTo>
                  <a:pt x="108" y="121"/>
                  <a:pt x="104" y="125"/>
                  <a:pt x="104" y="125"/>
                </a:cubicBezTo>
                <a:cubicBezTo>
                  <a:pt x="104" y="125"/>
                  <a:pt x="103" y="126"/>
                  <a:pt x="102" y="128"/>
                </a:cubicBezTo>
                <a:cubicBezTo>
                  <a:pt x="101" y="129"/>
                  <a:pt x="99" y="131"/>
                  <a:pt x="97" y="133"/>
                </a:cubicBezTo>
                <a:cubicBezTo>
                  <a:pt x="96" y="135"/>
                  <a:pt x="94" y="138"/>
                  <a:pt x="93" y="139"/>
                </a:cubicBezTo>
                <a:cubicBezTo>
                  <a:pt x="92" y="141"/>
                  <a:pt x="91" y="142"/>
                  <a:pt x="91" y="142"/>
                </a:cubicBezTo>
                <a:cubicBezTo>
                  <a:pt x="89" y="144"/>
                  <a:pt x="86" y="146"/>
                  <a:pt x="82" y="145"/>
                </a:cubicBezTo>
                <a:cubicBezTo>
                  <a:pt x="82" y="145"/>
                  <a:pt x="74" y="144"/>
                  <a:pt x="66" y="144"/>
                </a:cubicBezTo>
                <a:cubicBezTo>
                  <a:pt x="62" y="143"/>
                  <a:pt x="58" y="143"/>
                  <a:pt x="55" y="143"/>
                </a:cubicBezTo>
                <a:cubicBezTo>
                  <a:pt x="52" y="143"/>
                  <a:pt x="50" y="142"/>
                  <a:pt x="50" y="142"/>
                </a:cubicBezTo>
                <a:cubicBezTo>
                  <a:pt x="46" y="142"/>
                  <a:pt x="43" y="144"/>
                  <a:pt x="41" y="147"/>
                </a:cubicBezTo>
                <a:cubicBezTo>
                  <a:pt x="41" y="147"/>
                  <a:pt x="40" y="149"/>
                  <a:pt x="39" y="151"/>
                </a:cubicBezTo>
                <a:cubicBezTo>
                  <a:pt x="38" y="153"/>
                  <a:pt x="36" y="156"/>
                  <a:pt x="35" y="159"/>
                </a:cubicBezTo>
                <a:cubicBezTo>
                  <a:pt x="33" y="162"/>
                  <a:pt x="32" y="165"/>
                  <a:pt x="30" y="168"/>
                </a:cubicBezTo>
                <a:cubicBezTo>
                  <a:pt x="29" y="170"/>
                  <a:pt x="29" y="172"/>
                  <a:pt x="29" y="172"/>
                </a:cubicBezTo>
                <a:cubicBezTo>
                  <a:pt x="27" y="175"/>
                  <a:pt x="27" y="179"/>
                  <a:pt x="29" y="181"/>
                </a:cubicBezTo>
                <a:cubicBezTo>
                  <a:pt x="29" y="181"/>
                  <a:pt x="34" y="188"/>
                  <a:pt x="39" y="194"/>
                </a:cubicBezTo>
                <a:cubicBezTo>
                  <a:pt x="42" y="198"/>
                  <a:pt x="45" y="201"/>
                  <a:pt x="47" y="203"/>
                </a:cubicBezTo>
                <a:cubicBezTo>
                  <a:pt x="49" y="205"/>
                  <a:pt x="50" y="207"/>
                  <a:pt x="50" y="207"/>
                </a:cubicBezTo>
                <a:cubicBezTo>
                  <a:pt x="52" y="209"/>
                  <a:pt x="53" y="212"/>
                  <a:pt x="52" y="215"/>
                </a:cubicBezTo>
                <a:cubicBezTo>
                  <a:pt x="52" y="215"/>
                  <a:pt x="50" y="221"/>
                  <a:pt x="49" y="226"/>
                </a:cubicBezTo>
                <a:cubicBezTo>
                  <a:pt x="48" y="228"/>
                  <a:pt x="47" y="231"/>
                  <a:pt x="47" y="233"/>
                </a:cubicBezTo>
                <a:cubicBezTo>
                  <a:pt x="46" y="235"/>
                  <a:pt x="46" y="236"/>
                  <a:pt x="46" y="236"/>
                </a:cubicBezTo>
                <a:cubicBezTo>
                  <a:pt x="46" y="236"/>
                  <a:pt x="45" y="237"/>
                  <a:pt x="45" y="239"/>
                </a:cubicBezTo>
                <a:cubicBezTo>
                  <a:pt x="45" y="241"/>
                  <a:pt x="44" y="244"/>
                  <a:pt x="43" y="247"/>
                </a:cubicBezTo>
                <a:cubicBezTo>
                  <a:pt x="43" y="249"/>
                  <a:pt x="42" y="252"/>
                  <a:pt x="42" y="254"/>
                </a:cubicBezTo>
                <a:cubicBezTo>
                  <a:pt x="42" y="256"/>
                  <a:pt x="41" y="257"/>
                  <a:pt x="41" y="257"/>
                </a:cubicBezTo>
                <a:cubicBezTo>
                  <a:pt x="41" y="260"/>
                  <a:pt x="39" y="263"/>
                  <a:pt x="36" y="264"/>
                </a:cubicBezTo>
                <a:cubicBezTo>
                  <a:pt x="36" y="264"/>
                  <a:pt x="28" y="267"/>
                  <a:pt x="21" y="270"/>
                </a:cubicBezTo>
                <a:cubicBezTo>
                  <a:pt x="17" y="272"/>
                  <a:pt x="13" y="273"/>
                  <a:pt x="10" y="275"/>
                </a:cubicBezTo>
                <a:cubicBezTo>
                  <a:pt x="7" y="276"/>
                  <a:pt x="5" y="277"/>
                  <a:pt x="5" y="277"/>
                </a:cubicBezTo>
                <a:cubicBezTo>
                  <a:pt x="2" y="278"/>
                  <a:pt x="0" y="281"/>
                  <a:pt x="0" y="285"/>
                </a:cubicBezTo>
                <a:cubicBezTo>
                  <a:pt x="0" y="285"/>
                  <a:pt x="0" y="286"/>
                  <a:pt x="0" y="286"/>
                </a:cubicBezTo>
                <a:cubicBezTo>
                  <a:pt x="0" y="287"/>
                  <a:pt x="0" y="288"/>
                  <a:pt x="0" y="289"/>
                </a:cubicBezTo>
                <a:cubicBezTo>
                  <a:pt x="0" y="292"/>
                  <a:pt x="0" y="295"/>
                  <a:pt x="0" y="299"/>
                </a:cubicBezTo>
                <a:cubicBezTo>
                  <a:pt x="0" y="302"/>
                  <a:pt x="0" y="306"/>
                  <a:pt x="0" y="308"/>
                </a:cubicBezTo>
                <a:cubicBezTo>
                  <a:pt x="0" y="311"/>
                  <a:pt x="0" y="312"/>
                  <a:pt x="0" y="312"/>
                </a:cubicBezTo>
                <a:cubicBezTo>
                  <a:pt x="0" y="316"/>
                  <a:pt x="2" y="319"/>
                  <a:pt x="5" y="321"/>
                </a:cubicBezTo>
                <a:cubicBezTo>
                  <a:pt x="5" y="321"/>
                  <a:pt x="13" y="324"/>
                  <a:pt x="20" y="328"/>
                </a:cubicBezTo>
                <a:cubicBezTo>
                  <a:pt x="24" y="329"/>
                  <a:pt x="28" y="331"/>
                  <a:pt x="31" y="332"/>
                </a:cubicBezTo>
                <a:cubicBezTo>
                  <a:pt x="34" y="333"/>
                  <a:pt x="36" y="334"/>
                  <a:pt x="36" y="334"/>
                </a:cubicBezTo>
                <a:cubicBezTo>
                  <a:pt x="39" y="335"/>
                  <a:pt x="41" y="337"/>
                  <a:pt x="41" y="341"/>
                </a:cubicBezTo>
                <a:cubicBezTo>
                  <a:pt x="41" y="341"/>
                  <a:pt x="42" y="346"/>
                  <a:pt x="43" y="351"/>
                </a:cubicBezTo>
                <a:cubicBezTo>
                  <a:pt x="44" y="356"/>
                  <a:pt x="45" y="362"/>
                  <a:pt x="45" y="362"/>
                </a:cubicBezTo>
                <a:cubicBezTo>
                  <a:pt x="45" y="362"/>
                  <a:pt x="46" y="363"/>
                  <a:pt x="46" y="365"/>
                </a:cubicBezTo>
                <a:cubicBezTo>
                  <a:pt x="47" y="367"/>
                  <a:pt x="47" y="369"/>
                  <a:pt x="48" y="372"/>
                </a:cubicBezTo>
                <a:cubicBezTo>
                  <a:pt x="49" y="377"/>
                  <a:pt x="51" y="382"/>
                  <a:pt x="51" y="382"/>
                </a:cubicBezTo>
                <a:cubicBezTo>
                  <a:pt x="52" y="385"/>
                  <a:pt x="52" y="389"/>
                  <a:pt x="49" y="391"/>
                </a:cubicBezTo>
                <a:cubicBezTo>
                  <a:pt x="49" y="391"/>
                  <a:pt x="44" y="397"/>
                  <a:pt x="39" y="403"/>
                </a:cubicBezTo>
                <a:cubicBezTo>
                  <a:pt x="36" y="407"/>
                  <a:pt x="34" y="410"/>
                  <a:pt x="32" y="412"/>
                </a:cubicBezTo>
                <a:cubicBezTo>
                  <a:pt x="30" y="415"/>
                  <a:pt x="28" y="417"/>
                  <a:pt x="28" y="417"/>
                </a:cubicBezTo>
                <a:cubicBezTo>
                  <a:pt x="27" y="419"/>
                  <a:pt x="26" y="423"/>
                  <a:pt x="28" y="426"/>
                </a:cubicBezTo>
                <a:cubicBezTo>
                  <a:pt x="28" y="426"/>
                  <a:pt x="29" y="428"/>
                  <a:pt x="30" y="430"/>
                </a:cubicBezTo>
                <a:cubicBezTo>
                  <a:pt x="31" y="432"/>
                  <a:pt x="32" y="435"/>
                  <a:pt x="34" y="438"/>
                </a:cubicBezTo>
                <a:cubicBezTo>
                  <a:pt x="35" y="441"/>
                  <a:pt x="37" y="444"/>
                  <a:pt x="38" y="447"/>
                </a:cubicBezTo>
                <a:cubicBezTo>
                  <a:pt x="40" y="449"/>
                  <a:pt x="40" y="450"/>
                  <a:pt x="40" y="450"/>
                </a:cubicBezTo>
                <a:cubicBezTo>
                  <a:pt x="42" y="454"/>
                  <a:pt x="45" y="456"/>
                  <a:pt x="49" y="455"/>
                </a:cubicBezTo>
                <a:cubicBezTo>
                  <a:pt x="49" y="455"/>
                  <a:pt x="57" y="455"/>
                  <a:pt x="65" y="454"/>
                </a:cubicBezTo>
                <a:cubicBezTo>
                  <a:pt x="69" y="454"/>
                  <a:pt x="74" y="454"/>
                  <a:pt x="77" y="453"/>
                </a:cubicBezTo>
                <a:cubicBezTo>
                  <a:pt x="80" y="453"/>
                  <a:pt x="82" y="453"/>
                  <a:pt x="82" y="453"/>
                </a:cubicBezTo>
                <a:cubicBezTo>
                  <a:pt x="85" y="452"/>
                  <a:pt x="88" y="454"/>
                  <a:pt x="90" y="456"/>
                </a:cubicBezTo>
                <a:cubicBezTo>
                  <a:pt x="90" y="456"/>
                  <a:pt x="91" y="457"/>
                  <a:pt x="92" y="459"/>
                </a:cubicBezTo>
                <a:cubicBezTo>
                  <a:pt x="93" y="461"/>
                  <a:pt x="95" y="463"/>
                  <a:pt x="96" y="465"/>
                </a:cubicBezTo>
                <a:cubicBezTo>
                  <a:pt x="100" y="469"/>
                  <a:pt x="103" y="473"/>
                  <a:pt x="103" y="473"/>
                </a:cubicBezTo>
                <a:cubicBezTo>
                  <a:pt x="103" y="473"/>
                  <a:pt x="104" y="474"/>
                  <a:pt x="106" y="475"/>
                </a:cubicBezTo>
                <a:cubicBezTo>
                  <a:pt x="107" y="477"/>
                  <a:pt x="109" y="479"/>
                  <a:pt x="111" y="481"/>
                </a:cubicBezTo>
                <a:cubicBezTo>
                  <a:pt x="114" y="485"/>
                  <a:pt x="118" y="489"/>
                  <a:pt x="118" y="489"/>
                </a:cubicBezTo>
                <a:cubicBezTo>
                  <a:pt x="121" y="491"/>
                  <a:pt x="122" y="494"/>
                  <a:pt x="121" y="497"/>
                </a:cubicBezTo>
                <a:cubicBezTo>
                  <a:pt x="121" y="497"/>
                  <a:pt x="120" y="499"/>
                  <a:pt x="119" y="502"/>
                </a:cubicBezTo>
                <a:cubicBezTo>
                  <a:pt x="119" y="505"/>
                  <a:pt x="118" y="509"/>
                  <a:pt x="117" y="513"/>
                </a:cubicBezTo>
                <a:cubicBezTo>
                  <a:pt x="115" y="521"/>
                  <a:pt x="114" y="529"/>
                  <a:pt x="114" y="529"/>
                </a:cubicBezTo>
                <a:cubicBezTo>
                  <a:pt x="113" y="533"/>
                  <a:pt x="115" y="536"/>
                  <a:pt x="118" y="538"/>
                </a:cubicBezTo>
                <a:cubicBezTo>
                  <a:pt x="118" y="538"/>
                  <a:pt x="119" y="539"/>
                  <a:pt x="121" y="541"/>
                </a:cubicBezTo>
                <a:cubicBezTo>
                  <a:pt x="123" y="542"/>
                  <a:pt x="126" y="544"/>
                  <a:pt x="129" y="546"/>
                </a:cubicBezTo>
                <a:cubicBezTo>
                  <a:pt x="132" y="548"/>
                  <a:pt x="134" y="550"/>
                  <a:pt x="137" y="552"/>
                </a:cubicBezTo>
                <a:cubicBezTo>
                  <a:pt x="138" y="552"/>
                  <a:pt x="139" y="553"/>
                  <a:pt x="139" y="553"/>
                </a:cubicBezTo>
                <a:cubicBezTo>
                  <a:pt x="140" y="554"/>
                  <a:pt x="140" y="554"/>
                  <a:pt x="140" y="554"/>
                </a:cubicBezTo>
                <a:cubicBezTo>
                  <a:pt x="143" y="556"/>
                  <a:pt x="147" y="556"/>
                  <a:pt x="150" y="554"/>
                </a:cubicBezTo>
                <a:cubicBezTo>
                  <a:pt x="150" y="554"/>
                  <a:pt x="157" y="550"/>
                  <a:pt x="164" y="546"/>
                </a:cubicBezTo>
                <a:cubicBezTo>
                  <a:pt x="171" y="541"/>
                  <a:pt x="178" y="537"/>
                  <a:pt x="178" y="537"/>
                </a:cubicBezTo>
                <a:cubicBezTo>
                  <a:pt x="180" y="535"/>
                  <a:pt x="184" y="535"/>
                  <a:pt x="187" y="536"/>
                </a:cubicBezTo>
                <a:cubicBezTo>
                  <a:pt x="187" y="536"/>
                  <a:pt x="188" y="537"/>
                  <a:pt x="190" y="537"/>
                </a:cubicBezTo>
                <a:cubicBezTo>
                  <a:pt x="192" y="538"/>
                  <a:pt x="194" y="539"/>
                  <a:pt x="196" y="540"/>
                </a:cubicBezTo>
                <a:cubicBezTo>
                  <a:pt x="199" y="542"/>
                  <a:pt x="201" y="543"/>
                  <a:pt x="203" y="543"/>
                </a:cubicBezTo>
                <a:cubicBezTo>
                  <a:pt x="205" y="544"/>
                  <a:pt x="206" y="545"/>
                  <a:pt x="206" y="545"/>
                </a:cubicBezTo>
                <a:cubicBezTo>
                  <a:pt x="206" y="545"/>
                  <a:pt x="211" y="546"/>
                  <a:pt x="217" y="548"/>
                </a:cubicBezTo>
                <a:cubicBezTo>
                  <a:pt x="222" y="550"/>
                  <a:pt x="227" y="551"/>
                  <a:pt x="227" y="551"/>
                </a:cubicBezTo>
                <a:cubicBezTo>
                  <a:pt x="230" y="552"/>
                  <a:pt x="232" y="555"/>
                  <a:pt x="233" y="558"/>
                </a:cubicBezTo>
                <a:cubicBezTo>
                  <a:pt x="233" y="558"/>
                  <a:pt x="234" y="560"/>
                  <a:pt x="234" y="563"/>
                </a:cubicBezTo>
                <a:cubicBezTo>
                  <a:pt x="235" y="566"/>
                  <a:pt x="236" y="570"/>
                  <a:pt x="237" y="574"/>
                </a:cubicBezTo>
                <a:cubicBezTo>
                  <a:pt x="239" y="582"/>
                  <a:pt x="242" y="590"/>
                  <a:pt x="242" y="590"/>
                </a:cubicBezTo>
                <a:cubicBezTo>
                  <a:pt x="243" y="593"/>
                  <a:pt x="246" y="595"/>
                  <a:pt x="250" y="596"/>
                </a:cubicBezTo>
                <a:cubicBezTo>
                  <a:pt x="250" y="596"/>
                  <a:pt x="251" y="596"/>
                  <a:pt x="254" y="596"/>
                </a:cubicBezTo>
                <a:cubicBezTo>
                  <a:pt x="256" y="597"/>
                  <a:pt x="260" y="597"/>
                  <a:pt x="263" y="598"/>
                </a:cubicBezTo>
                <a:cubicBezTo>
                  <a:pt x="266" y="598"/>
                  <a:pt x="270" y="598"/>
                  <a:pt x="272" y="599"/>
                </a:cubicBezTo>
                <a:cubicBezTo>
                  <a:pt x="275" y="599"/>
                  <a:pt x="277" y="599"/>
                  <a:pt x="277" y="599"/>
                </a:cubicBezTo>
                <a:cubicBezTo>
                  <a:pt x="280" y="599"/>
                  <a:pt x="284" y="598"/>
                  <a:pt x="285" y="595"/>
                </a:cubicBezTo>
                <a:close/>
                <a:moveTo>
                  <a:pt x="274" y="511"/>
                </a:moveTo>
                <a:cubicBezTo>
                  <a:pt x="261" y="509"/>
                  <a:pt x="249" y="506"/>
                  <a:pt x="239" y="504"/>
                </a:cubicBezTo>
                <a:cubicBezTo>
                  <a:pt x="235" y="502"/>
                  <a:pt x="231" y="501"/>
                  <a:pt x="228" y="500"/>
                </a:cubicBezTo>
                <a:cubicBezTo>
                  <a:pt x="226" y="499"/>
                  <a:pt x="224" y="498"/>
                  <a:pt x="224" y="498"/>
                </a:cubicBezTo>
                <a:cubicBezTo>
                  <a:pt x="224" y="498"/>
                  <a:pt x="224" y="498"/>
                  <a:pt x="223" y="498"/>
                </a:cubicBezTo>
                <a:cubicBezTo>
                  <a:pt x="222" y="498"/>
                  <a:pt x="221" y="497"/>
                  <a:pt x="220" y="497"/>
                </a:cubicBezTo>
                <a:cubicBezTo>
                  <a:pt x="219" y="496"/>
                  <a:pt x="217" y="496"/>
                  <a:pt x="215" y="495"/>
                </a:cubicBezTo>
                <a:cubicBezTo>
                  <a:pt x="214" y="494"/>
                  <a:pt x="213" y="494"/>
                  <a:pt x="212" y="494"/>
                </a:cubicBezTo>
                <a:cubicBezTo>
                  <a:pt x="211" y="493"/>
                  <a:pt x="210" y="493"/>
                  <a:pt x="209" y="492"/>
                </a:cubicBezTo>
                <a:cubicBezTo>
                  <a:pt x="201" y="488"/>
                  <a:pt x="189" y="482"/>
                  <a:pt x="179" y="474"/>
                </a:cubicBezTo>
                <a:cubicBezTo>
                  <a:pt x="168" y="467"/>
                  <a:pt x="158" y="459"/>
                  <a:pt x="152" y="452"/>
                </a:cubicBezTo>
                <a:cubicBezTo>
                  <a:pt x="148" y="448"/>
                  <a:pt x="145" y="446"/>
                  <a:pt x="143" y="444"/>
                </a:cubicBezTo>
                <a:cubicBezTo>
                  <a:pt x="142" y="442"/>
                  <a:pt x="141" y="440"/>
                  <a:pt x="141" y="440"/>
                </a:cubicBezTo>
                <a:cubicBezTo>
                  <a:pt x="141" y="440"/>
                  <a:pt x="139" y="439"/>
                  <a:pt x="138" y="437"/>
                </a:cubicBezTo>
                <a:cubicBezTo>
                  <a:pt x="136" y="435"/>
                  <a:pt x="133" y="432"/>
                  <a:pt x="130" y="428"/>
                </a:cubicBezTo>
                <a:cubicBezTo>
                  <a:pt x="125" y="420"/>
                  <a:pt x="117" y="409"/>
                  <a:pt x="111" y="398"/>
                </a:cubicBezTo>
                <a:cubicBezTo>
                  <a:pt x="106" y="387"/>
                  <a:pt x="101" y="375"/>
                  <a:pt x="98" y="365"/>
                </a:cubicBezTo>
                <a:cubicBezTo>
                  <a:pt x="97" y="363"/>
                  <a:pt x="96" y="361"/>
                  <a:pt x="96" y="359"/>
                </a:cubicBezTo>
                <a:cubicBezTo>
                  <a:pt x="95" y="357"/>
                  <a:pt x="95" y="356"/>
                  <a:pt x="94" y="354"/>
                </a:cubicBezTo>
                <a:cubicBezTo>
                  <a:pt x="94" y="353"/>
                  <a:pt x="94" y="352"/>
                  <a:pt x="94" y="351"/>
                </a:cubicBezTo>
                <a:cubicBezTo>
                  <a:pt x="93" y="350"/>
                  <a:pt x="93" y="350"/>
                  <a:pt x="93" y="350"/>
                </a:cubicBezTo>
                <a:cubicBezTo>
                  <a:pt x="93" y="350"/>
                  <a:pt x="93" y="348"/>
                  <a:pt x="92" y="346"/>
                </a:cubicBezTo>
                <a:cubicBezTo>
                  <a:pt x="92" y="343"/>
                  <a:pt x="91" y="339"/>
                  <a:pt x="90" y="334"/>
                </a:cubicBezTo>
                <a:cubicBezTo>
                  <a:pt x="89" y="325"/>
                  <a:pt x="87" y="312"/>
                  <a:pt x="87" y="299"/>
                </a:cubicBezTo>
                <a:cubicBezTo>
                  <a:pt x="87" y="286"/>
                  <a:pt x="89" y="273"/>
                  <a:pt x="90" y="264"/>
                </a:cubicBezTo>
                <a:cubicBezTo>
                  <a:pt x="91" y="261"/>
                  <a:pt x="91" y="259"/>
                  <a:pt x="92" y="257"/>
                </a:cubicBezTo>
                <a:cubicBezTo>
                  <a:pt x="92" y="255"/>
                  <a:pt x="92" y="254"/>
                  <a:pt x="93" y="252"/>
                </a:cubicBezTo>
                <a:cubicBezTo>
                  <a:pt x="93" y="251"/>
                  <a:pt x="93" y="250"/>
                  <a:pt x="93" y="249"/>
                </a:cubicBezTo>
                <a:cubicBezTo>
                  <a:pt x="94" y="249"/>
                  <a:pt x="94" y="248"/>
                  <a:pt x="94" y="248"/>
                </a:cubicBezTo>
                <a:cubicBezTo>
                  <a:pt x="94" y="248"/>
                  <a:pt x="94" y="247"/>
                  <a:pt x="95" y="244"/>
                </a:cubicBezTo>
                <a:cubicBezTo>
                  <a:pt x="96" y="241"/>
                  <a:pt x="97" y="237"/>
                  <a:pt x="98" y="233"/>
                </a:cubicBezTo>
                <a:cubicBezTo>
                  <a:pt x="101" y="224"/>
                  <a:pt x="106" y="212"/>
                  <a:pt x="112" y="200"/>
                </a:cubicBezTo>
                <a:cubicBezTo>
                  <a:pt x="118" y="189"/>
                  <a:pt x="125" y="178"/>
                  <a:pt x="131" y="170"/>
                </a:cubicBezTo>
                <a:cubicBezTo>
                  <a:pt x="132" y="169"/>
                  <a:pt x="134" y="167"/>
                  <a:pt x="135" y="165"/>
                </a:cubicBezTo>
                <a:cubicBezTo>
                  <a:pt x="136" y="164"/>
                  <a:pt x="137" y="163"/>
                  <a:pt x="138" y="161"/>
                </a:cubicBezTo>
                <a:cubicBezTo>
                  <a:pt x="139" y="160"/>
                  <a:pt x="140" y="160"/>
                  <a:pt x="141" y="159"/>
                </a:cubicBezTo>
                <a:cubicBezTo>
                  <a:pt x="141" y="158"/>
                  <a:pt x="141" y="158"/>
                  <a:pt x="141" y="158"/>
                </a:cubicBezTo>
                <a:cubicBezTo>
                  <a:pt x="141" y="158"/>
                  <a:pt x="142" y="157"/>
                  <a:pt x="144" y="155"/>
                </a:cubicBezTo>
                <a:cubicBezTo>
                  <a:pt x="146" y="153"/>
                  <a:pt x="149" y="150"/>
                  <a:pt x="152" y="147"/>
                </a:cubicBezTo>
                <a:cubicBezTo>
                  <a:pt x="159" y="140"/>
                  <a:pt x="169" y="132"/>
                  <a:pt x="180" y="124"/>
                </a:cubicBezTo>
                <a:cubicBezTo>
                  <a:pt x="190" y="117"/>
                  <a:pt x="202" y="111"/>
                  <a:pt x="211" y="107"/>
                </a:cubicBezTo>
                <a:cubicBezTo>
                  <a:pt x="215" y="105"/>
                  <a:pt x="219" y="103"/>
                  <a:pt x="221" y="102"/>
                </a:cubicBezTo>
                <a:cubicBezTo>
                  <a:pt x="224" y="101"/>
                  <a:pt x="225" y="100"/>
                  <a:pt x="225" y="100"/>
                </a:cubicBezTo>
                <a:cubicBezTo>
                  <a:pt x="225" y="100"/>
                  <a:pt x="226" y="100"/>
                  <a:pt x="226" y="100"/>
                </a:cubicBezTo>
                <a:cubicBezTo>
                  <a:pt x="227" y="100"/>
                  <a:pt x="228" y="99"/>
                  <a:pt x="229" y="99"/>
                </a:cubicBezTo>
                <a:cubicBezTo>
                  <a:pt x="231" y="99"/>
                  <a:pt x="232" y="98"/>
                  <a:pt x="234" y="97"/>
                </a:cubicBezTo>
                <a:cubicBezTo>
                  <a:pt x="236" y="97"/>
                  <a:pt x="238" y="96"/>
                  <a:pt x="241" y="95"/>
                </a:cubicBezTo>
                <a:cubicBezTo>
                  <a:pt x="250" y="93"/>
                  <a:pt x="262" y="90"/>
                  <a:pt x="275" y="88"/>
                </a:cubicBezTo>
                <a:cubicBezTo>
                  <a:pt x="288" y="87"/>
                  <a:pt x="301" y="87"/>
                  <a:pt x="310" y="87"/>
                </a:cubicBezTo>
                <a:cubicBezTo>
                  <a:pt x="315" y="88"/>
                  <a:pt x="319" y="88"/>
                  <a:pt x="322" y="88"/>
                </a:cubicBezTo>
                <a:cubicBezTo>
                  <a:pt x="325" y="88"/>
                  <a:pt x="326" y="89"/>
                  <a:pt x="326" y="89"/>
                </a:cubicBezTo>
                <a:cubicBezTo>
                  <a:pt x="326" y="89"/>
                  <a:pt x="327" y="89"/>
                  <a:pt x="328" y="89"/>
                </a:cubicBezTo>
                <a:cubicBezTo>
                  <a:pt x="328" y="89"/>
                  <a:pt x="329" y="89"/>
                  <a:pt x="331" y="89"/>
                </a:cubicBezTo>
                <a:cubicBezTo>
                  <a:pt x="332" y="89"/>
                  <a:pt x="334" y="90"/>
                  <a:pt x="336" y="90"/>
                </a:cubicBezTo>
                <a:cubicBezTo>
                  <a:pt x="338" y="90"/>
                  <a:pt x="340" y="91"/>
                  <a:pt x="342" y="91"/>
                </a:cubicBezTo>
                <a:cubicBezTo>
                  <a:pt x="352" y="93"/>
                  <a:pt x="364" y="96"/>
                  <a:pt x="376" y="101"/>
                </a:cubicBezTo>
                <a:cubicBezTo>
                  <a:pt x="388" y="106"/>
                  <a:pt x="400" y="111"/>
                  <a:pt x="408" y="116"/>
                </a:cubicBezTo>
                <a:cubicBezTo>
                  <a:pt x="412" y="119"/>
                  <a:pt x="416" y="121"/>
                  <a:pt x="418" y="122"/>
                </a:cubicBezTo>
                <a:cubicBezTo>
                  <a:pt x="420" y="124"/>
                  <a:pt x="422" y="125"/>
                  <a:pt x="422" y="125"/>
                </a:cubicBezTo>
                <a:cubicBezTo>
                  <a:pt x="422" y="125"/>
                  <a:pt x="422" y="125"/>
                  <a:pt x="423" y="126"/>
                </a:cubicBezTo>
                <a:cubicBezTo>
                  <a:pt x="423" y="126"/>
                  <a:pt x="424" y="127"/>
                  <a:pt x="425" y="127"/>
                </a:cubicBezTo>
                <a:cubicBezTo>
                  <a:pt x="426" y="128"/>
                  <a:pt x="428" y="129"/>
                  <a:pt x="429" y="131"/>
                </a:cubicBezTo>
                <a:cubicBezTo>
                  <a:pt x="431" y="132"/>
                  <a:pt x="433" y="133"/>
                  <a:pt x="434" y="135"/>
                </a:cubicBezTo>
                <a:cubicBezTo>
                  <a:pt x="442" y="141"/>
                  <a:pt x="451" y="149"/>
                  <a:pt x="460" y="159"/>
                </a:cubicBezTo>
                <a:cubicBezTo>
                  <a:pt x="468" y="169"/>
                  <a:pt x="476" y="179"/>
                  <a:pt x="481" y="187"/>
                </a:cubicBezTo>
                <a:cubicBezTo>
                  <a:pt x="483" y="192"/>
                  <a:pt x="485" y="195"/>
                  <a:pt x="487" y="198"/>
                </a:cubicBezTo>
                <a:cubicBezTo>
                  <a:pt x="488" y="200"/>
                  <a:pt x="489" y="201"/>
                  <a:pt x="489" y="201"/>
                </a:cubicBezTo>
                <a:cubicBezTo>
                  <a:pt x="489" y="201"/>
                  <a:pt x="490" y="203"/>
                  <a:pt x="491" y="205"/>
                </a:cubicBezTo>
                <a:cubicBezTo>
                  <a:pt x="492" y="208"/>
                  <a:pt x="494" y="212"/>
                  <a:pt x="496" y="216"/>
                </a:cubicBezTo>
                <a:cubicBezTo>
                  <a:pt x="500" y="225"/>
                  <a:pt x="504" y="237"/>
                  <a:pt x="507" y="249"/>
                </a:cubicBezTo>
                <a:cubicBezTo>
                  <a:pt x="510" y="262"/>
                  <a:pt x="512" y="275"/>
                  <a:pt x="512" y="284"/>
                </a:cubicBezTo>
                <a:cubicBezTo>
                  <a:pt x="512" y="285"/>
                  <a:pt x="513" y="287"/>
                  <a:pt x="513" y="288"/>
                </a:cubicBezTo>
                <a:cubicBezTo>
                  <a:pt x="513" y="289"/>
                  <a:pt x="513" y="290"/>
                  <a:pt x="513" y="291"/>
                </a:cubicBezTo>
                <a:cubicBezTo>
                  <a:pt x="513" y="293"/>
                  <a:pt x="513" y="294"/>
                  <a:pt x="513" y="296"/>
                </a:cubicBezTo>
                <a:cubicBezTo>
                  <a:pt x="513" y="297"/>
                  <a:pt x="513" y="298"/>
                  <a:pt x="513" y="299"/>
                </a:cubicBezTo>
                <a:cubicBezTo>
                  <a:pt x="513" y="300"/>
                  <a:pt x="513" y="300"/>
                  <a:pt x="513" y="300"/>
                </a:cubicBezTo>
                <a:cubicBezTo>
                  <a:pt x="513" y="300"/>
                  <a:pt x="513" y="302"/>
                  <a:pt x="513" y="305"/>
                </a:cubicBezTo>
                <a:cubicBezTo>
                  <a:pt x="513" y="308"/>
                  <a:pt x="513" y="312"/>
                  <a:pt x="512" y="316"/>
                </a:cubicBezTo>
                <a:cubicBezTo>
                  <a:pt x="511" y="326"/>
                  <a:pt x="510" y="339"/>
                  <a:pt x="507" y="351"/>
                </a:cubicBezTo>
                <a:cubicBezTo>
                  <a:pt x="503" y="364"/>
                  <a:pt x="499" y="376"/>
                  <a:pt x="495" y="385"/>
                </a:cubicBezTo>
                <a:cubicBezTo>
                  <a:pt x="493" y="389"/>
                  <a:pt x="491" y="393"/>
                  <a:pt x="490" y="395"/>
                </a:cubicBezTo>
                <a:cubicBezTo>
                  <a:pt x="490" y="397"/>
                  <a:pt x="489" y="397"/>
                  <a:pt x="489" y="398"/>
                </a:cubicBezTo>
                <a:cubicBezTo>
                  <a:pt x="488" y="399"/>
                  <a:pt x="488" y="399"/>
                  <a:pt x="488" y="399"/>
                </a:cubicBezTo>
                <a:cubicBezTo>
                  <a:pt x="488" y="399"/>
                  <a:pt x="487" y="401"/>
                  <a:pt x="486" y="403"/>
                </a:cubicBezTo>
                <a:cubicBezTo>
                  <a:pt x="485" y="406"/>
                  <a:pt x="483" y="409"/>
                  <a:pt x="480" y="413"/>
                </a:cubicBezTo>
                <a:cubicBezTo>
                  <a:pt x="475" y="421"/>
                  <a:pt x="468" y="432"/>
                  <a:pt x="459" y="441"/>
                </a:cubicBezTo>
                <a:cubicBezTo>
                  <a:pt x="457" y="444"/>
                  <a:pt x="455" y="446"/>
                  <a:pt x="452" y="448"/>
                </a:cubicBezTo>
                <a:cubicBezTo>
                  <a:pt x="450" y="450"/>
                  <a:pt x="448" y="453"/>
                  <a:pt x="446" y="455"/>
                </a:cubicBezTo>
                <a:cubicBezTo>
                  <a:pt x="441" y="459"/>
                  <a:pt x="437" y="463"/>
                  <a:pt x="433" y="465"/>
                </a:cubicBezTo>
                <a:cubicBezTo>
                  <a:pt x="430" y="469"/>
                  <a:pt x="426" y="471"/>
                  <a:pt x="424" y="473"/>
                </a:cubicBezTo>
                <a:cubicBezTo>
                  <a:pt x="422" y="474"/>
                  <a:pt x="420" y="475"/>
                  <a:pt x="420" y="475"/>
                </a:cubicBezTo>
                <a:cubicBezTo>
                  <a:pt x="420" y="475"/>
                  <a:pt x="419" y="476"/>
                  <a:pt x="417" y="478"/>
                </a:cubicBezTo>
                <a:cubicBezTo>
                  <a:pt x="414" y="479"/>
                  <a:pt x="411" y="481"/>
                  <a:pt x="407" y="484"/>
                </a:cubicBezTo>
                <a:cubicBezTo>
                  <a:pt x="403" y="486"/>
                  <a:pt x="398" y="489"/>
                  <a:pt x="392" y="491"/>
                </a:cubicBezTo>
                <a:cubicBezTo>
                  <a:pt x="390" y="493"/>
                  <a:pt x="387" y="494"/>
                  <a:pt x="384" y="495"/>
                </a:cubicBezTo>
                <a:cubicBezTo>
                  <a:pt x="381" y="497"/>
                  <a:pt x="378" y="498"/>
                  <a:pt x="375" y="499"/>
                </a:cubicBezTo>
                <a:cubicBezTo>
                  <a:pt x="363" y="503"/>
                  <a:pt x="351" y="507"/>
                  <a:pt x="341" y="509"/>
                </a:cubicBezTo>
                <a:cubicBezTo>
                  <a:pt x="336" y="509"/>
                  <a:pt x="332" y="510"/>
                  <a:pt x="330" y="510"/>
                </a:cubicBezTo>
                <a:cubicBezTo>
                  <a:pt x="327" y="511"/>
                  <a:pt x="325" y="511"/>
                  <a:pt x="325" y="511"/>
                </a:cubicBezTo>
                <a:cubicBezTo>
                  <a:pt x="325" y="511"/>
                  <a:pt x="325" y="511"/>
                  <a:pt x="324" y="511"/>
                </a:cubicBezTo>
                <a:cubicBezTo>
                  <a:pt x="323" y="511"/>
                  <a:pt x="322" y="511"/>
                  <a:pt x="321" y="511"/>
                </a:cubicBezTo>
                <a:cubicBezTo>
                  <a:pt x="318" y="512"/>
                  <a:pt x="314" y="512"/>
                  <a:pt x="309" y="512"/>
                </a:cubicBezTo>
                <a:cubicBezTo>
                  <a:pt x="300" y="513"/>
                  <a:pt x="287" y="512"/>
                  <a:pt x="274" y="51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C7A4A60A-3D75-4AAE-B40F-697308078471}"/>
              </a:ext>
            </a:extLst>
          </p:cNvPr>
          <p:cNvSpPr/>
          <p:nvPr/>
        </p:nvSpPr>
        <p:spPr bwMode="auto">
          <a:xfrm>
            <a:off x="9466812" y="1130300"/>
            <a:ext cx="944170" cy="922424"/>
          </a:xfrm>
          <a:custGeom>
            <a:avLst/>
            <a:gdLst>
              <a:gd name="T0" fmla="*/ 211 w 472"/>
              <a:gd name="T1" fmla="*/ 431 h 461"/>
              <a:gd name="T2" fmla="*/ 241 w 472"/>
              <a:gd name="T3" fmla="*/ 428 h 461"/>
              <a:gd name="T4" fmla="*/ 280 w 472"/>
              <a:gd name="T5" fmla="*/ 443 h 461"/>
              <a:gd name="T6" fmla="*/ 323 w 472"/>
              <a:gd name="T7" fmla="*/ 450 h 461"/>
              <a:gd name="T8" fmla="*/ 334 w 472"/>
              <a:gd name="T9" fmla="*/ 413 h 461"/>
              <a:gd name="T10" fmla="*/ 356 w 472"/>
              <a:gd name="T11" fmla="*/ 388 h 461"/>
              <a:gd name="T12" fmla="*/ 385 w 472"/>
              <a:gd name="T13" fmla="*/ 374 h 461"/>
              <a:gd name="T14" fmla="*/ 424 w 472"/>
              <a:gd name="T15" fmla="*/ 373 h 461"/>
              <a:gd name="T16" fmla="*/ 429 w 472"/>
              <a:gd name="T17" fmla="*/ 329 h 461"/>
              <a:gd name="T18" fmla="*/ 425 w 472"/>
              <a:gd name="T19" fmla="*/ 288 h 461"/>
              <a:gd name="T20" fmla="*/ 436 w 472"/>
              <a:gd name="T21" fmla="*/ 260 h 461"/>
              <a:gd name="T22" fmla="*/ 472 w 472"/>
              <a:gd name="T23" fmla="*/ 239 h 461"/>
              <a:gd name="T24" fmla="*/ 466 w 472"/>
              <a:gd name="T25" fmla="*/ 203 h 461"/>
              <a:gd name="T26" fmla="*/ 426 w 472"/>
              <a:gd name="T27" fmla="*/ 175 h 461"/>
              <a:gd name="T28" fmla="*/ 416 w 472"/>
              <a:gd name="T29" fmla="*/ 149 h 461"/>
              <a:gd name="T30" fmla="*/ 433 w 472"/>
              <a:gd name="T31" fmla="*/ 109 h 461"/>
              <a:gd name="T32" fmla="*/ 415 w 472"/>
              <a:gd name="T33" fmla="*/ 77 h 461"/>
              <a:gd name="T34" fmla="*/ 366 w 472"/>
              <a:gd name="T35" fmla="*/ 81 h 461"/>
              <a:gd name="T36" fmla="*/ 346 w 472"/>
              <a:gd name="T37" fmla="*/ 66 h 461"/>
              <a:gd name="T38" fmla="*/ 326 w 472"/>
              <a:gd name="T39" fmla="*/ 33 h 461"/>
              <a:gd name="T40" fmla="*/ 295 w 472"/>
              <a:gd name="T41" fmla="*/ 2 h 461"/>
              <a:gd name="T42" fmla="*/ 264 w 472"/>
              <a:gd name="T43" fmla="*/ 26 h 461"/>
              <a:gd name="T44" fmla="*/ 235 w 472"/>
              <a:gd name="T45" fmla="*/ 33 h 461"/>
              <a:gd name="T46" fmla="*/ 203 w 472"/>
              <a:gd name="T47" fmla="*/ 31 h 461"/>
              <a:gd name="T48" fmla="*/ 158 w 472"/>
              <a:gd name="T49" fmla="*/ 8 h 461"/>
              <a:gd name="T50" fmla="*/ 138 w 472"/>
              <a:gd name="T51" fmla="*/ 37 h 461"/>
              <a:gd name="T52" fmla="*/ 125 w 472"/>
              <a:gd name="T53" fmla="*/ 67 h 461"/>
              <a:gd name="T54" fmla="*/ 92 w 472"/>
              <a:gd name="T55" fmla="*/ 89 h 461"/>
              <a:gd name="T56" fmla="*/ 51 w 472"/>
              <a:gd name="T57" fmla="*/ 85 h 461"/>
              <a:gd name="T58" fmla="*/ 34 w 472"/>
              <a:gd name="T59" fmla="*/ 118 h 461"/>
              <a:gd name="T60" fmla="*/ 48 w 472"/>
              <a:gd name="T61" fmla="*/ 171 h 461"/>
              <a:gd name="T62" fmla="*/ 42 w 472"/>
              <a:gd name="T63" fmla="*/ 194 h 461"/>
              <a:gd name="T64" fmla="*/ 6 w 472"/>
              <a:gd name="T65" fmla="*/ 213 h 461"/>
              <a:gd name="T66" fmla="*/ 1 w 472"/>
              <a:gd name="T67" fmla="*/ 250 h 461"/>
              <a:gd name="T68" fmla="*/ 44 w 472"/>
              <a:gd name="T69" fmla="*/ 279 h 461"/>
              <a:gd name="T70" fmla="*/ 53 w 472"/>
              <a:gd name="T71" fmla="*/ 306 h 461"/>
              <a:gd name="T72" fmla="*/ 42 w 472"/>
              <a:gd name="T73" fmla="*/ 348 h 461"/>
              <a:gd name="T74" fmla="*/ 55 w 472"/>
              <a:gd name="T75" fmla="*/ 381 h 461"/>
              <a:gd name="T76" fmla="*/ 98 w 472"/>
              <a:gd name="T77" fmla="*/ 378 h 461"/>
              <a:gd name="T78" fmla="*/ 124 w 472"/>
              <a:gd name="T79" fmla="*/ 393 h 461"/>
              <a:gd name="T80" fmla="*/ 146 w 472"/>
              <a:gd name="T81" fmla="*/ 412 h 461"/>
              <a:gd name="T82" fmla="*/ 168 w 472"/>
              <a:gd name="T83" fmla="*/ 456 h 461"/>
              <a:gd name="T84" fmla="*/ 231 w 472"/>
              <a:gd name="T85" fmla="*/ 379 h 461"/>
              <a:gd name="T86" fmla="*/ 155 w 472"/>
              <a:gd name="T87" fmla="*/ 355 h 461"/>
              <a:gd name="T88" fmla="*/ 118 w 472"/>
              <a:gd name="T89" fmla="*/ 320 h 461"/>
              <a:gd name="T90" fmla="*/ 95 w 472"/>
              <a:gd name="T91" fmla="*/ 276 h 461"/>
              <a:gd name="T92" fmla="*/ 92 w 472"/>
              <a:gd name="T93" fmla="*/ 196 h 461"/>
              <a:gd name="T94" fmla="*/ 99 w 472"/>
              <a:gd name="T95" fmla="*/ 174 h 461"/>
              <a:gd name="T96" fmla="*/ 150 w 472"/>
              <a:gd name="T97" fmla="*/ 110 h 461"/>
              <a:gd name="T98" fmla="*/ 229 w 472"/>
              <a:gd name="T99" fmla="*/ 83 h 461"/>
              <a:gd name="T100" fmla="*/ 279 w 472"/>
              <a:gd name="T101" fmla="*/ 89 h 461"/>
              <a:gd name="T102" fmla="*/ 324 w 472"/>
              <a:gd name="T103" fmla="*/ 111 h 461"/>
              <a:gd name="T104" fmla="*/ 373 w 472"/>
              <a:gd name="T105" fmla="*/ 174 h 461"/>
              <a:gd name="T106" fmla="*/ 380 w 472"/>
              <a:gd name="T107" fmla="*/ 196 h 461"/>
              <a:gd name="T108" fmla="*/ 378 w 472"/>
              <a:gd name="T109" fmla="*/ 273 h 461"/>
              <a:gd name="T110" fmla="*/ 337 w 472"/>
              <a:gd name="T111" fmla="*/ 339 h 461"/>
              <a:gd name="T112" fmla="*/ 285 w 472"/>
              <a:gd name="T113" fmla="*/ 371 h 461"/>
              <a:gd name="T114" fmla="*/ 236 w 472"/>
              <a:gd name="T115" fmla="*/ 379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2" h="461">
                <a:moveTo>
                  <a:pt x="191" y="457"/>
                </a:moveTo>
                <a:cubicBezTo>
                  <a:pt x="191" y="457"/>
                  <a:pt x="193" y="456"/>
                  <a:pt x="195" y="453"/>
                </a:cubicBezTo>
                <a:cubicBezTo>
                  <a:pt x="197" y="451"/>
                  <a:pt x="199" y="448"/>
                  <a:pt x="202" y="445"/>
                </a:cubicBezTo>
                <a:cubicBezTo>
                  <a:pt x="204" y="441"/>
                  <a:pt x="207" y="438"/>
                  <a:pt x="209" y="436"/>
                </a:cubicBezTo>
                <a:cubicBezTo>
                  <a:pt x="210" y="433"/>
                  <a:pt x="211" y="431"/>
                  <a:pt x="211" y="431"/>
                </a:cubicBezTo>
                <a:cubicBezTo>
                  <a:pt x="213" y="429"/>
                  <a:pt x="216" y="427"/>
                  <a:pt x="219" y="428"/>
                </a:cubicBezTo>
                <a:cubicBezTo>
                  <a:pt x="219" y="428"/>
                  <a:pt x="221" y="428"/>
                  <a:pt x="223" y="428"/>
                </a:cubicBezTo>
                <a:cubicBezTo>
                  <a:pt x="225" y="428"/>
                  <a:pt x="227" y="428"/>
                  <a:pt x="230" y="428"/>
                </a:cubicBezTo>
                <a:cubicBezTo>
                  <a:pt x="233" y="428"/>
                  <a:pt x="235" y="428"/>
                  <a:pt x="237" y="428"/>
                </a:cubicBezTo>
                <a:cubicBezTo>
                  <a:pt x="239" y="428"/>
                  <a:pt x="241" y="428"/>
                  <a:pt x="241" y="428"/>
                </a:cubicBezTo>
                <a:cubicBezTo>
                  <a:pt x="241" y="428"/>
                  <a:pt x="242" y="428"/>
                  <a:pt x="244" y="428"/>
                </a:cubicBezTo>
                <a:cubicBezTo>
                  <a:pt x="246" y="428"/>
                  <a:pt x="248" y="428"/>
                  <a:pt x="251" y="428"/>
                </a:cubicBezTo>
                <a:cubicBezTo>
                  <a:pt x="256" y="427"/>
                  <a:pt x="262" y="427"/>
                  <a:pt x="262" y="427"/>
                </a:cubicBezTo>
                <a:cubicBezTo>
                  <a:pt x="265" y="426"/>
                  <a:pt x="268" y="428"/>
                  <a:pt x="270" y="430"/>
                </a:cubicBezTo>
                <a:cubicBezTo>
                  <a:pt x="270" y="430"/>
                  <a:pt x="275" y="437"/>
                  <a:pt x="280" y="443"/>
                </a:cubicBezTo>
                <a:cubicBezTo>
                  <a:pt x="285" y="449"/>
                  <a:pt x="291" y="455"/>
                  <a:pt x="291" y="455"/>
                </a:cubicBezTo>
                <a:cubicBezTo>
                  <a:pt x="293" y="458"/>
                  <a:pt x="297" y="458"/>
                  <a:pt x="301" y="457"/>
                </a:cubicBezTo>
                <a:cubicBezTo>
                  <a:pt x="301" y="457"/>
                  <a:pt x="302" y="457"/>
                  <a:pt x="305" y="456"/>
                </a:cubicBezTo>
                <a:cubicBezTo>
                  <a:pt x="307" y="455"/>
                  <a:pt x="311" y="454"/>
                  <a:pt x="314" y="453"/>
                </a:cubicBezTo>
                <a:cubicBezTo>
                  <a:pt x="317" y="452"/>
                  <a:pt x="320" y="451"/>
                  <a:pt x="323" y="450"/>
                </a:cubicBezTo>
                <a:cubicBezTo>
                  <a:pt x="325" y="449"/>
                  <a:pt x="327" y="448"/>
                  <a:pt x="327" y="448"/>
                </a:cubicBezTo>
                <a:cubicBezTo>
                  <a:pt x="330" y="447"/>
                  <a:pt x="333" y="444"/>
                  <a:pt x="333" y="440"/>
                </a:cubicBezTo>
                <a:cubicBezTo>
                  <a:pt x="333" y="440"/>
                  <a:pt x="333" y="438"/>
                  <a:pt x="334" y="435"/>
                </a:cubicBezTo>
                <a:cubicBezTo>
                  <a:pt x="334" y="432"/>
                  <a:pt x="334" y="428"/>
                  <a:pt x="334" y="424"/>
                </a:cubicBezTo>
                <a:cubicBezTo>
                  <a:pt x="334" y="420"/>
                  <a:pt x="334" y="416"/>
                  <a:pt x="334" y="413"/>
                </a:cubicBezTo>
                <a:cubicBezTo>
                  <a:pt x="334" y="410"/>
                  <a:pt x="334" y="408"/>
                  <a:pt x="334" y="408"/>
                </a:cubicBezTo>
                <a:cubicBezTo>
                  <a:pt x="334" y="404"/>
                  <a:pt x="336" y="401"/>
                  <a:pt x="338" y="400"/>
                </a:cubicBezTo>
                <a:cubicBezTo>
                  <a:pt x="338" y="400"/>
                  <a:pt x="340" y="399"/>
                  <a:pt x="341" y="398"/>
                </a:cubicBezTo>
                <a:cubicBezTo>
                  <a:pt x="343" y="397"/>
                  <a:pt x="345" y="396"/>
                  <a:pt x="347" y="394"/>
                </a:cubicBezTo>
                <a:cubicBezTo>
                  <a:pt x="352" y="391"/>
                  <a:pt x="356" y="388"/>
                  <a:pt x="356" y="388"/>
                </a:cubicBezTo>
                <a:cubicBezTo>
                  <a:pt x="356" y="388"/>
                  <a:pt x="360" y="385"/>
                  <a:pt x="364" y="381"/>
                </a:cubicBezTo>
                <a:cubicBezTo>
                  <a:pt x="366" y="380"/>
                  <a:pt x="368" y="378"/>
                  <a:pt x="370" y="377"/>
                </a:cubicBezTo>
                <a:cubicBezTo>
                  <a:pt x="371" y="375"/>
                  <a:pt x="372" y="374"/>
                  <a:pt x="372" y="374"/>
                </a:cubicBezTo>
                <a:cubicBezTo>
                  <a:pt x="374" y="372"/>
                  <a:pt x="378" y="371"/>
                  <a:pt x="381" y="372"/>
                </a:cubicBezTo>
                <a:cubicBezTo>
                  <a:pt x="381" y="372"/>
                  <a:pt x="383" y="373"/>
                  <a:pt x="385" y="374"/>
                </a:cubicBezTo>
                <a:cubicBezTo>
                  <a:pt x="388" y="375"/>
                  <a:pt x="392" y="376"/>
                  <a:pt x="396" y="377"/>
                </a:cubicBezTo>
                <a:cubicBezTo>
                  <a:pt x="400" y="378"/>
                  <a:pt x="404" y="379"/>
                  <a:pt x="407" y="379"/>
                </a:cubicBezTo>
                <a:cubicBezTo>
                  <a:pt x="411" y="380"/>
                  <a:pt x="413" y="380"/>
                  <a:pt x="413" y="380"/>
                </a:cubicBezTo>
                <a:cubicBezTo>
                  <a:pt x="416" y="381"/>
                  <a:pt x="419" y="379"/>
                  <a:pt x="422" y="376"/>
                </a:cubicBezTo>
                <a:cubicBezTo>
                  <a:pt x="422" y="376"/>
                  <a:pt x="423" y="375"/>
                  <a:pt x="424" y="373"/>
                </a:cubicBezTo>
                <a:cubicBezTo>
                  <a:pt x="426" y="371"/>
                  <a:pt x="428" y="368"/>
                  <a:pt x="430" y="365"/>
                </a:cubicBezTo>
                <a:cubicBezTo>
                  <a:pt x="432" y="362"/>
                  <a:pt x="434" y="359"/>
                  <a:pt x="435" y="357"/>
                </a:cubicBezTo>
                <a:cubicBezTo>
                  <a:pt x="437" y="355"/>
                  <a:pt x="437" y="353"/>
                  <a:pt x="437" y="353"/>
                </a:cubicBezTo>
                <a:cubicBezTo>
                  <a:pt x="439" y="350"/>
                  <a:pt x="440" y="346"/>
                  <a:pt x="438" y="343"/>
                </a:cubicBezTo>
                <a:cubicBezTo>
                  <a:pt x="438" y="343"/>
                  <a:pt x="434" y="336"/>
                  <a:pt x="429" y="329"/>
                </a:cubicBezTo>
                <a:cubicBezTo>
                  <a:pt x="424" y="323"/>
                  <a:pt x="419" y="316"/>
                  <a:pt x="419" y="316"/>
                </a:cubicBezTo>
                <a:cubicBezTo>
                  <a:pt x="418" y="314"/>
                  <a:pt x="417" y="310"/>
                  <a:pt x="418" y="307"/>
                </a:cubicBezTo>
                <a:cubicBezTo>
                  <a:pt x="418" y="307"/>
                  <a:pt x="420" y="303"/>
                  <a:pt x="422" y="298"/>
                </a:cubicBezTo>
                <a:cubicBezTo>
                  <a:pt x="423" y="295"/>
                  <a:pt x="424" y="293"/>
                  <a:pt x="424" y="291"/>
                </a:cubicBezTo>
                <a:cubicBezTo>
                  <a:pt x="425" y="289"/>
                  <a:pt x="425" y="288"/>
                  <a:pt x="425" y="288"/>
                </a:cubicBezTo>
                <a:cubicBezTo>
                  <a:pt x="425" y="288"/>
                  <a:pt x="426" y="286"/>
                  <a:pt x="426" y="284"/>
                </a:cubicBezTo>
                <a:cubicBezTo>
                  <a:pt x="427" y="282"/>
                  <a:pt x="428" y="280"/>
                  <a:pt x="428" y="277"/>
                </a:cubicBezTo>
                <a:cubicBezTo>
                  <a:pt x="429" y="275"/>
                  <a:pt x="429" y="272"/>
                  <a:pt x="430" y="270"/>
                </a:cubicBezTo>
                <a:cubicBezTo>
                  <a:pt x="430" y="268"/>
                  <a:pt x="430" y="267"/>
                  <a:pt x="430" y="267"/>
                </a:cubicBezTo>
                <a:cubicBezTo>
                  <a:pt x="431" y="264"/>
                  <a:pt x="433" y="261"/>
                  <a:pt x="436" y="260"/>
                </a:cubicBezTo>
                <a:cubicBezTo>
                  <a:pt x="436" y="260"/>
                  <a:pt x="438" y="260"/>
                  <a:pt x="441" y="259"/>
                </a:cubicBezTo>
                <a:cubicBezTo>
                  <a:pt x="444" y="258"/>
                  <a:pt x="448" y="256"/>
                  <a:pt x="452" y="255"/>
                </a:cubicBezTo>
                <a:cubicBezTo>
                  <a:pt x="455" y="253"/>
                  <a:pt x="459" y="251"/>
                  <a:pt x="462" y="250"/>
                </a:cubicBezTo>
                <a:cubicBezTo>
                  <a:pt x="465" y="249"/>
                  <a:pt x="467" y="248"/>
                  <a:pt x="467" y="248"/>
                </a:cubicBezTo>
                <a:cubicBezTo>
                  <a:pt x="470" y="246"/>
                  <a:pt x="472" y="243"/>
                  <a:pt x="472" y="239"/>
                </a:cubicBezTo>
                <a:cubicBezTo>
                  <a:pt x="472" y="239"/>
                  <a:pt x="472" y="238"/>
                  <a:pt x="472" y="235"/>
                </a:cubicBezTo>
                <a:cubicBezTo>
                  <a:pt x="472" y="232"/>
                  <a:pt x="472" y="229"/>
                  <a:pt x="472" y="225"/>
                </a:cubicBezTo>
                <a:cubicBezTo>
                  <a:pt x="472" y="222"/>
                  <a:pt x="472" y="219"/>
                  <a:pt x="471" y="216"/>
                </a:cubicBezTo>
                <a:cubicBezTo>
                  <a:pt x="471" y="213"/>
                  <a:pt x="471" y="212"/>
                  <a:pt x="471" y="212"/>
                </a:cubicBezTo>
                <a:cubicBezTo>
                  <a:pt x="471" y="208"/>
                  <a:pt x="469" y="205"/>
                  <a:pt x="466" y="203"/>
                </a:cubicBezTo>
                <a:cubicBezTo>
                  <a:pt x="466" y="203"/>
                  <a:pt x="458" y="200"/>
                  <a:pt x="450" y="197"/>
                </a:cubicBezTo>
                <a:cubicBezTo>
                  <a:pt x="442" y="194"/>
                  <a:pt x="435" y="192"/>
                  <a:pt x="435" y="192"/>
                </a:cubicBezTo>
                <a:cubicBezTo>
                  <a:pt x="432" y="191"/>
                  <a:pt x="429" y="189"/>
                  <a:pt x="429" y="186"/>
                </a:cubicBezTo>
                <a:cubicBezTo>
                  <a:pt x="429" y="186"/>
                  <a:pt x="428" y="184"/>
                  <a:pt x="428" y="182"/>
                </a:cubicBezTo>
                <a:cubicBezTo>
                  <a:pt x="427" y="181"/>
                  <a:pt x="427" y="178"/>
                  <a:pt x="426" y="175"/>
                </a:cubicBezTo>
                <a:cubicBezTo>
                  <a:pt x="425" y="173"/>
                  <a:pt x="425" y="170"/>
                  <a:pt x="424" y="169"/>
                </a:cubicBezTo>
                <a:cubicBezTo>
                  <a:pt x="423" y="167"/>
                  <a:pt x="423" y="165"/>
                  <a:pt x="423" y="165"/>
                </a:cubicBezTo>
                <a:cubicBezTo>
                  <a:pt x="423" y="165"/>
                  <a:pt x="422" y="164"/>
                  <a:pt x="422" y="162"/>
                </a:cubicBezTo>
                <a:cubicBezTo>
                  <a:pt x="421" y="160"/>
                  <a:pt x="420" y="158"/>
                  <a:pt x="419" y="156"/>
                </a:cubicBezTo>
                <a:cubicBezTo>
                  <a:pt x="418" y="153"/>
                  <a:pt x="417" y="151"/>
                  <a:pt x="416" y="149"/>
                </a:cubicBezTo>
                <a:cubicBezTo>
                  <a:pt x="415" y="147"/>
                  <a:pt x="415" y="146"/>
                  <a:pt x="415" y="146"/>
                </a:cubicBezTo>
                <a:cubicBezTo>
                  <a:pt x="413" y="143"/>
                  <a:pt x="414" y="140"/>
                  <a:pt x="415" y="137"/>
                </a:cubicBezTo>
                <a:cubicBezTo>
                  <a:pt x="415" y="137"/>
                  <a:pt x="420" y="130"/>
                  <a:pt x="425" y="123"/>
                </a:cubicBezTo>
                <a:cubicBezTo>
                  <a:pt x="427" y="120"/>
                  <a:pt x="429" y="116"/>
                  <a:pt x="430" y="114"/>
                </a:cubicBezTo>
                <a:cubicBezTo>
                  <a:pt x="432" y="111"/>
                  <a:pt x="433" y="109"/>
                  <a:pt x="433" y="109"/>
                </a:cubicBezTo>
                <a:cubicBezTo>
                  <a:pt x="434" y="106"/>
                  <a:pt x="434" y="102"/>
                  <a:pt x="432" y="99"/>
                </a:cubicBezTo>
                <a:cubicBezTo>
                  <a:pt x="432" y="99"/>
                  <a:pt x="431" y="98"/>
                  <a:pt x="429" y="96"/>
                </a:cubicBezTo>
                <a:cubicBezTo>
                  <a:pt x="428" y="93"/>
                  <a:pt x="426" y="91"/>
                  <a:pt x="424" y="88"/>
                </a:cubicBezTo>
                <a:cubicBezTo>
                  <a:pt x="422" y="85"/>
                  <a:pt x="420" y="82"/>
                  <a:pt x="418" y="80"/>
                </a:cubicBezTo>
                <a:cubicBezTo>
                  <a:pt x="416" y="78"/>
                  <a:pt x="415" y="77"/>
                  <a:pt x="415" y="77"/>
                </a:cubicBezTo>
                <a:cubicBezTo>
                  <a:pt x="413" y="74"/>
                  <a:pt x="409" y="73"/>
                  <a:pt x="406" y="74"/>
                </a:cubicBezTo>
                <a:cubicBezTo>
                  <a:pt x="406" y="74"/>
                  <a:pt x="404" y="74"/>
                  <a:pt x="401" y="75"/>
                </a:cubicBezTo>
                <a:cubicBezTo>
                  <a:pt x="398" y="76"/>
                  <a:pt x="394" y="77"/>
                  <a:pt x="390" y="78"/>
                </a:cubicBezTo>
                <a:cubicBezTo>
                  <a:pt x="382" y="80"/>
                  <a:pt x="374" y="83"/>
                  <a:pt x="374" y="83"/>
                </a:cubicBezTo>
                <a:cubicBezTo>
                  <a:pt x="371" y="84"/>
                  <a:pt x="368" y="83"/>
                  <a:pt x="366" y="81"/>
                </a:cubicBezTo>
                <a:cubicBezTo>
                  <a:pt x="366" y="81"/>
                  <a:pt x="365" y="80"/>
                  <a:pt x="363" y="79"/>
                </a:cubicBezTo>
                <a:cubicBezTo>
                  <a:pt x="361" y="78"/>
                  <a:pt x="359" y="76"/>
                  <a:pt x="357" y="74"/>
                </a:cubicBezTo>
                <a:cubicBezTo>
                  <a:pt x="355" y="73"/>
                  <a:pt x="353" y="71"/>
                  <a:pt x="352" y="70"/>
                </a:cubicBezTo>
                <a:cubicBezTo>
                  <a:pt x="350" y="69"/>
                  <a:pt x="349" y="68"/>
                  <a:pt x="349" y="68"/>
                </a:cubicBezTo>
                <a:cubicBezTo>
                  <a:pt x="349" y="68"/>
                  <a:pt x="348" y="67"/>
                  <a:pt x="346" y="66"/>
                </a:cubicBezTo>
                <a:cubicBezTo>
                  <a:pt x="344" y="65"/>
                  <a:pt x="342" y="64"/>
                  <a:pt x="340" y="62"/>
                </a:cubicBezTo>
                <a:cubicBezTo>
                  <a:pt x="338" y="61"/>
                  <a:pt x="336" y="60"/>
                  <a:pt x="334" y="59"/>
                </a:cubicBezTo>
                <a:cubicBezTo>
                  <a:pt x="332" y="58"/>
                  <a:pt x="331" y="57"/>
                  <a:pt x="331" y="57"/>
                </a:cubicBezTo>
                <a:cubicBezTo>
                  <a:pt x="328" y="56"/>
                  <a:pt x="326" y="53"/>
                  <a:pt x="326" y="50"/>
                </a:cubicBezTo>
                <a:cubicBezTo>
                  <a:pt x="326" y="50"/>
                  <a:pt x="326" y="41"/>
                  <a:pt x="326" y="33"/>
                </a:cubicBezTo>
                <a:cubicBezTo>
                  <a:pt x="325" y="25"/>
                  <a:pt x="324" y="17"/>
                  <a:pt x="324" y="17"/>
                </a:cubicBezTo>
                <a:cubicBezTo>
                  <a:pt x="323" y="13"/>
                  <a:pt x="321" y="11"/>
                  <a:pt x="317" y="9"/>
                </a:cubicBezTo>
                <a:cubicBezTo>
                  <a:pt x="317" y="9"/>
                  <a:pt x="316" y="9"/>
                  <a:pt x="313" y="8"/>
                </a:cubicBezTo>
                <a:cubicBezTo>
                  <a:pt x="311" y="7"/>
                  <a:pt x="307" y="6"/>
                  <a:pt x="304" y="5"/>
                </a:cubicBezTo>
                <a:cubicBezTo>
                  <a:pt x="301" y="4"/>
                  <a:pt x="297" y="3"/>
                  <a:pt x="295" y="2"/>
                </a:cubicBezTo>
                <a:cubicBezTo>
                  <a:pt x="292" y="2"/>
                  <a:pt x="291" y="1"/>
                  <a:pt x="291" y="1"/>
                </a:cubicBezTo>
                <a:cubicBezTo>
                  <a:pt x="287" y="0"/>
                  <a:pt x="283" y="1"/>
                  <a:pt x="281" y="4"/>
                </a:cubicBezTo>
                <a:cubicBezTo>
                  <a:pt x="281" y="4"/>
                  <a:pt x="280" y="5"/>
                  <a:pt x="278" y="8"/>
                </a:cubicBezTo>
                <a:cubicBezTo>
                  <a:pt x="276" y="10"/>
                  <a:pt x="273" y="13"/>
                  <a:pt x="271" y="17"/>
                </a:cubicBezTo>
                <a:cubicBezTo>
                  <a:pt x="268" y="20"/>
                  <a:pt x="266" y="23"/>
                  <a:pt x="264" y="26"/>
                </a:cubicBezTo>
                <a:cubicBezTo>
                  <a:pt x="262" y="28"/>
                  <a:pt x="261" y="30"/>
                  <a:pt x="261" y="30"/>
                </a:cubicBezTo>
                <a:cubicBezTo>
                  <a:pt x="259" y="33"/>
                  <a:pt x="256" y="34"/>
                  <a:pt x="253" y="34"/>
                </a:cubicBezTo>
                <a:cubicBezTo>
                  <a:pt x="253" y="34"/>
                  <a:pt x="252" y="34"/>
                  <a:pt x="250" y="33"/>
                </a:cubicBezTo>
                <a:cubicBezTo>
                  <a:pt x="248" y="33"/>
                  <a:pt x="245" y="33"/>
                  <a:pt x="242" y="33"/>
                </a:cubicBezTo>
                <a:cubicBezTo>
                  <a:pt x="240" y="33"/>
                  <a:pt x="237" y="33"/>
                  <a:pt x="235" y="33"/>
                </a:cubicBezTo>
                <a:cubicBezTo>
                  <a:pt x="233" y="33"/>
                  <a:pt x="232" y="33"/>
                  <a:pt x="232" y="33"/>
                </a:cubicBezTo>
                <a:cubicBezTo>
                  <a:pt x="232" y="33"/>
                  <a:pt x="231" y="33"/>
                  <a:pt x="229" y="33"/>
                </a:cubicBezTo>
                <a:cubicBezTo>
                  <a:pt x="227" y="33"/>
                  <a:pt x="224" y="33"/>
                  <a:pt x="221" y="34"/>
                </a:cubicBezTo>
                <a:cubicBezTo>
                  <a:pt x="216" y="34"/>
                  <a:pt x="211" y="35"/>
                  <a:pt x="211" y="35"/>
                </a:cubicBezTo>
                <a:cubicBezTo>
                  <a:pt x="208" y="35"/>
                  <a:pt x="205" y="34"/>
                  <a:pt x="203" y="31"/>
                </a:cubicBezTo>
                <a:cubicBezTo>
                  <a:pt x="203" y="31"/>
                  <a:pt x="198" y="25"/>
                  <a:pt x="192" y="18"/>
                </a:cubicBezTo>
                <a:cubicBezTo>
                  <a:pt x="187" y="12"/>
                  <a:pt x="181" y="6"/>
                  <a:pt x="181" y="6"/>
                </a:cubicBezTo>
                <a:cubicBezTo>
                  <a:pt x="179" y="4"/>
                  <a:pt x="175" y="3"/>
                  <a:pt x="172" y="4"/>
                </a:cubicBezTo>
                <a:cubicBezTo>
                  <a:pt x="172" y="4"/>
                  <a:pt x="170" y="4"/>
                  <a:pt x="167" y="5"/>
                </a:cubicBezTo>
                <a:cubicBezTo>
                  <a:pt x="165" y="6"/>
                  <a:pt x="162" y="7"/>
                  <a:pt x="158" y="8"/>
                </a:cubicBezTo>
                <a:cubicBezTo>
                  <a:pt x="155" y="9"/>
                  <a:pt x="152" y="10"/>
                  <a:pt x="149" y="11"/>
                </a:cubicBezTo>
                <a:cubicBezTo>
                  <a:pt x="147" y="12"/>
                  <a:pt x="145" y="13"/>
                  <a:pt x="145" y="13"/>
                </a:cubicBezTo>
                <a:cubicBezTo>
                  <a:pt x="142" y="14"/>
                  <a:pt x="140" y="18"/>
                  <a:pt x="139" y="21"/>
                </a:cubicBezTo>
                <a:cubicBezTo>
                  <a:pt x="139" y="21"/>
                  <a:pt x="139" y="23"/>
                  <a:pt x="139" y="26"/>
                </a:cubicBezTo>
                <a:cubicBezTo>
                  <a:pt x="139" y="29"/>
                  <a:pt x="138" y="33"/>
                  <a:pt x="138" y="37"/>
                </a:cubicBezTo>
                <a:cubicBezTo>
                  <a:pt x="138" y="41"/>
                  <a:pt x="138" y="46"/>
                  <a:pt x="138" y="49"/>
                </a:cubicBezTo>
                <a:cubicBezTo>
                  <a:pt x="138" y="52"/>
                  <a:pt x="138" y="54"/>
                  <a:pt x="138" y="54"/>
                </a:cubicBezTo>
                <a:cubicBezTo>
                  <a:pt x="138" y="57"/>
                  <a:pt x="137" y="60"/>
                  <a:pt x="134" y="61"/>
                </a:cubicBezTo>
                <a:cubicBezTo>
                  <a:pt x="134" y="61"/>
                  <a:pt x="133" y="62"/>
                  <a:pt x="131" y="63"/>
                </a:cubicBezTo>
                <a:cubicBezTo>
                  <a:pt x="130" y="64"/>
                  <a:pt x="127" y="66"/>
                  <a:pt x="125" y="67"/>
                </a:cubicBezTo>
                <a:cubicBezTo>
                  <a:pt x="121" y="70"/>
                  <a:pt x="117" y="73"/>
                  <a:pt x="117" y="73"/>
                </a:cubicBezTo>
                <a:cubicBezTo>
                  <a:pt x="117" y="73"/>
                  <a:pt x="112" y="77"/>
                  <a:pt x="108" y="80"/>
                </a:cubicBezTo>
                <a:cubicBezTo>
                  <a:pt x="106" y="82"/>
                  <a:pt x="104" y="83"/>
                  <a:pt x="103" y="85"/>
                </a:cubicBezTo>
                <a:cubicBezTo>
                  <a:pt x="101" y="86"/>
                  <a:pt x="100" y="87"/>
                  <a:pt x="100" y="87"/>
                </a:cubicBezTo>
                <a:cubicBezTo>
                  <a:pt x="98" y="89"/>
                  <a:pt x="95" y="90"/>
                  <a:pt x="92" y="89"/>
                </a:cubicBezTo>
                <a:cubicBezTo>
                  <a:pt x="92" y="89"/>
                  <a:pt x="90" y="88"/>
                  <a:pt x="87" y="87"/>
                </a:cubicBezTo>
                <a:cubicBezTo>
                  <a:pt x="84" y="87"/>
                  <a:pt x="80" y="86"/>
                  <a:pt x="76" y="85"/>
                </a:cubicBezTo>
                <a:cubicBezTo>
                  <a:pt x="72" y="84"/>
                  <a:pt x="68" y="83"/>
                  <a:pt x="65" y="82"/>
                </a:cubicBezTo>
                <a:cubicBezTo>
                  <a:pt x="62" y="82"/>
                  <a:pt x="60" y="81"/>
                  <a:pt x="60" y="81"/>
                </a:cubicBezTo>
                <a:cubicBezTo>
                  <a:pt x="57" y="81"/>
                  <a:pt x="53" y="82"/>
                  <a:pt x="51" y="85"/>
                </a:cubicBezTo>
                <a:cubicBezTo>
                  <a:pt x="51" y="85"/>
                  <a:pt x="50" y="86"/>
                  <a:pt x="48" y="89"/>
                </a:cubicBezTo>
                <a:cubicBezTo>
                  <a:pt x="47" y="91"/>
                  <a:pt x="44" y="93"/>
                  <a:pt x="42" y="96"/>
                </a:cubicBezTo>
                <a:cubicBezTo>
                  <a:pt x="41" y="99"/>
                  <a:pt x="39" y="102"/>
                  <a:pt x="37" y="104"/>
                </a:cubicBezTo>
                <a:cubicBezTo>
                  <a:pt x="36" y="106"/>
                  <a:pt x="35" y="108"/>
                  <a:pt x="35" y="108"/>
                </a:cubicBezTo>
                <a:cubicBezTo>
                  <a:pt x="33" y="111"/>
                  <a:pt x="33" y="115"/>
                  <a:pt x="34" y="118"/>
                </a:cubicBezTo>
                <a:cubicBezTo>
                  <a:pt x="34" y="118"/>
                  <a:pt x="39" y="125"/>
                  <a:pt x="43" y="132"/>
                </a:cubicBezTo>
                <a:cubicBezTo>
                  <a:pt x="48" y="139"/>
                  <a:pt x="53" y="145"/>
                  <a:pt x="53" y="145"/>
                </a:cubicBezTo>
                <a:cubicBezTo>
                  <a:pt x="55" y="148"/>
                  <a:pt x="55" y="151"/>
                  <a:pt x="54" y="154"/>
                </a:cubicBezTo>
                <a:cubicBezTo>
                  <a:pt x="54" y="154"/>
                  <a:pt x="52" y="159"/>
                  <a:pt x="50" y="164"/>
                </a:cubicBezTo>
                <a:cubicBezTo>
                  <a:pt x="49" y="166"/>
                  <a:pt x="48" y="169"/>
                  <a:pt x="48" y="171"/>
                </a:cubicBezTo>
                <a:cubicBezTo>
                  <a:pt x="47" y="172"/>
                  <a:pt x="47" y="174"/>
                  <a:pt x="47" y="174"/>
                </a:cubicBezTo>
                <a:cubicBezTo>
                  <a:pt x="47" y="174"/>
                  <a:pt x="47" y="175"/>
                  <a:pt x="46" y="177"/>
                </a:cubicBezTo>
                <a:cubicBezTo>
                  <a:pt x="45" y="179"/>
                  <a:pt x="45" y="181"/>
                  <a:pt x="44" y="184"/>
                </a:cubicBezTo>
                <a:cubicBezTo>
                  <a:pt x="43" y="186"/>
                  <a:pt x="43" y="189"/>
                  <a:pt x="43" y="191"/>
                </a:cubicBezTo>
                <a:cubicBezTo>
                  <a:pt x="42" y="193"/>
                  <a:pt x="42" y="194"/>
                  <a:pt x="42" y="194"/>
                </a:cubicBezTo>
                <a:cubicBezTo>
                  <a:pt x="41" y="197"/>
                  <a:pt x="39" y="200"/>
                  <a:pt x="36" y="201"/>
                </a:cubicBezTo>
                <a:cubicBezTo>
                  <a:pt x="36" y="201"/>
                  <a:pt x="34" y="202"/>
                  <a:pt x="31" y="203"/>
                </a:cubicBezTo>
                <a:cubicBezTo>
                  <a:pt x="28" y="204"/>
                  <a:pt x="25" y="205"/>
                  <a:pt x="21" y="207"/>
                </a:cubicBezTo>
                <a:cubicBezTo>
                  <a:pt x="17" y="208"/>
                  <a:pt x="13" y="210"/>
                  <a:pt x="10" y="211"/>
                </a:cubicBezTo>
                <a:cubicBezTo>
                  <a:pt x="8" y="212"/>
                  <a:pt x="6" y="213"/>
                  <a:pt x="6" y="213"/>
                </a:cubicBezTo>
                <a:cubicBezTo>
                  <a:pt x="3" y="215"/>
                  <a:pt x="1" y="218"/>
                  <a:pt x="1" y="222"/>
                </a:cubicBezTo>
                <a:cubicBezTo>
                  <a:pt x="1" y="222"/>
                  <a:pt x="1" y="224"/>
                  <a:pt x="1" y="226"/>
                </a:cubicBezTo>
                <a:cubicBezTo>
                  <a:pt x="1" y="229"/>
                  <a:pt x="0" y="232"/>
                  <a:pt x="1" y="236"/>
                </a:cubicBezTo>
                <a:cubicBezTo>
                  <a:pt x="1" y="239"/>
                  <a:pt x="1" y="243"/>
                  <a:pt x="1" y="245"/>
                </a:cubicBezTo>
                <a:cubicBezTo>
                  <a:pt x="1" y="248"/>
                  <a:pt x="1" y="250"/>
                  <a:pt x="1" y="250"/>
                </a:cubicBezTo>
                <a:cubicBezTo>
                  <a:pt x="2" y="253"/>
                  <a:pt x="4" y="257"/>
                  <a:pt x="7" y="258"/>
                </a:cubicBezTo>
                <a:cubicBezTo>
                  <a:pt x="7" y="258"/>
                  <a:pt x="14" y="261"/>
                  <a:pt x="22" y="264"/>
                </a:cubicBezTo>
                <a:cubicBezTo>
                  <a:pt x="30" y="267"/>
                  <a:pt x="38" y="269"/>
                  <a:pt x="38" y="269"/>
                </a:cubicBezTo>
                <a:cubicBezTo>
                  <a:pt x="41" y="270"/>
                  <a:pt x="43" y="272"/>
                  <a:pt x="44" y="276"/>
                </a:cubicBezTo>
                <a:cubicBezTo>
                  <a:pt x="44" y="276"/>
                  <a:pt x="44" y="277"/>
                  <a:pt x="44" y="279"/>
                </a:cubicBezTo>
                <a:cubicBezTo>
                  <a:pt x="45" y="281"/>
                  <a:pt x="46" y="283"/>
                  <a:pt x="46" y="286"/>
                </a:cubicBezTo>
                <a:cubicBezTo>
                  <a:pt x="47" y="288"/>
                  <a:pt x="48" y="291"/>
                  <a:pt x="49" y="293"/>
                </a:cubicBezTo>
                <a:cubicBezTo>
                  <a:pt x="49" y="295"/>
                  <a:pt x="50" y="296"/>
                  <a:pt x="50" y="296"/>
                </a:cubicBezTo>
                <a:cubicBezTo>
                  <a:pt x="50" y="296"/>
                  <a:pt x="50" y="297"/>
                  <a:pt x="51" y="299"/>
                </a:cubicBezTo>
                <a:cubicBezTo>
                  <a:pt x="51" y="301"/>
                  <a:pt x="52" y="303"/>
                  <a:pt x="53" y="306"/>
                </a:cubicBezTo>
                <a:cubicBezTo>
                  <a:pt x="54" y="308"/>
                  <a:pt x="55" y="311"/>
                  <a:pt x="56" y="312"/>
                </a:cubicBezTo>
                <a:cubicBezTo>
                  <a:pt x="57" y="314"/>
                  <a:pt x="58" y="315"/>
                  <a:pt x="58" y="315"/>
                </a:cubicBezTo>
                <a:cubicBezTo>
                  <a:pt x="59" y="318"/>
                  <a:pt x="59" y="322"/>
                  <a:pt x="57" y="324"/>
                </a:cubicBezTo>
                <a:cubicBezTo>
                  <a:pt x="57" y="324"/>
                  <a:pt x="52" y="331"/>
                  <a:pt x="48" y="338"/>
                </a:cubicBezTo>
                <a:cubicBezTo>
                  <a:pt x="46" y="341"/>
                  <a:pt x="44" y="345"/>
                  <a:pt x="42" y="348"/>
                </a:cubicBezTo>
                <a:cubicBezTo>
                  <a:pt x="41" y="350"/>
                  <a:pt x="40" y="352"/>
                  <a:pt x="40" y="352"/>
                </a:cubicBezTo>
                <a:cubicBezTo>
                  <a:pt x="38" y="355"/>
                  <a:pt x="38" y="359"/>
                  <a:pt x="41" y="362"/>
                </a:cubicBezTo>
                <a:cubicBezTo>
                  <a:pt x="41" y="362"/>
                  <a:pt x="41" y="364"/>
                  <a:pt x="43" y="366"/>
                </a:cubicBezTo>
                <a:cubicBezTo>
                  <a:pt x="45" y="368"/>
                  <a:pt x="47" y="371"/>
                  <a:pt x="49" y="373"/>
                </a:cubicBezTo>
                <a:cubicBezTo>
                  <a:pt x="51" y="376"/>
                  <a:pt x="53" y="379"/>
                  <a:pt x="55" y="381"/>
                </a:cubicBezTo>
                <a:cubicBezTo>
                  <a:pt x="56" y="383"/>
                  <a:pt x="57" y="384"/>
                  <a:pt x="57" y="384"/>
                </a:cubicBezTo>
                <a:cubicBezTo>
                  <a:pt x="60" y="387"/>
                  <a:pt x="63" y="388"/>
                  <a:pt x="67" y="388"/>
                </a:cubicBezTo>
                <a:cubicBezTo>
                  <a:pt x="67" y="388"/>
                  <a:pt x="69" y="387"/>
                  <a:pt x="72" y="386"/>
                </a:cubicBezTo>
                <a:cubicBezTo>
                  <a:pt x="75" y="386"/>
                  <a:pt x="79" y="385"/>
                  <a:pt x="83" y="384"/>
                </a:cubicBezTo>
                <a:cubicBezTo>
                  <a:pt x="91" y="381"/>
                  <a:pt x="98" y="378"/>
                  <a:pt x="98" y="378"/>
                </a:cubicBezTo>
                <a:cubicBezTo>
                  <a:pt x="101" y="377"/>
                  <a:pt x="104" y="378"/>
                  <a:pt x="107" y="380"/>
                </a:cubicBezTo>
                <a:cubicBezTo>
                  <a:pt x="107" y="380"/>
                  <a:pt x="108" y="381"/>
                  <a:pt x="109" y="382"/>
                </a:cubicBezTo>
                <a:cubicBezTo>
                  <a:pt x="111" y="383"/>
                  <a:pt x="113" y="385"/>
                  <a:pt x="115" y="387"/>
                </a:cubicBezTo>
                <a:cubicBezTo>
                  <a:pt x="117" y="388"/>
                  <a:pt x="119" y="390"/>
                  <a:pt x="121" y="391"/>
                </a:cubicBezTo>
                <a:cubicBezTo>
                  <a:pt x="122" y="392"/>
                  <a:pt x="124" y="393"/>
                  <a:pt x="124" y="393"/>
                </a:cubicBezTo>
                <a:cubicBezTo>
                  <a:pt x="124" y="393"/>
                  <a:pt x="125" y="394"/>
                  <a:pt x="126" y="395"/>
                </a:cubicBezTo>
                <a:cubicBezTo>
                  <a:pt x="128" y="396"/>
                  <a:pt x="130" y="398"/>
                  <a:pt x="132" y="399"/>
                </a:cubicBezTo>
                <a:cubicBezTo>
                  <a:pt x="135" y="400"/>
                  <a:pt x="137" y="402"/>
                  <a:pt x="139" y="403"/>
                </a:cubicBezTo>
                <a:cubicBezTo>
                  <a:pt x="140" y="404"/>
                  <a:pt x="142" y="404"/>
                  <a:pt x="142" y="404"/>
                </a:cubicBezTo>
                <a:cubicBezTo>
                  <a:pt x="144" y="406"/>
                  <a:pt x="146" y="409"/>
                  <a:pt x="146" y="412"/>
                </a:cubicBezTo>
                <a:cubicBezTo>
                  <a:pt x="146" y="412"/>
                  <a:pt x="146" y="420"/>
                  <a:pt x="147" y="428"/>
                </a:cubicBezTo>
                <a:cubicBezTo>
                  <a:pt x="147" y="436"/>
                  <a:pt x="149" y="445"/>
                  <a:pt x="149" y="445"/>
                </a:cubicBezTo>
                <a:cubicBezTo>
                  <a:pt x="149" y="448"/>
                  <a:pt x="152" y="451"/>
                  <a:pt x="155" y="452"/>
                </a:cubicBezTo>
                <a:cubicBezTo>
                  <a:pt x="155" y="452"/>
                  <a:pt x="157" y="453"/>
                  <a:pt x="159" y="453"/>
                </a:cubicBezTo>
                <a:cubicBezTo>
                  <a:pt x="162" y="454"/>
                  <a:pt x="165" y="455"/>
                  <a:pt x="168" y="456"/>
                </a:cubicBezTo>
                <a:cubicBezTo>
                  <a:pt x="172" y="457"/>
                  <a:pt x="175" y="458"/>
                  <a:pt x="178" y="459"/>
                </a:cubicBezTo>
                <a:cubicBezTo>
                  <a:pt x="180" y="460"/>
                  <a:pt x="182" y="460"/>
                  <a:pt x="182" y="460"/>
                </a:cubicBezTo>
                <a:cubicBezTo>
                  <a:pt x="185" y="461"/>
                  <a:pt x="189" y="460"/>
                  <a:pt x="191" y="457"/>
                </a:cubicBezTo>
                <a:close/>
                <a:moveTo>
                  <a:pt x="236" y="379"/>
                </a:moveTo>
                <a:cubicBezTo>
                  <a:pt x="234" y="379"/>
                  <a:pt x="233" y="379"/>
                  <a:pt x="231" y="379"/>
                </a:cubicBezTo>
                <a:cubicBezTo>
                  <a:pt x="229" y="379"/>
                  <a:pt x="227" y="379"/>
                  <a:pt x="225" y="378"/>
                </a:cubicBezTo>
                <a:cubicBezTo>
                  <a:pt x="216" y="378"/>
                  <a:pt x="205" y="376"/>
                  <a:pt x="193" y="373"/>
                </a:cubicBezTo>
                <a:cubicBezTo>
                  <a:pt x="182" y="369"/>
                  <a:pt x="172" y="364"/>
                  <a:pt x="164" y="360"/>
                </a:cubicBezTo>
                <a:cubicBezTo>
                  <a:pt x="162" y="359"/>
                  <a:pt x="160" y="358"/>
                  <a:pt x="159" y="357"/>
                </a:cubicBezTo>
                <a:cubicBezTo>
                  <a:pt x="157" y="356"/>
                  <a:pt x="156" y="355"/>
                  <a:pt x="155" y="355"/>
                </a:cubicBezTo>
                <a:cubicBezTo>
                  <a:pt x="153" y="353"/>
                  <a:pt x="152" y="352"/>
                  <a:pt x="152" y="352"/>
                </a:cubicBezTo>
                <a:cubicBezTo>
                  <a:pt x="152" y="352"/>
                  <a:pt x="151" y="352"/>
                  <a:pt x="149" y="350"/>
                </a:cubicBezTo>
                <a:cubicBezTo>
                  <a:pt x="147" y="349"/>
                  <a:pt x="146" y="348"/>
                  <a:pt x="145" y="347"/>
                </a:cubicBezTo>
                <a:cubicBezTo>
                  <a:pt x="143" y="346"/>
                  <a:pt x="142" y="345"/>
                  <a:pt x="140" y="344"/>
                </a:cubicBezTo>
                <a:cubicBezTo>
                  <a:pt x="134" y="338"/>
                  <a:pt x="125" y="330"/>
                  <a:pt x="118" y="320"/>
                </a:cubicBezTo>
                <a:cubicBezTo>
                  <a:pt x="111" y="311"/>
                  <a:pt x="105" y="301"/>
                  <a:pt x="102" y="293"/>
                </a:cubicBezTo>
                <a:cubicBezTo>
                  <a:pt x="101" y="291"/>
                  <a:pt x="100" y="289"/>
                  <a:pt x="99" y="288"/>
                </a:cubicBezTo>
                <a:cubicBezTo>
                  <a:pt x="99" y="286"/>
                  <a:pt x="98" y="284"/>
                  <a:pt x="98" y="283"/>
                </a:cubicBezTo>
                <a:cubicBezTo>
                  <a:pt x="97" y="281"/>
                  <a:pt x="96" y="280"/>
                  <a:pt x="96" y="280"/>
                </a:cubicBezTo>
                <a:cubicBezTo>
                  <a:pt x="96" y="280"/>
                  <a:pt x="96" y="278"/>
                  <a:pt x="95" y="276"/>
                </a:cubicBezTo>
                <a:cubicBezTo>
                  <a:pt x="95" y="275"/>
                  <a:pt x="94" y="273"/>
                  <a:pt x="94" y="271"/>
                </a:cubicBezTo>
                <a:cubicBezTo>
                  <a:pt x="93" y="270"/>
                  <a:pt x="93" y="268"/>
                  <a:pt x="92" y="266"/>
                </a:cubicBezTo>
                <a:cubicBezTo>
                  <a:pt x="90" y="257"/>
                  <a:pt x="88" y="246"/>
                  <a:pt x="88" y="234"/>
                </a:cubicBezTo>
                <a:cubicBezTo>
                  <a:pt x="88" y="222"/>
                  <a:pt x="89" y="211"/>
                  <a:pt x="91" y="202"/>
                </a:cubicBezTo>
                <a:cubicBezTo>
                  <a:pt x="91" y="200"/>
                  <a:pt x="92" y="198"/>
                  <a:pt x="92" y="196"/>
                </a:cubicBezTo>
                <a:cubicBezTo>
                  <a:pt x="92" y="194"/>
                  <a:pt x="93" y="193"/>
                  <a:pt x="93" y="192"/>
                </a:cubicBezTo>
                <a:cubicBezTo>
                  <a:pt x="94" y="189"/>
                  <a:pt x="94" y="188"/>
                  <a:pt x="94" y="188"/>
                </a:cubicBezTo>
                <a:cubicBezTo>
                  <a:pt x="94" y="188"/>
                  <a:pt x="95" y="187"/>
                  <a:pt x="95" y="184"/>
                </a:cubicBezTo>
                <a:cubicBezTo>
                  <a:pt x="96" y="183"/>
                  <a:pt x="96" y="181"/>
                  <a:pt x="97" y="180"/>
                </a:cubicBezTo>
                <a:cubicBezTo>
                  <a:pt x="98" y="178"/>
                  <a:pt x="98" y="176"/>
                  <a:pt x="99" y="174"/>
                </a:cubicBezTo>
                <a:cubicBezTo>
                  <a:pt x="102" y="166"/>
                  <a:pt x="108" y="156"/>
                  <a:pt x="114" y="146"/>
                </a:cubicBezTo>
                <a:cubicBezTo>
                  <a:pt x="121" y="137"/>
                  <a:pt x="129" y="128"/>
                  <a:pt x="135" y="122"/>
                </a:cubicBezTo>
                <a:cubicBezTo>
                  <a:pt x="139" y="119"/>
                  <a:pt x="141" y="117"/>
                  <a:pt x="143" y="115"/>
                </a:cubicBezTo>
                <a:cubicBezTo>
                  <a:pt x="145" y="114"/>
                  <a:pt x="146" y="113"/>
                  <a:pt x="146" y="113"/>
                </a:cubicBezTo>
                <a:cubicBezTo>
                  <a:pt x="146" y="113"/>
                  <a:pt x="148" y="112"/>
                  <a:pt x="150" y="110"/>
                </a:cubicBezTo>
                <a:cubicBezTo>
                  <a:pt x="152" y="109"/>
                  <a:pt x="155" y="107"/>
                  <a:pt x="159" y="104"/>
                </a:cubicBezTo>
                <a:cubicBezTo>
                  <a:pt x="166" y="100"/>
                  <a:pt x="176" y="94"/>
                  <a:pt x="187" y="91"/>
                </a:cubicBezTo>
                <a:cubicBezTo>
                  <a:pt x="198" y="87"/>
                  <a:pt x="210" y="84"/>
                  <a:pt x="218" y="83"/>
                </a:cubicBezTo>
                <a:cubicBezTo>
                  <a:pt x="221" y="83"/>
                  <a:pt x="223" y="83"/>
                  <a:pt x="224" y="83"/>
                </a:cubicBezTo>
                <a:cubicBezTo>
                  <a:pt x="226" y="83"/>
                  <a:pt x="228" y="83"/>
                  <a:pt x="229" y="83"/>
                </a:cubicBezTo>
                <a:cubicBezTo>
                  <a:pt x="231" y="83"/>
                  <a:pt x="233" y="82"/>
                  <a:pt x="233" y="82"/>
                </a:cubicBezTo>
                <a:cubicBezTo>
                  <a:pt x="233" y="82"/>
                  <a:pt x="234" y="82"/>
                  <a:pt x="237" y="82"/>
                </a:cubicBezTo>
                <a:cubicBezTo>
                  <a:pt x="238" y="82"/>
                  <a:pt x="240" y="82"/>
                  <a:pt x="242" y="83"/>
                </a:cubicBezTo>
                <a:cubicBezTo>
                  <a:pt x="243" y="83"/>
                  <a:pt x="245" y="83"/>
                  <a:pt x="247" y="83"/>
                </a:cubicBezTo>
                <a:cubicBezTo>
                  <a:pt x="256" y="84"/>
                  <a:pt x="268" y="85"/>
                  <a:pt x="279" y="89"/>
                </a:cubicBezTo>
                <a:cubicBezTo>
                  <a:pt x="290" y="92"/>
                  <a:pt x="301" y="97"/>
                  <a:pt x="308" y="101"/>
                </a:cubicBezTo>
                <a:cubicBezTo>
                  <a:pt x="310" y="102"/>
                  <a:pt x="312" y="103"/>
                  <a:pt x="313" y="104"/>
                </a:cubicBezTo>
                <a:cubicBezTo>
                  <a:pt x="315" y="105"/>
                  <a:pt x="316" y="106"/>
                  <a:pt x="317" y="107"/>
                </a:cubicBezTo>
                <a:cubicBezTo>
                  <a:pt x="319" y="108"/>
                  <a:pt x="321" y="109"/>
                  <a:pt x="321" y="109"/>
                </a:cubicBezTo>
                <a:cubicBezTo>
                  <a:pt x="321" y="109"/>
                  <a:pt x="322" y="110"/>
                  <a:pt x="324" y="111"/>
                </a:cubicBezTo>
                <a:cubicBezTo>
                  <a:pt x="325" y="112"/>
                  <a:pt x="326" y="113"/>
                  <a:pt x="328" y="114"/>
                </a:cubicBezTo>
                <a:cubicBezTo>
                  <a:pt x="329" y="115"/>
                  <a:pt x="330" y="116"/>
                  <a:pt x="332" y="118"/>
                </a:cubicBezTo>
                <a:cubicBezTo>
                  <a:pt x="339" y="123"/>
                  <a:pt x="347" y="132"/>
                  <a:pt x="354" y="141"/>
                </a:cubicBezTo>
                <a:cubicBezTo>
                  <a:pt x="361" y="150"/>
                  <a:pt x="367" y="160"/>
                  <a:pt x="371" y="168"/>
                </a:cubicBezTo>
                <a:cubicBezTo>
                  <a:pt x="372" y="170"/>
                  <a:pt x="372" y="172"/>
                  <a:pt x="373" y="174"/>
                </a:cubicBezTo>
                <a:cubicBezTo>
                  <a:pt x="374" y="175"/>
                  <a:pt x="374" y="177"/>
                  <a:pt x="375" y="178"/>
                </a:cubicBezTo>
                <a:cubicBezTo>
                  <a:pt x="376" y="180"/>
                  <a:pt x="376" y="182"/>
                  <a:pt x="376" y="182"/>
                </a:cubicBezTo>
                <a:cubicBezTo>
                  <a:pt x="376" y="182"/>
                  <a:pt x="377" y="183"/>
                  <a:pt x="377" y="186"/>
                </a:cubicBezTo>
                <a:cubicBezTo>
                  <a:pt x="378" y="187"/>
                  <a:pt x="378" y="188"/>
                  <a:pt x="379" y="190"/>
                </a:cubicBezTo>
                <a:cubicBezTo>
                  <a:pt x="379" y="192"/>
                  <a:pt x="380" y="194"/>
                  <a:pt x="380" y="196"/>
                </a:cubicBezTo>
                <a:cubicBezTo>
                  <a:pt x="382" y="204"/>
                  <a:pt x="384" y="216"/>
                  <a:pt x="384" y="227"/>
                </a:cubicBezTo>
                <a:cubicBezTo>
                  <a:pt x="385" y="239"/>
                  <a:pt x="383" y="251"/>
                  <a:pt x="382" y="259"/>
                </a:cubicBezTo>
                <a:cubicBezTo>
                  <a:pt x="381" y="261"/>
                  <a:pt x="381" y="263"/>
                  <a:pt x="380" y="265"/>
                </a:cubicBezTo>
                <a:cubicBezTo>
                  <a:pt x="380" y="267"/>
                  <a:pt x="380" y="268"/>
                  <a:pt x="379" y="269"/>
                </a:cubicBezTo>
                <a:cubicBezTo>
                  <a:pt x="379" y="272"/>
                  <a:pt x="378" y="273"/>
                  <a:pt x="378" y="273"/>
                </a:cubicBezTo>
                <a:cubicBezTo>
                  <a:pt x="378" y="273"/>
                  <a:pt x="378" y="275"/>
                  <a:pt x="377" y="277"/>
                </a:cubicBezTo>
                <a:cubicBezTo>
                  <a:pt x="377" y="278"/>
                  <a:pt x="376" y="280"/>
                  <a:pt x="375" y="281"/>
                </a:cubicBezTo>
                <a:cubicBezTo>
                  <a:pt x="375" y="283"/>
                  <a:pt x="374" y="285"/>
                  <a:pt x="373" y="287"/>
                </a:cubicBezTo>
                <a:cubicBezTo>
                  <a:pt x="370" y="295"/>
                  <a:pt x="365" y="306"/>
                  <a:pt x="358" y="315"/>
                </a:cubicBezTo>
                <a:cubicBezTo>
                  <a:pt x="351" y="325"/>
                  <a:pt x="344" y="333"/>
                  <a:pt x="337" y="339"/>
                </a:cubicBezTo>
                <a:cubicBezTo>
                  <a:pt x="334" y="342"/>
                  <a:pt x="331" y="345"/>
                  <a:pt x="329" y="346"/>
                </a:cubicBezTo>
                <a:cubicBezTo>
                  <a:pt x="327" y="348"/>
                  <a:pt x="326" y="349"/>
                  <a:pt x="326" y="349"/>
                </a:cubicBezTo>
                <a:cubicBezTo>
                  <a:pt x="326" y="349"/>
                  <a:pt x="325" y="349"/>
                  <a:pt x="323" y="351"/>
                </a:cubicBezTo>
                <a:cubicBezTo>
                  <a:pt x="321" y="352"/>
                  <a:pt x="318" y="354"/>
                  <a:pt x="314" y="357"/>
                </a:cubicBezTo>
                <a:cubicBezTo>
                  <a:pt x="306" y="361"/>
                  <a:pt x="296" y="367"/>
                  <a:pt x="285" y="371"/>
                </a:cubicBezTo>
                <a:cubicBezTo>
                  <a:pt x="274" y="374"/>
                  <a:pt x="263" y="377"/>
                  <a:pt x="254" y="378"/>
                </a:cubicBezTo>
                <a:cubicBezTo>
                  <a:pt x="252" y="378"/>
                  <a:pt x="250" y="378"/>
                  <a:pt x="248" y="378"/>
                </a:cubicBezTo>
                <a:cubicBezTo>
                  <a:pt x="246" y="378"/>
                  <a:pt x="245" y="379"/>
                  <a:pt x="244" y="379"/>
                </a:cubicBezTo>
                <a:cubicBezTo>
                  <a:pt x="241" y="379"/>
                  <a:pt x="240" y="379"/>
                  <a:pt x="240" y="379"/>
                </a:cubicBezTo>
                <a:cubicBezTo>
                  <a:pt x="240" y="379"/>
                  <a:pt x="238" y="379"/>
                  <a:pt x="236" y="3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12A23301-AE86-4D48-B2B2-54B04751DF2A}"/>
              </a:ext>
            </a:extLst>
          </p:cNvPr>
          <p:cNvSpPr/>
          <p:nvPr/>
        </p:nvSpPr>
        <p:spPr bwMode="auto">
          <a:xfrm>
            <a:off x="5440960" y="1329077"/>
            <a:ext cx="901398" cy="901398"/>
          </a:xfrm>
          <a:custGeom>
            <a:avLst/>
            <a:gdLst>
              <a:gd name="T0" fmla="*/ 127 w 263"/>
              <a:gd name="T1" fmla="*/ 243 h 263"/>
              <a:gd name="T2" fmla="*/ 153 w 263"/>
              <a:gd name="T3" fmla="*/ 238 h 263"/>
              <a:gd name="T4" fmla="*/ 174 w 263"/>
              <a:gd name="T5" fmla="*/ 244 h 263"/>
              <a:gd name="T6" fmla="*/ 199 w 263"/>
              <a:gd name="T7" fmla="*/ 247 h 263"/>
              <a:gd name="T8" fmla="*/ 208 w 263"/>
              <a:gd name="T9" fmla="*/ 208 h 263"/>
              <a:gd name="T10" fmla="*/ 231 w 263"/>
              <a:gd name="T11" fmla="*/ 182 h 263"/>
              <a:gd name="T12" fmla="*/ 262 w 263"/>
              <a:gd name="T13" fmla="*/ 159 h 263"/>
              <a:gd name="T14" fmla="*/ 246 w 263"/>
              <a:gd name="T15" fmla="*/ 138 h 263"/>
              <a:gd name="T16" fmla="*/ 239 w 263"/>
              <a:gd name="T17" fmla="*/ 117 h 263"/>
              <a:gd name="T18" fmla="*/ 240 w 263"/>
              <a:gd name="T19" fmla="*/ 94 h 263"/>
              <a:gd name="T20" fmla="*/ 250 w 263"/>
              <a:gd name="T21" fmla="*/ 70 h 263"/>
              <a:gd name="T22" fmla="*/ 214 w 263"/>
              <a:gd name="T23" fmla="*/ 57 h 263"/>
              <a:gd name="T24" fmla="*/ 185 w 263"/>
              <a:gd name="T25" fmla="*/ 37 h 263"/>
              <a:gd name="T26" fmla="*/ 166 w 263"/>
              <a:gd name="T27" fmla="*/ 3 h 263"/>
              <a:gd name="T28" fmla="*/ 143 w 263"/>
              <a:gd name="T29" fmla="*/ 11 h 263"/>
              <a:gd name="T30" fmla="*/ 124 w 263"/>
              <a:gd name="T31" fmla="*/ 24 h 263"/>
              <a:gd name="T32" fmla="*/ 97 w 263"/>
              <a:gd name="T33" fmla="*/ 26 h 263"/>
              <a:gd name="T34" fmla="*/ 73 w 263"/>
              <a:gd name="T35" fmla="*/ 12 h 263"/>
              <a:gd name="T36" fmla="*/ 54 w 263"/>
              <a:gd name="T37" fmla="*/ 39 h 263"/>
              <a:gd name="T38" fmla="*/ 41 w 263"/>
              <a:gd name="T39" fmla="*/ 72 h 263"/>
              <a:gd name="T40" fmla="*/ 6 w 263"/>
              <a:gd name="T41" fmla="*/ 88 h 263"/>
              <a:gd name="T42" fmla="*/ 3 w 263"/>
              <a:gd name="T43" fmla="*/ 114 h 263"/>
              <a:gd name="T44" fmla="*/ 23 w 263"/>
              <a:gd name="T45" fmla="*/ 134 h 263"/>
              <a:gd name="T46" fmla="*/ 27 w 263"/>
              <a:gd name="T47" fmla="*/ 160 h 263"/>
              <a:gd name="T48" fmla="*/ 11 w 263"/>
              <a:gd name="T49" fmla="*/ 186 h 263"/>
              <a:gd name="T50" fmla="*/ 28 w 263"/>
              <a:gd name="T51" fmla="*/ 210 h 263"/>
              <a:gd name="T52" fmla="*/ 66 w 263"/>
              <a:gd name="T53" fmla="*/ 218 h 263"/>
              <a:gd name="T54" fmla="*/ 84 w 263"/>
              <a:gd name="T55" fmla="*/ 253 h 263"/>
              <a:gd name="T56" fmla="*/ 111 w 263"/>
              <a:gd name="T57" fmla="*/ 262 h 263"/>
              <a:gd name="T58" fmla="*/ 118 w 263"/>
              <a:gd name="T59" fmla="*/ 206 h 263"/>
              <a:gd name="T60" fmla="*/ 102 w 263"/>
              <a:gd name="T61" fmla="*/ 201 h 263"/>
              <a:gd name="T62" fmla="*/ 84 w 263"/>
              <a:gd name="T63" fmla="*/ 190 h 263"/>
              <a:gd name="T64" fmla="*/ 70 w 263"/>
              <a:gd name="T65" fmla="*/ 176 h 263"/>
              <a:gd name="T66" fmla="*/ 61 w 263"/>
              <a:gd name="T67" fmla="*/ 160 h 263"/>
              <a:gd name="T68" fmla="*/ 57 w 263"/>
              <a:gd name="T69" fmla="*/ 144 h 263"/>
              <a:gd name="T70" fmla="*/ 56 w 263"/>
              <a:gd name="T71" fmla="*/ 132 h 263"/>
              <a:gd name="T72" fmla="*/ 58 w 263"/>
              <a:gd name="T73" fmla="*/ 112 h 263"/>
              <a:gd name="T74" fmla="*/ 66 w 263"/>
              <a:gd name="T75" fmla="*/ 93 h 263"/>
              <a:gd name="T76" fmla="*/ 75 w 263"/>
              <a:gd name="T77" fmla="*/ 81 h 263"/>
              <a:gd name="T78" fmla="*/ 89 w 263"/>
              <a:gd name="T79" fmla="*/ 69 h 263"/>
              <a:gd name="T80" fmla="*/ 108 w 263"/>
              <a:gd name="T81" fmla="*/ 60 h 263"/>
              <a:gd name="T82" fmla="*/ 121 w 263"/>
              <a:gd name="T83" fmla="*/ 56 h 263"/>
              <a:gd name="T84" fmla="*/ 135 w 263"/>
              <a:gd name="T85" fmla="*/ 56 h 263"/>
              <a:gd name="T86" fmla="*/ 156 w 263"/>
              <a:gd name="T87" fmla="*/ 60 h 263"/>
              <a:gd name="T88" fmla="*/ 173 w 263"/>
              <a:gd name="T89" fmla="*/ 68 h 263"/>
              <a:gd name="T90" fmla="*/ 185 w 263"/>
              <a:gd name="T91" fmla="*/ 77 h 263"/>
              <a:gd name="T92" fmla="*/ 197 w 263"/>
              <a:gd name="T93" fmla="*/ 93 h 263"/>
              <a:gd name="T94" fmla="*/ 205 w 263"/>
              <a:gd name="T95" fmla="*/ 112 h 263"/>
              <a:gd name="T96" fmla="*/ 207 w 263"/>
              <a:gd name="T97" fmla="*/ 124 h 263"/>
              <a:gd name="T98" fmla="*/ 207 w 263"/>
              <a:gd name="T99" fmla="*/ 140 h 263"/>
              <a:gd name="T100" fmla="*/ 203 w 263"/>
              <a:gd name="T101" fmla="*/ 157 h 263"/>
              <a:gd name="T102" fmla="*/ 193 w 263"/>
              <a:gd name="T103" fmla="*/ 175 h 263"/>
              <a:gd name="T104" fmla="*/ 179 w 263"/>
              <a:gd name="T105" fmla="*/ 191 h 263"/>
              <a:gd name="T106" fmla="*/ 165 w 263"/>
              <a:gd name="T107" fmla="*/ 200 h 263"/>
              <a:gd name="T108" fmla="*/ 149 w 263"/>
              <a:gd name="T109" fmla="*/ 205 h 263"/>
              <a:gd name="T110" fmla="*/ 136 w 263"/>
              <a:gd name="T111" fmla="*/ 207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63" h="263">
                <a:moveTo>
                  <a:pt x="111" y="262"/>
                </a:moveTo>
                <a:cubicBezTo>
                  <a:pt x="112" y="262"/>
                  <a:pt x="113" y="261"/>
                  <a:pt x="114" y="261"/>
                </a:cubicBezTo>
                <a:cubicBezTo>
                  <a:pt x="114" y="261"/>
                  <a:pt x="118" y="256"/>
                  <a:pt x="121" y="252"/>
                </a:cubicBezTo>
                <a:cubicBezTo>
                  <a:pt x="122" y="250"/>
                  <a:pt x="124" y="247"/>
                  <a:pt x="125" y="246"/>
                </a:cubicBezTo>
                <a:cubicBezTo>
                  <a:pt x="126" y="244"/>
                  <a:pt x="127" y="243"/>
                  <a:pt x="127" y="243"/>
                </a:cubicBezTo>
                <a:cubicBezTo>
                  <a:pt x="128" y="241"/>
                  <a:pt x="130" y="240"/>
                  <a:pt x="132" y="240"/>
                </a:cubicBezTo>
                <a:cubicBezTo>
                  <a:pt x="132" y="240"/>
                  <a:pt x="133" y="240"/>
                  <a:pt x="134" y="240"/>
                </a:cubicBezTo>
                <a:cubicBezTo>
                  <a:pt x="135" y="240"/>
                  <a:pt x="137" y="240"/>
                  <a:pt x="139" y="240"/>
                </a:cubicBezTo>
                <a:cubicBezTo>
                  <a:pt x="143" y="239"/>
                  <a:pt x="146" y="239"/>
                  <a:pt x="146" y="239"/>
                </a:cubicBezTo>
                <a:cubicBezTo>
                  <a:pt x="146" y="239"/>
                  <a:pt x="150" y="238"/>
                  <a:pt x="153" y="238"/>
                </a:cubicBezTo>
                <a:cubicBezTo>
                  <a:pt x="155" y="237"/>
                  <a:pt x="157" y="237"/>
                  <a:pt x="158" y="236"/>
                </a:cubicBezTo>
                <a:cubicBezTo>
                  <a:pt x="159" y="236"/>
                  <a:pt x="160" y="236"/>
                  <a:pt x="160" y="236"/>
                </a:cubicBezTo>
                <a:cubicBezTo>
                  <a:pt x="162" y="235"/>
                  <a:pt x="165" y="236"/>
                  <a:pt x="166" y="237"/>
                </a:cubicBezTo>
                <a:cubicBezTo>
                  <a:pt x="166" y="237"/>
                  <a:pt x="167" y="238"/>
                  <a:pt x="169" y="240"/>
                </a:cubicBezTo>
                <a:cubicBezTo>
                  <a:pt x="170" y="241"/>
                  <a:pt x="172" y="243"/>
                  <a:pt x="174" y="244"/>
                </a:cubicBezTo>
                <a:cubicBezTo>
                  <a:pt x="179" y="248"/>
                  <a:pt x="183" y="251"/>
                  <a:pt x="183" y="251"/>
                </a:cubicBezTo>
                <a:cubicBezTo>
                  <a:pt x="184" y="252"/>
                  <a:pt x="185" y="252"/>
                  <a:pt x="186" y="252"/>
                </a:cubicBezTo>
                <a:cubicBezTo>
                  <a:pt x="188" y="252"/>
                  <a:pt x="189" y="252"/>
                  <a:pt x="190" y="251"/>
                </a:cubicBezTo>
                <a:cubicBezTo>
                  <a:pt x="190" y="251"/>
                  <a:pt x="191" y="251"/>
                  <a:pt x="193" y="250"/>
                </a:cubicBezTo>
                <a:cubicBezTo>
                  <a:pt x="194" y="249"/>
                  <a:pt x="197" y="248"/>
                  <a:pt x="199" y="247"/>
                </a:cubicBezTo>
                <a:cubicBezTo>
                  <a:pt x="203" y="244"/>
                  <a:pt x="207" y="241"/>
                  <a:pt x="207" y="241"/>
                </a:cubicBezTo>
                <a:cubicBezTo>
                  <a:pt x="209" y="240"/>
                  <a:pt x="210" y="237"/>
                  <a:pt x="210" y="235"/>
                </a:cubicBezTo>
                <a:cubicBezTo>
                  <a:pt x="210" y="235"/>
                  <a:pt x="210" y="230"/>
                  <a:pt x="209" y="224"/>
                </a:cubicBezTo>
                <a:cubicBezTo>
                  <a:pt x="208" y="219"/>
                  <a:pt x="207" y="214"/>
                  <a:pt x="207" y="214"/>
                </a:cubicBezTo>
                <a:cubicBezTo>
                  <a:pt x="206" y="212"/>
                  <a:pt x="207" y="209"/>
                  <a:pt x="208" y="208"/>
                </a:cubicBezTo>
                <a:cubicBezTo>
                  <a:pt x="208" y="208"/>
                  <a:pt x="211" y="205"/>
                  <a:pt x="213" y="203"/>
                </a:cubicBezTo>
                <a:cubicBezTo>
                  <a:pt x="216" y="200"/>
                  <a:pt x="218" y="197"/>
                  <a:pt x="218" y="197"/>
                </a:cubicBezTo>
                <a:cubicBezTo>
                  <a:pt x="218" y="197"/>
                  <a:pt x="220" y="194"/>
                  <a:pt x="222" y="191"/>
                </a:cubicBezTo>
                <a:cubicBezTo>
                  <a:pt x="224" y="188"/>
                  <a:pt x="226" y="185"/>
                  <a:pt x="226" y="185"/>
                </a:cubicBezTo>
                <a:cubicBezTo>
                  <a:pt x="227" y="183"/>
                  <a:pt x="229" y="182"/>
                  <a:pt x="231" y="182"/>
                </a:cubicBezTo>
                <a:cubicBezTo>
                  <a:pt x="231" y="182"/>
                  <a:pt x="236" y="182"/>
                  <a:pt x="242" y="181"/>
                </a:cubicBezTo>
                <a:cubicBezTo>
                  <a:pt x="247" y="181"/>
                  <a:pt x="253" y="180"/>
                  <a:pt x="253" y="180"/>
                </a:cubicBezTo>
                <a:cubicBezTo>
                  <a:pt x="255" y="179"/>
                  <a:pt x="257" y="177"/>
                  <a:pt x="258" y="175"/>
                </a:cubicBezTo>
                <a:cubicBezTo>
                  <a:pt x="258" y="175"/>
                  <a:pt x="259" y="170"/>
                  <a:pt x="261" y="165"/>
                </a:cubicBezTo>
                <a:cubicBezTo>
                  <a:pt x="261" y="163"/>
                  <a:pt x="262" y="161"/>
                  <a:pt x="262" y="159"/>
                </a:cubicBezTo>
                <a:cubicBezTo>
                  <a:pt x="262" y="157"/>
                  <a:pt x="263" y="156"/>
                  <a:pt x="263" y="156"/>
                </a:cubicBezTo>
                <a:cubicBezTo>
                  <a:pt x="263" y="155"/>
                  <a:pt x="263" y="153"/>
                  <a:pt x="262" y="152"/>
                </a:cubicBezTo>
                <a:cubicBezTo>
                  <a:pt x="262" y="151"/>
                  <a:pt x="261" y="150"/>
                  <a:pt x="261" y="149"/>
                </a:cubicBezTo>
                <a:cubicBezTo>
                  <a:pt x="261" y="149"/>
                  <a:pt x="256" y="146"/>
                  <a:pt x="252" y="142"/>
                </a:cubicBezTo>
                <a:cubicBezTo>
                  <a:pt x="250" y="141"/>
                  <a:pt x="247" y="139"/>
                  <a:pt x="246" y="138"/>
                </a:cubicBezTo>
                <a:cubicBezTo>
                  <a:pt x="244" y="137"/>
                  <a:pt x="243" y="137"/>
                  <a:pt x="243" y="137"/>
                </a:cubicBezTo>
                <a:cubicBezTo>
                  <a:pt x="241" y="136"/>
                  <a:pt x="240" y="134"/>
                  <a:pt x="240" y="131"/>
                </a:cubicBezTo>
                <a:cubicBezTo>
                  <a:pt x="240" y="131"/>
                  <a:pt x="240" y="130"/>
                  <a:pt x="240" y="129"/>
                </a:cubicBezTo>
                <a:cubicBezTo>
                  <a:pt x="240" y="128"/>
                  <a:pt x="240" y="126"/>
                  <a:pt x="240" y="124"/>
                </a:cubicBezTo>
                <a:cubicBezTo>
                  <a:pt x="239" y="121"/>
                  <a:pt x="239" y="117"/>
                  <a:pt x="239" y="117"/>
                </a:cubicBezTo>
                <a:cubicBezTo>
                  <a:pt x="239" y="117"/>
                  <a:pt x="238" y="113"/>
                  <a:pt x="238" y="110"/>
                </a:cubicBezTo>
                <a:cubicBezTo>
                  <a:pt x="237" y="108"/>
                  <a:pt x="237" y="106"/>
                  <a:pt x="237" y="105"/>
                </a:cubicBezTo>
                <a:cubicBezTo>
                  <a:pt x="236" y="104"/>
                  <a:pt x="236" y="103"/>
                  <a:pt x="236" y="103"/>
                </a:cubicBezTo>
                <a:cubicBezTo>
                  <a:pt x="235" y="101"/>
                  <a:pt x="236" y="98"/>
                  <a:pt x="237" y="97"/>
                </a:cubicBezTo>
                <a:cubicBezTo>
                  <a:pt x="237" y="97"/>
                  <a:pt x="238" y="96"/>
                  <a:pt x="240" y="94"/>
                </a:cubicBezTo>
                <a:cubicBezTo>
                  <a:pt x="241" y="93"/>
                  <a:pt x="243" y="91"/>
                  <a:pt x="244" y="89"/>
                </a:cubicBezTo>
                <a:cubicBezTo>
                  <a:pt x="248" y="85"/>
                  <a:pt x="251" y="80"/>
                  <a:pt x="251" y="80"/>
                </a:cubicBezTo>
                <a:cubicBezTo>
                  <a:pt x="252" y="79"/>
                  <a:pt x="252" y="78"/>
                  <a:pt x="252" y="77"/>
                </a:cubicBezTo>
                <a:cubicBezTo>
                  <a:pt x="252" y="76"/>
                  <a:pt x="252" y="74"/>
                  <a:pt x="251" y="73"/>
                </a:cubicBezTo>
                <a:cubicBezTo>
                  <a:pt x="251" y="73"/>
                  <a:pt x="251" y="72"/>
                  <a:pt x="250" y="70"/>
                </a:cubicBezTo>
                <a:cubicBezTo>
                  <a:pt x="249" y="69"/>
                  <a:pt x="248" y="66"/>
                  <a:pt x="247" y="64"/>
                </a:cubicBezTo>
                <a:cubicBezTo>
                  <a:pt x="244" y="60"/>
                  <a:pt x="241" y="56"/>
                  <a:pt x="241" y="56"/>
                </a:cubicBezTo>
                <a:cubicBezTo>
                  <a:pt x="240" y="54"/>
                  <a:pt x="237" y="53"/>
                  <a:pt x="235" y="53"/>
                </a:cubicBezTo>
                <a:cubicBezTo>
                  <a:pt x="235" y="53"/>
                  <a:pt x="230" y="53"/>
                  <a:pt x="224" y="54"/>
                </a:cubicBezTo>
                <a:cubicBezTo>
                  <a:pt x="219" y="55"/>
                  <a:pt x="214" y="57"/>
                  <a:pt x="214" y="57"/>
                </a:cubicBezTo>
                <a:cubicBezTo>
                  <a:pt x="212" y="57"/>
                  <a:pt x="209" y="56"/>
                  <a:pt x="208" y="55"/>
                </a:cubicBezTo>
                <a:cubicBezTo>
                  <a:pt x="208" y="55"/>
                  <a:pt x="206" y="52"/>
                  <a:pt x="203" y="50"/>
                </a:cubicBezTo>
                <a:cubicBezTo>
                  <a:pt x="200" y="48"/>
                  <a:pt x="197" y="45"/>
                  <a:pt x="197" y="45"/>
                </a:cubicBezTo>
                <a:cubicBezTo>
                  <a:pt x="197" y="45"/>
                  <a:pt x="194" y="43"/>
                  <a:pt x="191" y="41"/>
                </a:cubicBezTo>
                <a:cubicBezTo>
                  <a:pt x="188" y="39"/>
                  <a:pt x="185" y="37"/>
                  <a:pt x="185" y="37"/>
                </a:cubicBezTo>
                <a:cubicBezTo>
                  <a:pt x="183" y="36"/>
                  <a:pt x="182" y="34"/>
                  <a:pt x="182" y="32"/>
                </a:cubicBezTo>
                <a:cubicBezTo>
                  <a:pt x="182" y="32"/>
                  <a:pt x="182" y="27"/>
                  <a:pt x="181" y="21"/>
                </a:cubicBezTo>
                <a:cubicBezTo>
                  <a:pt x="181" y="16"/>
                  <a:pt x="180" y="11"/>
                  <a:pt x="180" y="11"/>
                </a:cubicBezTo>
                <a:cubicBezTo>
                  <a:pt x="179" y="8"/>
                  <a:pt x="177" y="6"/>
                  <a:pt x="175" y="6"/>
                </a:cubicBezTo>
                <a:cubicBezTo>
                  <a:pt x="175" y="6"/>
                  <a:pt x="170" y="4"/>
                  <a:pt x="166" y="3"/>
                </a:cubicBezTo>
                <a:cubicBezTo>
                  <a:pt x="163" y="2"/>
                  <a:pt x="161" y="2"/>
                  <a:pt x="159" y="1"/>
                </a:cubicBezTo>
                <a:cubicBezTo>
                  <a:pt x="157" y="1"/>
                  <a:pt x="156" y="1"/>
                  <a:pt x="156" y="1"/>
                </a:cubicBezTo>
                <a:cubicBezTo>
                  <a:pt x="155" y="0"/>
                  <a:pt x="153" y="0"/>
                  <a:pt x="152" y="1"/>
                </a:cubicBezTo>
                <a:cubicBezTo>
                  <a:pt x="151" y="1"/>
                  <a:pt x="150" y="2"/>
                  <a:pt x="149" y="3"/>
                </a:cubicBezTo>
                <a:cubicBezTo>
                  <a:pt x="149" y="3"/>
                  <a:pt x="146" y="7"/>
                  <a:pt x="143" y="11"/>
                </a:cubicBezTo>
                <a:cubicBezTo>
                  <a:pt x="141" y="14"/>
                  <a:pt x="139" y="16"/>
                  <a:pt x="138" y="17"/>
                </a:cubicBezTo>
                <a:cubicBezTo>
                  <a:pt x="137" y="19"/>
                  <a:pt x="137" y="20"/>
                  <a:pt x="137" y="20"/>
                </a:cubicBezTo>
                <a:cubicBezTo>
                  <a:pt x="136" y="22"/>
                  <a:pt x="134" y="23"/>
                  <a:pt x="131" y="23"/>
                </a:cubicBezTo>
                <a:cubicBezTo>
                  <a:pt x="131" y="23"/>
                  <a:pt x="130" y="23"/>
                  <a:pt x="129" y="23"/>
                </a:cubicBezTo>
                <a:cubicBezTo>
                  <a:pt x="128" y="23"/>
                  <a:pt x="126" y="23"/>
                  <a:pt x="124" y="24"/>
                </a:cubicBezTo>
                <a:cubicBezTo>
                  <a:pt x="121" y="24"/>
                  <a:pt x="117" y="24"/>
                  <a:pt x="117" y="24"/>
                </a:cubicBezTo>
                <a:cubicBezTo>
                  <a:pt x="117" y="24"/>
                  <a:pt x="113" y="25"/>
                  <a:pt x="110" y="26"/>
                </a:cubicBezTo>
                <a:cubicBezTo>
                  <a:pt x="108" y="26"/>
                  <a:pt x="106" y="26"/>
                  <a:pt x="105" y="27"/>
                </a:cubicBezTo>
                <a:cubicBezTo>
                  <a:pt x="104" y="27"/>
                  <a:pt x="103" y="27"/>
                  <a:pt x="103" y="27"/>
                </a:cubicBezTo>
                <a:cubicBezTo>
                  <a:pt x="101" y="28"/>
                  <a:pt x="99" y="27"/>
                  <a:pt x="97" y="26"/>
                </a:cubicBezTo>
                <a:cubicBezTo>
                  <a:pt x="97" y="26"/>
                  <a:pt x="96" y="25"/>
                  <a:pt x="95" y="23"/>
                </a:cubicBezTo>
                <a:cubicBezTo>
                  <a:pt x="93" y="22"/>
                  <a:pt x="91" y="20"/>
                  <a:pt x="89" y="19"/>
                </a:cubicBezTo>
                <a:cubicBezTo>
                  <a:pt x="85" y="15"/>
                  <a:pt x="80" y="12"/>
                  <a:pt x="80" y="12"/>
                </a:cubicBezTo>
                <a:cubicBezTo>
                  <a:pt x="79" y="11"/>
                  <a:pt x="78" y="11"/>
                  <a:pt x="77" y="11"/>
                </a:cubicBezTo>
                <a:cubicBezTo>
                  <a:pt x="76" y="11"/>
                  <a:pt x="74" y="11"/>
                  <a:pt x="73" y="12"/>
                </a:cubicBezTo>
                <a:cubicBezTo>
                  <a:pt x="73" y="12"/>
                  <a:pt x="72" y="12"/>
                  <a:pt x="70" y="13"/>
                </a:cubicBezTo>
                <a:cubicBezTo>
                  <a:pt x="69" y="14"/>
                  <a:pt x="67" y="15"/>
                  <a:pt x="64" y="16"/>
                </a:cubicBezTo>
                <a:cubicBezTo>
                  <a:pt x="60" y="19"/>
                  <a:pt x="56" y="22"/>
                  <a:pt x="56" y="22"/>
                </a:cubicBezTo>
                <a:cubicBezTo>
                  <a:pt x="54" y="23"/>
                  <a:pt x="53" y="26"/>
                  <a:pt x="53" y="28"/>
                </a:cubicBezTo>
                <a:cubicBezTo>
                  <a:pt x="53" y="28"/>
                  <a:pt x="53" y="33"/>
                  <a:pt x="54" y="39"/>
                </a:cubicBezTo>
                <a:cubicBezTo>
                  <a:pt x="55" y="44"/>
                  <a:pt x="57" y="49"/>
                  <a:pt x="57" y="49"/>
                </a:cubicBezTo>
                <a:cubicBezTo>
                  <a:pt x="57" y="51"/>
                  <a:pt x="56" y="54"/>
                  <a:pt x="55" y="55"/>
                </a:cubicBezTo>
                <a:cubicBezTo>
                  <a:pt x="55" y="55"/>
                  <a:pt x="52" y="58"/>
                  <a:pt x="50" y="60"/>
                </a:cubicBezTo>
                <a:cubicBezTo>
                  <a:pt x="48" y="63"/>
                  <a:pt x="45" y="66"/>
                  <a:pt x="45" y="66"/>
                </a:cubicBezTo>
                <a:cubicBezTo>
                  <a:pt x="45" y="66"/>
                  <a:pt x="43" y="69"/>
                  <a:pt x="41" y="72"/>
                </a:cubicBezTo>
                <a:cubicBezTo>
                  <a:pt x="39" y="75"/>
                  <a:pt x="38" y="78"/>
                  <a:pt x="38" y="78"/>
                </a:cubicBezTo>
                <a:cubicBezTo>
                  <a:pt x="36" y="80"/>
                  <a:pt x="34" y="81"/>
                  <a:pt x="32" y="81"/>
                </a:cubicBezTo>
                <a:cubicBezTo>
                  <a:pt x="32" y="81"/>
                  <a:pt x="27" y="81"/>
                  <a:pt x="22" y="82"/>
                </a:cubicBezTo>
                <a:cubicBezTo>
                  <a:pt x="16" y="82"/>
                  <a:pt x="11" y="83"/>
                  <a:pt x="11" y="83"/>
                </a:cubicBezTo>
                <a:cubicBezTo>
                  <a:pt x="8" y="84"/>
                  <a:pt x="6" y="86"/>
                  <a:pt x="6" y="88"/>
                </a:cubicBezTo>
                <a:cubicBezTo>
                  <a:pt x="6" y="88"/>
                  <a:pt x="4" y="93"/>
                  <a:pt x="3" y="98"/>
                </a:cubicBezTo>
                <a:cubicBezTo>
                  <a:pt x="2" y="100"/>
                  <a:pt x="2" y="102"/>
                  <a:pt x="1" y="104"/>
                </a:cubicBezTo>
                <a:cubicBezTo>
                  <a:pt x="1" y="106"/>
                  <a:pt x="1" y="107"/>
                  <a:pt x="1" y="107"/>
                </a:cubicBezTo>
                <a:cubicBezTo>
                  <a:pt x="0" y="109"/>
                  <a:pt x="0" y="110"/>
                  <a:pt x="1" y="111"/>
                </a:cubicBezTo>
                <a:cubicBezTo>
                  <a:pt x="1" y="112"/>
                  <a:pt x="2" y="113"/>
                  <a:pt x="3" y="114"/>
                </a:cubicBezTo>
                <a:cubicBezTo>
                  <a:pt x="3" y="114"/>
                  <a:pt x="7" y="117"/>
                  <a:pt x="11" y="121"/>
                </a:cubicBezTo>
                <a:cubicBezTo>
                  <a:pt x="14" y="122"/>
                  <a:pt x="16" y="124"/>
                  <a:pt x="18" y="125"/>
                </a:cubicBezTo>
                <a:cubicBezTo>
                  <a:pt x="19" y="126"/>
                  <a:pt x="20" y="127"/>
                  <a:pt x="20" y="127"/>
                </a:cubicBezTo>
                <a:cubicBezTo>
                  <a:pt x="22" y="128"/>
                  <a:pt x="23" y="130"/>
                  <a:pt x="23" y="132"/>
                </a:cubicBezTo>
                <a:cubicBezTo>
                  <a:pt x="23" y="132"/>
                  <a:pt x="23" y="133"/>
                  <a:pt x="23" y="134"/>
                </a:cubicBezTo>
                <a:cubicBezTo>
                  <a:pt x="23" y="135"/>
                  <a:pt x="23" y="137"/>
                  <a:pt x="24" y="139"/>
                </a:cubicBezTo>
                <a:cubicBezTo>
                  <a:pt x="24" y="143"/>
                  <a:pt x="24" y="146"/>
                  <a:pt x="24" y="146"/>
                </a:cubicBezTo>
                <a:cubicBezTo>
                  <a:pt x="24" y="146"/>
                  <a:pt x="25" y="150"/>
                  <a:pt x="26" y="153"/>
                </a:cubicBezTo>
                <a:cubicBezTo>
                  <a:pt x="26" y="155"/>
                  <a:pt x="26" y="157"/>
                  <a:pt x="27" y="158"/>
                </a:cubicBezTo>
                <a:cubicBezTo>
                  <a:pt x="27" y="159"/>
                  <a:pt x="27" y="160"/>
                  <a:pt x="27" y="160"/>
                </a:cubicBezTo>
                <a:cubicBezTo>
                  <a:pt x="28" y="162"/>
                  <a:pt x="27" y="165"/>
                  <a:pt x="26" y="166"/>
                </a:cubicBezTo>
                <a:cubicBezTo>
                  <a:pt x="26" y="166"/>
                  <a:pt x="25" y="167"/>
                  <a:pt x="24" y="169"/>
                </a:cubicBezTo>
                <a:cubicBezTo>
                  <a:pt x="22" y="170"/>
                  <a:pt x="20" y="172"/>
                  <a:pt x="19" y="174"/>
                </a:cubicBezTo>
                <a:cubicBezTo>
                  <a:pt x="15" y="178"/>
                  <a:pt x="12" y="183"/>
                  <a:pt x="12" y="183"/>
                </a:cubicBezTo>
                <a:cubicBezTo>
                  <a:pt x="11" y="184"/>
                  <a:pt x="11" y="185"/>
                  <a:pt x="11" y="186"/>
                </a:cubicBezTo>
                <a:cubicBezTo>
                  <a:pt x="11" y="188"/>
                  <a:pt x="11" y="189"/>
                  <a:pt x="12" y="190"/>
                </a:cubicBezTo>
                <a:cubicBezTo>
                  <a:pt x="12" y="190"/>
                  <a:pt x="12" y="191"/>
                  <a:pt x="13" y="193"/>
                </a:cubicBezTo>
                <a:cubicBezTo>
                  <a:pt x="14" y="194"/>
                  <a:pt x="15" y="197"/>
                  <a:pt x="16" y="199"/>
                </a:cubicBezTo>
                <a:cubicBezTo>
                  <a:pt x="19" y="203"/>
                  <a:pt x="22" y="207"/>
                  <a:pt x="22" y="207"/>
                </a:cubicBezTo>
                <a:cubicBezTo>
                  <a:pt x="23" y="209"/>
                  <a:pt x="26" y="210"/>
                  <a:pt x="28" y="210"/>
                </a:cubicBezTo>
                <a:cubicBezTo>
                  <a:pt x="28" y="210"/>
                  <a:pt x="33" y="210"/>
                  <a:pt x="39" y="209"/>
                </a:cubicBezTo>
                <a:cubicBezTo>
                  <a:pt x="44" y="208"/>
                  <a:pt x="49" y="207"/>
                  <a:pt x="49" y="207"/>
                </a:cubicBezTo>
                <a:cubicBezTo>
                  <a:pt x="52" y="206"/>
                  <a:pt x="54" y="207"/>
                  <a:pt x="55" y="208"/>
                </a:cubicBezTo>
                <a:cubicBezTo>
                  <a:pt x="55" y="208"/>
                  <a:pt x="58" y="211"/>
                  <a:pt x="61" y="213"/>
                </a:cubicBezTo>
                <a:cubicBezTo>
                  <a:pt x="63" y="215"/>
                  <a:pt x="66" y="218"/>
                  <a:pt x="66" y="218"/>
                </a:cubicBezTo>
                <a:cubicBezTo>
                  <a:pt x="66" y="218"/>
                  <a:pt x="69" y="220"/>
                  <a:pt x="72" y="222"/>
                </a:cubicBezTo>
                <a:cubicBezTo>
                  <a:pt x="75" y="224"/>
                  <a:pt x="78" y="226"/>
                  <a:pt x="78" y="226"/>
                </a:cubicBezTo>
                <a:cubicBezTo>
                  <a:pt x="80" y="227"/>
                  <a:pt x="81" y="229"/>
                  <a:pt x="81" y="231"/>
                </a:cubicBezTo>
                <a:cubicBezTo>
                  <a:pt x="81" y="231"/>
                  <a:pt x="81" y="236"/>
                  <a:pt x="82" y="242"/>
                </a:cubicBezTo>
                <a:cubicBezTo>
                  <a:pt x="83" y="247"/>
                  <a:pt x="84" y="253"/>
                  <a:pt x="84" y="253"/>
                </a:cubicBezTo>
                <a:cubicBezTo>
                  <a:pt x="84" y="255"/>
                  <a:pt x="86" y="257"/>
                  <a:pt x="88" y="258"/>
                </a:cubicBezTo>
                <a:cubicBezTo>
                  <a:pt x="88" y="258"/>
                  <a:pt x="93" y="259"/>
                  <a:pt x="98" y="260"/>
                </a:cubicBezTo>
                <a:cubicBezTo>
                  <a:pt x="100" y="261"/>
                  <a:pt x="102" y="262"/>
                  <a:pt x="104" y="262"/>
                </a:cubicBezTo>
                <a:cubicBezTo>
                  <a:pt x="106" y="262"/>
                  <a:pt x="107" y="263"/>
                  <a:pt x="107" y="263"/>
                </a:cubicBezTo>
                <a:cubicBezTo>
                  <a:pt x="109" y="263"/>
                  <a:pt x="110" y="263"/>
                  <a:pt x="111" y="262"/>
                </a:cubicBezTo>
                <a:close/>
                <a:moveTo>
                  <a:pt x="133" y="207"/>
                </a:moveTo>
                <a:cubicBezTo>
                  <a:pt x="131" y="207"/>
                  <a:pt x="130" y="207"/>
                  <a:pt x="128" y="207"/>
                </a:cubicBezTo>
                <a:cubicBezTo>
                  <a:pt x="126" y="207"/>
                  <a:pt x="125" y="207"/>
                  <a:pt x="123" y="207"/>
                </a:cubicBezTo>
                <a:cubicBezTo>
                  <a:pt x="122" y="207"/>
                  <a:pt x="121" y="207"/>
                  <a:pt x="120" y="207"/>
                </a:cubicBezTo>
                <a:cubicBezTo>
                  <a:pt x="119" y="206"/>
                  <a:pt x="119" y="206"/>
                  <a:pt x="118" y="206"/>
                </a:cubicBezTo>
                <a:cubicBezTo>
                  <a:pt x="116" y="206"/>
                  <a:pt x="114" y="205"/>
                  <a:pt x="112" y="205"/>
                </a:cubicBezTo>
                <a:cubicBezTo>
                  <a:pt x="111" y="204"/>
                  <a:pt x="109" y="204"/>
                  <a:pt x="107" y="203"/>
                </a:cubicBezTo>
                <a:cubicBezTo>
                  <a:pt x="106" y="203"/>
                  <a:pt x="106" y="203"/>
                  <a:pt x="106" y="203"/>
                </a:cubicBezTo>
                <a:cubicBezTo>
                  <a:pt x="104" y="202"/>
                  <a:pt x="104" y="202"/>
                  <a:pt x="104" y="202"/>
                </a:cubicBezTo>
                <a:cubicBezTo>
                  <a:pt x="104" y="202"/>
                  <a:pt x="103" y="202"/>
                  <a:pt x="102" y="201"/>
                </a:cubicBezTo>
                <a:cubicBezTo>
                  <a:pt x="99" y="200"/>
                  <a:pt x="96" y="198"/>
                  <a:pt x="93" y="197"/>
                </a:cubicBezTo>
                <a:cubicBezTo>
                  <a:pt x="92" y="196"/>
                  <a:pt x="91" y="196"/>
                  <a:pt x="90" y="195"/>
                </a:cubicBezTo>
                <a:cubicBezTo>
                  <a:pt x="89" y="194"/>
                  <a:pt x="89" y="194"/>
                  <a:pt x="88" y="193"/>
                </a:cubicBezTo>
                <a:cubicBezTo>
                  <a:pt x="86" y="192"/>
                  <a:pt x="86" y="192"/>
                  <a:pt x="86" y="192"/>
                </a:cubicBezTo>
                <a:cubicBezTo>
                  <a:pt x="86" y="192"/>
                  <a:pt x="85" y="191"/>
                  <a:pt x="84" y="190"/>
                </a:cubicBezTo>
                <a:cubicBezTo>
                  <a:pt x="83" y="190"/>
                  <a:pt x="82" y="189"/>
                  <a:pt x="81" y="188"/>
                </a:cubicBezTo>
                <a:cubicBezTo>
                  <a:pt x="81" y="188"/>
                  <a:pt x="80" y="187"/>
                  <a:pt x="79" y="186"/>
                </a:cubicBezTo>
                <a:cubicBezTo>
                  <a:pt x="77" y="184"/>
                  <a:pt x="74" y="182"/>
                  <a:pt x="72" y="179"/>
                </a:cubicBezTo>
                <a:cubicBezTo>
                  <a:pt x="72" y="178"/>
                  <a:pt x="71" y="177"/>
                  <a:pt x="71" y="177"/>
                </a:cubicBezTo>
                <a:cubicBezTo>
                  <a:pt x="70" y="176"/>
                  <a:pt x="70" y="176"/>
                  <a:pt x="70" y="176"/>
                </a:cubicBezTo>
                <a:cubicBezTo>
                  <a:pt x="69" y="174"/>
                  <a:pt x="69" y="174"/>
                  <a:pt x="69" y="174"/>
                </a:cubicBezTo>
                <a:cubicBezTo>
                  <a:pt x="68" y="173"/>
                  <a:pt x="67" y="171"/>
                  <a:pt x="66" y="170"/>
                </a:cubicBezTo>
                <a:cubicBezTo>
                  <a:pt x="65" y="168"/>
                  <a:pt x="64" y="166"/>
                  <a:pt x="64" y="165"/>
                </a:cubicBezTo>
                <a:cubicBezTo>
                  <a:pt x="63" y="164"/>
                  <a:pt x="63" y="163"/>
                  <a:pt x="62" y="162"/>
                </a:cubicBezTo>
                <a:cubicBezTo>
                  <a:pt x="62" y="162"/>
                  <a:pt x="62" y="161"/>
                  <a:pt x="61" y="160"/>
                </a:cubicBezTo>
                <a:cubicBezTo>
                  <a:pt x="61" y="158"/>
                  <a:pt x="60" y="157"/>
                  <a:pt x="60" y="155"/>
                </a:cubicBezTo>
                <a:cubicBezTo>
                  <a:pt x="59" y="154"/>
                  <a:pt x="59" y="152"/>
                  <a:pt x="58" y="151"/>
                </a:cubicBezTo>
                <a:cubicBezTo>
                  <a:pt x="58" y="150"/>
                  <a:pt x="58" y="150"/>
                  <a:pt x="58" y="149"/>
                </a:cubicBezTo>
                <a:cubicBezTo>
                  <a:pt x="58" y="148"/>
                  <a:pt x="58" y="148"/>
                  <a:pt x="57" y="147"/>
                </a:cubicBezTo>
                <a:cubicBezTo>
                  <a:pt x="57" y="146"/>
                  <a:pt x="57" y="145"/>
                  <a:pt x="57" y="144"/>
                </a:cubicBezTo>
                <a:cubicBezTo>
                  <a:pt x="57" y="143"/>
                  <a:pt x="56" y="142"/>
                  <a:pt x="56" y="142"/>
                </a:cubicBezTo>
                <a:cubicBezTo>
                  <a:pt x="56" y="142"/>
                  <a:pt x="56" y="141"/>
                  <a:pt x="56" y="139"/>
                </a:cubicBezTo>
                <a:cubicBezTo>
                  <a:pt x="56" y="138"/>
                  <a:pt x="56" y="137"/>
                  <a:pt x="56" y="136"/>
                </a:cubicBezTo>
                <a:cubicBezTo>
                  <a:pt x="56" y="136"/>
                  <a:pt x="56" y="135"/>
                  <a:pt x="56" y="134"/>
                </a:cubicBezTo>
                <a:cubicBezTo>
                  <a:pt x="56" y="134"/>
                  <a:pt x="56" y="133"/>
                  <a:pt x="56" y="132"/>
                </a:cubicBezTo>
                <a:cubicBezTo>
                  <a:pt x="56" y="131"/>
                  <a:pt x="56" y="130"/>
                  <a:pt x="56" y="128"/>
                </a:cubicBezTo>
                <a:cubicBezTo>
                  <a:pt x="56" y="126"/>
                  <a:pt x="56" y="125"/>
                  <a:pt x="56" y="123"/>
                </a:cubicBezTo>
                <a:cubicBezTo>
                  <a:pt x="56" y="122"/>
                  <a:pt x="56" y="121"/>
                  <a:pt x="57" y="120"/>
                </a:cubicBezTo>
                <a:cubicBezTo>
                  <a:pt x="57" y="119"/>
                  <a:pt x="57" y="119"/>
                  <a:pt x="57" y="118"/>
                </a:cubicBezTo>
                <a:cubicBezTo>
                  <a:pt x="58" y="116"/>
                  <a:pt x="58" y="114"/>
                  <a:pt x="58" y="112"/>
                </a:cubicBezTo>
                <a:cubicBezTo>
                  <a:pt x="59" y="110"/>
                  <a:pt x="59" y="109"/>
                  <a:pt x="60" y="107"/>
                </a:cubicBezTo>
                <a:cubicBezTo>
                  <a:pt x="60" y="106"/>
                  <a:pt x="60" y="106"/>
                  <a:pt x="60" y="106"/>
                </a:cubicBezTo>
                <a:cubicBezTo>
                  <a:pt x="61" y="104"/>
                  <a:pt x="61" y="104"/>
                  <a:pt x="61" y="104"/>
                </a:cubicBezTo>
                <a:cubicBezTo>
                  <a:pt x="61" y="104"/>
                  <a:pt x="62" y="103"/>
                  <a:pt x="62" y="102"/>
                </a:cubicBezTo>
                <a:cubicBezTo>
                  <a:pt x="63" y="99"/>
                  <a:pt x="65" y="96"/>
                  <a:pt x="66" y="93"/>
                </a:cubicBezTo>
                <a:cubicBezTo>
                  <a:pt x="67" y="92"/>
                  <a:pt x="67" y="91"/>
                  <a:pt x="68" y="90"/>
                </a:cubicBezTo>
                <a:cubicBezTo>
                  <a:pt x="69" y="89"/>
                  <a:pt x="69" y="88"/>
                  <a:pt x="70" y="88"/>
                </a:cubicBezTo>
                <a:cubicBezTo>
                  <a:pt x="71" y="86"/>
                  <a:pt x="71" y="86"/>
                  <a:pt x="71" y="86"/>
                </a:cubicBezTo>
                <a:cubicBezTo>
                  <a:pt x="71" y="86"/>
                  <a:pt x="72" y="85"/>
                  <a:pt x="73" y="84"/>
                </a:cubicBezTo>
                <a:cubicBezTo>
                  <a:pt x="73" y="83"/>
                  <a:pt x="74" y="82"/>
                  <a:pt x="75" y="81"/>
                </a:cubicBezTo>
                <a:cubicBezTo>
                  <a:pt x="76" y="81"/>
                  <a:pt x="76" y="80"/>
                  <a:pt x="77" y="79"/>
                </a:cubicBezTo>
                <a:cubicBezTo>
                  <a:pt x="79" y="77"/>
                  <a:pt x="82" y="74"/>
                  <a:pt x="84" y="72"/>
                </a:cubicBezTo>
                <a:cubicBezTo>
                  <a:pt x="85" y="72"/>
                  <a:pt x="86" y="71"/>
                  <a:pt x="86" y="71"/>
                </a:cubicBezTo>
                <a:cubicBezTo>
                  <a:pt x="88" y="70"/>
                  <a:pt x="88" y="70"/>
                  <a:pt x="88" y="70"/>
                </a:cubicBezTo>
                <a:cubicBezTo>
                  <a:pt x="89" y="69"/>
                  <a:pt x="89" y="69"/>
                  <a:pt x="89" y="69"/>
                </a:cubicBezTo>
                <a:cubicBezTo>
                  <a:pt x="90" y="68"/>
                  <a:pt x="92" y="67"/>
                  <a:pt x="93" y="66"/>
                </a:cubicBezTo>
                <a:cubicBezTo>
                  <a:pt x="95" y="65"/>
                  <a:pt x="97" y="64"/>
                  <a:pt x="98" y="63"/>
                </a:cubicBezTo>
                <a:cubicBezTo>
                  <a:pt x="99" y="63"/>
                  <a:pt x="100" y="63"/>
                  <a:pt x="101" y="62"/>
                </a:cubicBezTo>
                <a:cubicBezTo>
                  <a:pt x="102" y="62"/>
                  <a:pt x="102" y="62"/>
                  <a:pt x="103" y="61"/>
                </a:cubicBezTo>
                <a:cubicBezTo>
                  <a:pt x="105" y="61"/>
                  <a:pt x="106" y="60"/>
                  <a:pt x="108" y="60"/>
                </a:cubicBezTo>
                <a:cubicBezTo>
                  <a:pt x="109" y="59"/>
                  <a:pt x="111" y="59"/>
                  <a:pt x="112" y="58"/>
                </a:cubicBezTo>
                <a:cubicBezTo>
                  <a:pt x="113" y="58"/>
                  <a:pt x="114" y="58"/>
                  <a:pt x="114" y="58"/>
                </a:cubicBezTo>
                <a:cubicBezTo>
                  <a:pt x="115" y="58"/>
                  <a:pt x="115" y="57"/>
                  <a:pt x="116" y="57"/>
                </a:cubicBezTo>
                <a:cubicBezTo>
                  <a:pt x="117" y="57"/>
                  <a:pt x="118" y="57"/>
                  <a:pt x="119" y="57"/>
                </a:cubicBezTo>
                <a:cubicBezTo>
                  <a:pt x="120" y="57"/>
                  <a:pt x="121" y="56"/>
                  <a:pt x="121" y="56"/>
                </a:cubicBezTo>
                <a:cubicBezTo>
                  <a:pt x="121" y="56"/>
                  <a:pt x="122" y="56"/>
                  <a:pt x="124" y="56"/>
                </a:cubicBezTo>
                <a:cubicBezTo>
                  <a:pt x="125" y="56"/>
                  <a:pt x="126" y="56"/>
                  <a:pt x="127" y="56"/>
                </a:cubicBezTo>
                <a:cubicBezTo>
                  <a:pt x="127" y="56"/>
                  <a:pt x="128" y="56"/>
                  <a:pt x="129" y="56"/>
                </a:cubicBezTo>
                <a:cubicBezTo>
                  <a:pt x="129" y="56"/>
                  <a:pt x="130" y="56"/>
                  <a:pt x="131" y="56"/>
                </a:cubicBezTo>
                <a:cubicBezTo>
                  <a:pt x="132" y="56"/>
                  <a:pt x="134" y="56"/>
                  <a:pt x="135" y="56"/>
                </a:cubicBezTo>
                <a:cubicBezTo>
                  <a:pt x="137" y="56"/>
                  <a:pt x="138" y="56"/>
                  <a:pt x="140" y="56"/>
                </a:cubicBezTo>
                <a:cubicBezTo>
                  <a:pt x="141" y="56"/>
                  <a:pt x="142" y="56"/>
                  <a:pt x="143" y="57"/>
                </a:cubicBezTo>
                <a:cubicBezTo>
                  <a:pt x="144" y="57"/>
                  <a:pt x="145" y="57"/>
                  <a:pt x="145" y="57"/>
                </a:cubicBezTo>
                <a:cubicBezTo>
                  <a:pt x="147" y="57"/>
                  <a:pt x="149" y="58"/>
                  <a:pt x="151" y="58"/>
                </a:cubicBezTo>
                <a:cubicBezTo>
                  <a:pt x="153" y="59"/>
                  <a:pt x="154" y="59"/>
                  <a:pt x="156" y="60"/>
                </a:cubicBezTo>
                <a:cubicBezTo>
                  <a:pt x="158" y="60"/>
                  <a:pt x="158" y="60"/>
                  <a:pt x="158" y="60"/>
                </a:cubicBezTo>
                <a:cubicBezTo>
                  <a:pt x="159" y="61"/>
                  <a:pt x="159" y="61"/>
                  <a:pt x="159" y="61"/>
                </a:cubicBezTo>
                <a:cubicBezTo>
                  <a:pt x="160" y="61"/>
                  <a:pt x="160" y="61"/>
                  <a:pt x="161" y="62"/>
                </a:cubicBezTo>
                <a:cubicBezTo>
                  <a:pt x="164" y="63"/>
                  <a:pt x="167" y="65"/>
                  <a:pt x="170" y="66"/>
                </a:cubicBezTo>
                <a:cubicBezTo>
                  <a:pt x="171" y="67"/>
                  <a:pt x="172" y="67"/>
                  <a:pt x="173" y="68"/>
                </a:cubicBezTo>
                <a:cubicBezTo>
                  <a:pt x="174" y="69"/>
                  <a:pt x="175" y="69"/>
                  <a:pt x="175" y="70"/>
                </a:cubicBezTo>
                <a:cubicBezTo>
                  <a:pt x="177" y="71"/>
                  <a:pt x="178" y="71"/>
                  <a:pt x="178" y="71"/>
                </a:cubicBezTo>
                <a:cubicBezTo>
                  <a:pt x="178" y="71"/>
                  <a:pt x="178" y="72"/>
                  <a:pt x="179" y="73"/>
                </a:cubicBezTo>
                <a:cubicBezTo>
                  <a:pt x="180" y="73"/>
                  <a:pt x="181" y="74"/>
                  <a:pt x="182" y="75"/>
                </a:cubicBezTo>
                <a:cubicBezTo>
                  <a:pt x="183" y="75"/>
                  <a:pt x="184" y="76"/>
                  <a:pt x="185" y="77"/>
                </a:cubicBezTo>
                <a:cubicBezTo>
                  <a:pt x="186" y="79"/>
                  <a:pt x="189" y="82"/>
                  <a:pt x="191" y="84"/>
                </a:cubicBezTo>
                <a:cubicBezTo>
                  <a:pt x="191" y="85"/>
                  <a:pt x="192" y="86"/>
                  <a:pt x="193" y="86"/>
                </a:cubicBezTo>
                <a:cubicBezTo>
                  <a:pt x="193" y="87"/>
                  <a:pt x="193" y="87"/>
                  <a:pt x="193" y="87"/>
                </a:cubicBezTo>
                <a:cubicBezTo>
                  <a:pt x="194" y="89"/>
                  <a:pt x="194" y="89"/>
                  <a:pt x="194" y="89"/>
                </a:cubicBezTo>
                <a:cubicBezTo>
                  <a:pt x="195" y="90"/>
                  <a:pt x="196" y="92"/>
                  <a:pt x="197" y="93"/>
                </a:cubicBezTo>
                <a:cubicBezTo>
                  <a:pt x="198" y="95"/>
                  <a:pt x="199" y="97"/>
                  <a:pt x="200" y="98"/>
                </a:cubicBezTo>
                <a:cubicBezTo>
                  <a:pt x="200" y="99"/>
                  <a:pt x="201" y="100"/>
                  <a:pt x="201" y="101"/>
                </a:cubicBezTo>
                <a:cubicBezTo>
                  <a:pt x="201" y="101"/>
                  <a:pt x="202" y="102"/>
                  <a:pt x="202" y="103"/>
                </a:cubicBezTo>
                <a:cubicBezTo>
                  <a:pt x="202" y="105"/>
                  <a:pt x="203" y="106"/>
                  <a:pt x="204" y="108"/>
                </a:cubicBezTo>
                <a:cubicBezTo>
                  <a:pt x="204" y="109"/>
                  <a:pt x="204" y="111"/>
                  <a:pt x="205" y="112"/>
                </a:cubicBezTo>
                <a:cubicBezTo>
                  <a:pt x="205" y="113"/>
                  <a:pt x="205" y="113"/>
                  <a:pt x="205" y="114"/>
                </a:cubicBezTo>
                <a:cubicBezTo>
                  <a:pt x="206" y="115"/>
                  <a:pt x="206" y="115"/>
                  <a:pt x="206" y="116"/>
                </a:cubicBezTo>
                <a:cubicBezTo>
                  <a:pt x="206" y="117"/>
                  <a:pt x="206" y="118"/>
                  <a:pt x="206" y="119"/>
                </a:cubicBezTo>
                <a:cubicBezTo>
                  <a:pt x="207" y="120"/>
                  <a:pt x="207" y="121"/>
                  <a:pt x="207" y="121"/>
                </a:cubicBezTo>
                <a:cubicBezTo>
                  <a:pt x="207" y="121"/>
                  <a:pt x="207" y="122"/>
                  <a:pt x="207" y="124"/>
                </a:cubicBezTo>
                <a:cubicBezTo>
                  <a:pt x="207" y="125"/>
                  <a:pt x="207" y="126"/>
                  <a:pt x="207" y="127"/>
                </a:cubicBezTo>
                <a:cubicBezTo>
                  <a:pt x="207" y="127"/>
                  <a:pt x="207" y="128"/>
                  <a:pt x="207" y="129"/>
                </a:cubicBezTo>
                <a:cubicBezTo>
                  <a:pt x="207" y="129"/>
                  <a:pt x="207" y="130"/>
                  <a:pt x="207" y="131"/>
                </a:cubicBezTo>
                <a:cubicBezTo>
                  <a:pt x="207" y="132"/>
                  <a:pt x="207" y="134"/>
                  <a:pt x="207" y="135"/>
                </a:cubicBezTo>
                <a:cubicBezTo>
                  <a:pt x="207" y="137"/>
                  <a:pt x="207" y="138"/>
                  <a:pt x="207" y="140"/>
                </a:cubicBezTo>
                <a:cubicBezTo>
                  <a:pt x="207" y="141"/>
                  <a:pt x="207" y="142"/>
                  <a:pt x="207" y="143"/>
                </a:cubicBezTo>
                <a:cubicBezTo>
                  <a:pt x="207" y="144"/>
                  <a:pt x="206" y="145"/>
                  <a:pt x="206" y="145"/>
                </a:cubicBezTo>
                <a:cubicBezTo>
                  <a:pt x="206" y="147"/>
                  <a:pt x="205" y="149"/>
                  <a:pt x="205" y="151"/>
                </a:cubicBezTo>
                <a:cubicBezTo>
                  <a:pt x="204" y="153"/>
                  <a:pt x="204" y="154"/>
                  <a:pt x="203" y="156"/>
                </a:cubicBezTo>
                <a:cubicBezTo>
                  <a:pt x="203" y="157"/>
                  <a:pt x="203" y="157"/>
                  <a:pt x="203" y="157"/>
                </a:cubicBezTo>
                <a:cubicBezTo>
                  <a:pt x="202" y="159"/>
                  <a:pt x="202" y="159"/>
                  <a:pt x="202" y="159"/>
                </a:cubicBezTo>
                <a:cubicBezTo>
                  <a:pt x="202" y="160"/>
                  <a:pt x="202" y="160"/>
                  <a:pt x="201" y="161"/>
                </a:cubicBezTo>
                <a:cubicBezTo>
                  <a:pt x="200" y="164"/>
                  <a:pt x="198" y="167"/>
                  <a:pt x="197" y="170"/>
                </a:cubicBezTo>
                <a:cubicBezTo>
                  <a:pt x="197" y="171"/>
                  <a:pt x="196" y="172"/>
                  <a:pt x="195" y="173"/>
                </a:cubicBezTo>
                <a:cubicBezTo>
                  <a:pt x="194" y="174"/>
                  <a:pt x="194" y="175"/>
                  <a:pt x="193" y="175"/>
                </a:cubicBezTo>
                <a:cubicBezTo>
                  <a:pt x="193" y="177"/>
                  <a:pt x="192" y="177"/>
                  <a:pt x="192" y="177"/>
                </a:cubicBezTo>
                <a:cubicBezTo>
                  <a:pt x="192" y="177"/>
                  <a:pt x="191" y="178"/>
                  <a:pt x="190" y="179"/>
                </a:cubicBezTo>
                <a:cubicBezTo>
                  <a:pt x="190" y="180"/>
                  <a:pt x="189" y="181"/>
                  <a:pt x="188" y="182"/>
                </a:cubicBezTo>
                <a:cubicBezTo>
                  <a:pt x="188" y="183"/>
                  <a:pt x="187" y="184"/>
                  <a:pt x="186" y="184"/>
                </a:cubicBezTo>
                <a:cubicBezTo>
                  <a:pt x="184" y="186"/>
                  <a:pt x="182" y="189"/>
                  <a:pt x="179" y="191"/>
                </a:cubicBezTo>
                <a:cubicBezTo>
                  <a:pt x="178" y="191"/>
                  <a:pt x="177" y="192"/>
                  <a:pt x="177" y="192"/>
                </a:cubicBezTo>
                <a:cubicBezTo>
                  <a:pt x="176" y="193"/>
                  <a:pt x="176" y="193"/>
                  <a:pt x="176" y="193"/>
                </a:cubicBezTo>
                <a:cubicBezTo>
                  <a:pt x="174" y="194"/>
                  <a:pt x="174" y="194"/>
                  <a:pt x="174" y="194"/>
                </a:cubicBezTo>
                <a:cubicBezTo>
                  <a:pt x="173" y="195"/>
                  <a:pt x="171" y="196"/>
                  <a:pt x="170" y="197"/>
                </a:cubicBezTo>
                <a:cubicBezTo>
                  <a:pt x="168" y="198"/>
                  <a:pt x="167" y="199"/>
                  <a:pt x="165" y="200"/>
                </a:cubicBezTo>
                <a:cubicBezTo>
                  <a:pt x="164" y="200"/>
                  <a:pt x="163" y="201"/>
                  <a:pt x="162" y="201"/>
                </a:cubicBezTo>
                <a:cubicBezTo>
                  <a:pt x="162" y="201"/>
                  <a:pt x="161" y="201"/>
                  <a:pt x="160" y="202"/>
                </a:cubicBezTo>
                <a:cubicBezTo>
                  <a:pt x="158" y="202"/>
                  <a:pt x="157" y="203"/>
                  <a:pt x="155" y="204"/>
                </a:cubicBezTo>
                <a:cubicBezTo>
                  <a:pt x="154" y="204"/>
                  <a:pt x="152" y="204"/>
                  <a:pt x="151" y="205"/>
                </a:cubicBezTo>
                <a:cubicBezTo>
                  <a:pt x="150" y="205"/>
                  <a:pt x="150" y="205"/>
                  <a:pt x="149" y="205"/>
                </a:cubicBezTo>
                <a:cubicBezTo>
                  <a:pt x="148" y="205"/>
                  <a:pt x="148" y="206"/>
                  <a:pt x="147" y="206"/>
                </a:cubicBezTo>
                <a:cubicBezTo>
                  <a:pt x="146" y="206"/>
                  <a:pt x="145" y="206"/>
                  <a:pt x="144" y="206"/>
                </a:cubicBezTo>
                <a:cubicBezTo>
                  <a:pt x="143" y="207"/>
                  <a:pt x="142" y="207"/>
                  <a:pt x="142" y="207"/>
                </a:cubicBezTo>
                <a:cubicBezTo>
                  <a:pt x="142" y="207"/>
                  <a:pt x="141" y="207"/>
                  <a:pt x="139" y="207"/>
                </a:cubicBezTo>
                <a:cubicBezTo>
                  <a:pt x="138" y="207"/>
                  <a:pt x="137" y="207"/>
                  <a:pt x="136" y="207"/>
                </a:cubicBezTo>
                <a:cubicBezTo>
                  <a:pt x="136" y="207"/>
                  <a:pt x="135" y="207"/>
                  <a:pt x="135" y="207"/>
                </a:cubicBezTo>
                <a:cubicBezTo>
                  <a:pt x="134" y="207"/>
                  <a:pt x="133" y="207"/>
                  <a:pt x="133" y="20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D2403CDD-4678-4FB5-B83D-A386068E157B}"/>
              </a:ext>
            </a:extLst>
          </p:cNvPr>
          <p:cNvSpPr/>
          <p:nvPr/>
        </p:nvSpPr>
        <p:spPr>
          <a:xfrm>
            <a:off x="8938848" y="2648490"/>
            <a:ext cx="884243" cy="740843"/>
          </a:xfrm>
          <a:custGeom>
            <a:avLst/>
            <a:gdLst>
              <a:gd name="connsiteX0" fmla="*/ 552739 w 609615"/>
              <a:gd name="connsiteY0" fmla="*/ 397213 h 510753"/>
              <a:gd name="connsiteX1" fmla="*/ 609615 w 609615"/>
              <a:gd name="connsiteY1" fmla="*/ 453983 h 510753"/>
              <a:gd name="connsiteX2" fmla="*/ 552739 w 609615"/>
              <a:gd name="connsiteY2" fmla="*/ 510753 h 510753"/>
              <a:gd name="connsiteX3" fmla="*/ 495863 w 609615"/>
              <a:gd name="connsiteY3" fmla="*/ 453983 h 510753"/>
              <a:gd name="connsiteX4" fmla="*/ 552739 w 609615"/>
              <a:gd name="connsiteY4" fmla="*/ 397213 h 510753"/>
              <a:gd name="connsiteX5" fmla="*/ 547870 w 609615"/>
              <a:gd name="connsiteY5" fmla="*/ 198571 h 510753"/>
              <a:gd name="connsiteX6" fmla="*/ 604746 w 609615"/>
              <a:gd name="connsiteY6" fmla="*/ 255341 h 510753"/>
              <a:gd name="connsiteX7" fmla="*/ 547870 w 609615"/>
              <a:gd name="connsiteY7" fmla="*/ 312111 h 510753"/>
              <a:gd name="connsiteX8" fmla="*/ 490994 w 609615"/>
              <a:gd name="connsiteY8" fmla="*/ 255341 h 510753"/>
              <a:gd name="connsiteX9" fmla="*/ 547870 w 609615"/>
              <a:gd name="connsiteY9" fmla="*/ 198571 h 510753"/>
              <a:gd name="connsiteX10" fmla="*/ 119644 w 609615"/>
              <a:gd name="connsiteY10" fmla="*/ 191797 h 510753"/>
              <a:gd name="connsiteX11" fmla="*/ 127891 w 609615"/>
              <a:gd name="connsiteY11" fmla="*/ 196674 h 510753"/>
              <a:gd name="connsiteX12" fmla="*/ 121502 w 609615"/>
              <a:gd name="connsiteY12" fmla="*/ 203292 h 510753"/>
              <a:gd name="connsiteX13" fmla="*/ 129982 w 609615"/>
              <a:gd name="connsiteY13" fmla="*/ 212233 h 510753"/>
              <a:gd name="connsiteX14" fmla="*/ 122664 w 609615"/>
              <a:gd name="connsiteY14" fmla="*/ 226050 h 510753"/>
              <a:gd name="connsiteX15" fmla="*/ 115462 w 609615"/>
              <a:gd name="connsiteY15" fmla="*/ 225702 h 510753"/>
              <a:gd name="connsiteX16" fmla="*/ 109306 w 609615"/>
              <a:gd name="connsiteY16" fmla="*/ 211652 h 510753"/>
              <a:gd name="connsiteX17" fmla="*/ 117669 w 609615"/>
              <a:gd name="connsiteY17" fmla="*/ 203176 h 510753"/>
              <a:gd name="connsiteX18" fmla="*/ 111513 w 609615"/>
              <a:gd name="connsiteY18" fmla="*/ 196441 h 510753"/>
              <a:gd name="connsiteX19" fmla="*/ 88250 w 609615"/>
              <a:gd name="connsiteY19" fmla="*/ 191374 h 510753"/>
              <a:gd name="connsiteX20" fmla="*/ 111272 w 609615"/>
              <a:gd name="connsiteY20" fmla="*/ 231774 h 510753"/>
              <a:gd name="connsiteX21" fmla="*/ 119760 w 609615"/>
              <a:gd name="connsiteY21" fmla="*/ 238160 h 510753"/>
              <a:gd name="connsiteX22" fmla="*/ 128364 w 609615"/>
              <a:gd name="connsiteY22" fmla="*/ 231891 h 510753"/>
              <a:gd name="connsiteX23" fmla="*/ 152316 w 609615"/>
              <a:gd name="connsiteY23" fmla="*/ 191490 h 510753"/>
              <a:gd name="connsiteX24" fmla="*/ 195918 w 609615"/>
              <a:gd name="connsiteY24" fmla="*/ 193812 h 510753"/>
              <a:gd name="connsiteX25" fmla="*/ 228241 w 609615"/>
              <a:gd name="connsiteY25" fmla="*/ 204725 h 510753"/>
              <a:gd name="connsiteX26" fmla="*/ 239287 w 609615"/>
              <a:gd name="connsiteY26" fmla="*/ 236302 h 510753"/>
              <a:gd name="connsiteX27" fmla="*/ 239287 w 609615"/>
              <a:gd name="connsiteY27" fmla="*/ 249653 h 510753"/>
              <a:gd name="connsiteX28" fmla="*/ 183360 w 609615"/>
              <a:gd name="connsiteY28" fmla="*/ 461987 h 510753"/>
              <a:gd name="connsiteX29" fmla="*/ 132433 w 609615"/>
              <a:gd name="connsiteY29" fmla="*/ 501227 h 510753"/>
              <a:gd name="connsiteX30" fmla="*/ 122085 w 609615"/>
              <a:gd name="connsiteY30" fmla="*/ 501227 h 510753"/>
              <a:gd name="connsiteX31" fmla="*/ 68949 w 609615"/>
              <a:gd name="connsiteY31" fmla="*/ 462568 h 510753"/>
              <a:gd name="connsiteX32" fmla="*/ 0 w 609615"/>
              <a:gd name="connsiteY32" fmla="*/ 249769 h 510753"/>
              <a:gd name="connsiteX33" fmla="*/ 0 w 609615"/>
              <a:gd name="connsiteY33" fmla="*/ 236302 h 510753"/>
              <a:gd name="connsiteX34" fmla="*/ 11046 w 609615"/>
              <a:gd name="connsiteY34" fmla="*/ 204725 h 510753"/>
              <a:gd name="connsiteX35" fmla="*/ 43369 w 609615"/>
              <a:gd name="connsiteY35" fmla="*/ 193812 h 510753"/>
              <a:gd name="connsiteX36" fmla="*/ 138106 w 609615"/>
              <a:gd name="connsiteY36" fmla="*/ 151894 h 510753"/>
              <a:gd name="connsiteX37" fmla="*/ 143448 w 609615"/>
              <a:gd name="connsiteY37" fmla="*/ 154218 h 510753"/>
              <a:gd name="connsiteX38" fmla="*/ 141125 w 609615"/>
              <a:gd name="connsiteY38" fmla="*/ 159679 h 510753"/>
              <a:gd name="connsiteX39" fmla="*/ 118014 w 609615"/>
              <a:gd name="connsiteY39" fmla="*/ 164559 h 510753"/>
              <a:gd name="connsiteX40" fmla="*/ 98271 w 609615"/>
              <a:gd name="connsiteY40" fmla="*/ 158982 h 510753"/>
              <a:gd name="connsiteX41" fmla="*/ 97691 w 609615"/>
              <a:gd name="connsiteY41" fmla="*/ 153172 h 510753"/>
              <a:gd name="connsiteX42" fmla="*/ 103497 w 609615"/>
              <a:gd name="connsiteY42" fmla="*/ 152591 h 510753"/>
              <a:gd name="connsiteX43" fmla="*/ 138106 w 609615"/>
              <a:gd name="connsiteY43" fmla="*/ 151894 h 510753"/>
              <a:gd name="connsiteX44" fmla="*/ 139648 w 609615"/>
              <a:gd name="connsiteY44" fmla="*/ 119739 h 510753"/>
              <a:gd name="connsiteX45" fmla="*/ 149316 w 609615"/>
              <a:gd name="connsiteY45" fmla="*/ 134921 h 510753"/>
              <a:gd name="connsiteX46" fmla="*/ 129981 w 609615"/>
              <a:gd name="connsiteY46" fmla="*/ 134921 h 510753"/>
              <a:gd name="connsiteX47" fmla="*/ 139648 w 609615"/>
              <a:gd name="connsiteY47" fmla="*/ 119739 h 510753"/>
              <a:gd name="connsiteX48" fmla="*/ 91170 w 609615"/>
              <a:gd name="connsiteY48" fmla="*/ 119739 h 510753"/>
              <a:gd name="connsiteX49" fmla="*/ 100838 w 609615"/>
              <a:gd name="connsiteY49" fmla="*/ 134921 h 510753"/>
              <a:gd name="connsiteX50" fmla="*/ 81503 w 609615"/>
              <a:gd name="connsiteY50" fmla="*/ 134921 h 510753"/>
              <a:gd name="connsiteX51" fmla="*/ 91170 w 609615"/>
              <a:gd name="connsiteY51" fmla="*/ 119739 h 510753"/>
              <a:gd name="connsiteX52" fmla="*/ 95591 w 609615"/>
              <a:gd name="connsiteY52" fmla="*/ 95554 h 510753"/>
              <a:gd name="connsiteX53" fmla="*/ 67686 w 609615"/>
              <a:gd name="connsiteY53" fmla="*/ 130042 h 510753"/>
              <a:gd name="connsiteX54" fmla="*/ 67686 w 609615"/>
              <a:gd name="connsiteY54" fmla="*/ 157679 h 510753"/>
              <a:gd name="connsiteX55" fmla="*/ 84313 w 609615"/>
              <a:gd name="connsiteY55" fmla="*/ 174168 h 510753"/>
              <a:gd name="connsiteX56" fmla="*/ 153379 w 609615"/>
              <a:gd name="connsiteY56" fmla="*/ 174168 h 510753"/>
              <a:gd name="connsiteX57" fmla="*/ 169890 w 609615"/>
              <a:gd name="connsiteY57" fmla="*/ 157562 h 510753"/>
              <a:gd name="connsiteX58" fmla="*/ 169890 w 609615"/>
              <a:gd name="connsiteY58" fmla="*/ 112043 h 510753"/>
              <a:gd name="connsiteX59" fmla="*/ 100359 w 609615"/>
              <a:gd name="connsiteY59" fmla="*/ 95554 h 510753"/>
              <a:gd name="connsiteX60" fmla="*/ 305807 w 609615"/>
              <a:gd name="connsiteY60" fmla="*/ 35565 h 510753"/>
              <a:gd name="connsiteX61" fmla="*/ 415442 w 609615"/>
              <a:gd name="connsiteY61" fmla="*/ 35565 h 510753"/>
              <a:gd name="connsiteX62" fmla="*/ 433695 w 609615"/>
              <a:gd name="connsiteY62" fmla="*/ 53792 h 510753"/>
              <a:gd name="connsiteX63" fmla="*/ 415442 w 609615"/>
              <a:gd name="connsiteY63" fmla="*/ 72018 h 510753"/>
              <a:gd name="connsiteX64" fmla="*/ 324060 w 609615"/>
              <a:gd name="connsiteY64" fmla="*/ 72018 h 510753"/>
              <a:gd name="connsiteX65" fmla="*/ 324060 w 609615"/>
              <a:gd name="connsiteY65" fmla="*/ 237103 h 510753"/>
              <a:gd name="connsiteX66" fmla="*/ 415442 w 609615"/>
              <a:gd name="connsiteY66" fmla="*/ 237103 h 510753"/>
              <a:gd name="connsiteX67" fmla="*/ 433695 w 609615"/>
              <a:gd name="connsiteY67" fmla="*/ 255330 h 510753"/>
              <a:gd name="connsiteX68" fmla="*/ 415442 w 609615"/>
              <a:gd name="connsiteY68" fmla="*/ 273556 h 510753"/>
              <a:gd name="connsiteX69" fmla="*/ 324060 w 609615"/>
              <a:gd name="connsiteY69" fmla="*/ 273556 h 510753"/>
              <a:gd name="connsiteX70" fmla="*/ 324060 w 609615"/>
              <a:gd name="connsiteY70" fmla="*/ 469290 h 510753"/>
              <a:gd name="connsiteX71" fmla="*/ 415442 w 609615"/>
              <a:gd name="connsiteY71" fmla="*/ 469290 h 510753"/>
              <a:gd name="connsiteX72" fmla="*/ 433695 w 609615"/>
              <a:gd name="connsiteY72" fmla="*/ 487516 h 510753"/>
              <a:gd name="connsiteX73" fmla="*/ 415442 w 609615"/>
              <a:gd name="connsiteY73" fmla="*/ 505743 h 510753"/>
              <a:gd name="connsiteX74" fmla="*/ 305807 w 609615"/>
              <a:gd name="connsiteY74" fmla="*/ 505743 h 510753"/>
              <a:gd name="connsiteX75" fmla="*/ 287554 w 609615"/>
              <a:gd name="connsiteY75" fmla="*/ 487516 h 510753"/>
              <a:gd name="connsiteX76" fmla="*/ 287554 w 609615"/>
              <a:gd name="connsiteY76" fmla="*/ 53792 h 510753"/>
              <a:gd name="connsiteX77" fmla="*/ 305807 w 609615"/>
              <a:gd name="connsiteY77" fmla="*/ 35565 h 510753"/>
              <a:gd name="connsiteX78" fmla="*/ 117102 w 609615"/>
              <a:gd name="connsiteY78" fmla="*/ 32037 h 510753"/>
              <a:gd name="connsiteX79" fmla="*/ 179890 w 609615"/>
              <a:gd name="connsiteY79" fmla="*/ 108676 h 510753"/>
              <a:gd name="connsiteX80" fmla="*/ 178262 w 609615"/>
              <a:gd name="connsiteY80" fmla="*/ 109373 h 510753"/>
              <a:gd name="connsiteX81" fmla="*/ 178262 w 609615"/>
              <a:gd name="connsiteY81" fmla="*/ 157679 h 510753"/>
              <a:gd name="connsiteX82" fmla="*/ 153379 w 609615"/>
              <a:gd name="connsiteY82" fmla="*/ 182412 h 510753"/>
              <a:gd name="connsiteX83" fmla="*/ 84313 w 609615"/>
              <a:gd name="connsiteY83" fmla="*/ 182412 h 510753"/>
              <a:gd name="connsiteX84" fmla="*/ 59430 w 609615"/>
              <a:gd name="connsiteY84" fmla="*/ 157562 h 510753"/>
              <a:gd name="connsiteX85" fmla="*/ 59430 w 609615"/>
              <a:gd name="connsiteY85" fmla="*/ 133642 h 510753"/>
              <a:gd name="connsiteX86" fmla="*/ 55593 w 609615"/>
              <a:gd name="connsiteY86" fmla="*/ 134803 h 510753"/>
              <a:gd name="connsiteX87" fmla="*/ 117102 w 609615"/>
              <a:gd name="connsiteY87" fmla="*/ 32037 h 510753"/>
              <a:gd name="connsiteX88" fmla="*/ 543107 w 609615"/>
              <a:gd name="connsiteY88" fmla="*/ 0 h 510753"/>
              <a:gd name="connsiteX89" fmla="*/ 599948 w 609615"/>
              <a:gd name="connsiteY89" fmla="*/ 56770 h 510753"/>
              <a:gd name="connsiteX90" fmla="*/ 543107 w 609615"/>
              <a:gd name="connsiteY90" fmla="*/ 113540 h 510753"/>
              <a:gd name="connsiteX91" fmla="*/ 486266 w 609615"/>
              <a:gd name="connsiteY91" fmla="*/ 56770 h 510753"/>
              <a:gd name="connsiteX92" fmla="*/ 543107 w 609615"/>
              <a:gd name="connsiteY92" fmla="*/ 0 h 510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09615" h="510753">
                <a:moveTo>
                  <a:pt x="552739" y="397213"/>
                </a:moveTo>
                <a:cubicBezTo>
                  <a:pt x="584151" y="397213"/>
                  <a:pt x="609615" y="422630"/>
                  <a:pt x="609615" y="453983"/>
                </a:cubicBezTo>
                <a:cubicBezTo>
                  <a:pt x="609615" y="485336"/>
                  <a:pt x="584151" y="510753"/>
                  <a:pt x="552739" y="510753"/>
                </a:cubicBezTo>
                <a:cubicBezTo>
                  <a:pt x="521327" y="510753"/>
                  <a:pt x="495863" y="485336"/>
                  <a:pt x="495863" y="453983"/>
                </a:cubicBezTo>
                <a:cubicBezTo>
                  <a:pt x="495863" y="422630"/>
                  <a:pt x="521327" y="397213"/>
                  <a:pt x="552739" y="397213"/>
                </a:cubicBezTo>
                <a:close/>
                <a:moveTo>
                  <a:pt x="547870" y="198571"/>
                </a:moveTo>
                <a:cubicBezTo>
                  <a:pt x="579282" y="198571"/>
                  <a:pt x="604746" y="223988"/>
                  <a:pt x="604746" y="255341"/>
                </a:cubicBezTo>
                <a:cubicBezTo>
                  <a:pt x="604746" y="286694"/>
                  <a:pt x="579282" y="312111"/>
                  <a:pt x="547870" y="312111"/>
                </a:cubicBezTo>
                <a:cubicBezTo>
                  <a:pt x="516458" y="312111"/>
                  <a:pt x="490994" y="286694"/>
                  <a:pt x="490994" y="255341"/>
                </a:cubicBezTo>
                <a:cubicBezTo>
                  <a:pt x="490994" y="223988"/>
                  <a:pt x="516458" y="198571"/>
                  <a:pt x="547870" y="198571"/>
                </a:cubicBezTo>
                <a:close/>
                <a:moveTo>
                  <a:pt x="119644" y="191797"/>
                </a:moveTo>
                <a:lnTo>
                  <a:pt x="127891" y="196674"/>
                </a:lnTo>
                <a:lnTo>
                  <a:pt x="121502" y="203292"/>
                </a:lnTo>
                <a:lnTo>
                  <a:pt x="129982" y="212233"/>
                </a:lnTo>
                <a:lnTo>
                  <a:pt x="122664" y="226050"/>
                </a:lnTo>
                <a:cubicBezTo>
                  <a:pt x="120573" y="230114"/>
                  <a:pt x="117321" y="229998"/>
                  <a:pt x="115462" y="225702"/>
                </a:cubicBezTo>
                <a:lnTo>
                  <a:pt x="109306" y="211652"/>
                </a:lnTo>
                <a:lnTo>
                  <a:pt x="117669" y="203176"/>
                </a:lnTo>
                <a:lnTo>
                  <a:pt x="111513" y="196441"/>
                </a:lnTo>
                <a:close/>
                <a:moveTo>
                  <a:pt x="88250" y="191374"/>
                </a:moveTo>
                <a:lnTo>
                  <a:pt x="111272" y="231774"/>
                </a:lnTo>
                <a:cubicBezTo>
                  <a:pt x="113597" y="235954"/>
                  <a:pt x="116620" y="238160"/>
                  <a:pt x="119760" y="238160"/>
                </a:cubicBezTo>
                <a:cubicBezTo>
                  <a:pt x="123015" y="238160"/>
                  <a:pt x="126038" y="235954"/>
                  <a:pt x="128364" y="231891"/>
                </a:cubicBezTo>
                <a:lnTo>
                  <a:pt x="152316" y="191490"/>
                </a:lnTo>
                <a:lnTo>
                  <a:pt x="195918" y="193812"/>
                </a:lnTo>
                <a:cubicBezTo>
                  <a:pt x="207894" y="194392"/>
                  <a:pt x="222195" y="199268"/>
                  <a:pt x="228241" y="204725"/>
                </a:cubicBezTo>
                <a:cubicBezTo>
                  <a:pt x="234520" y="210297"/>
                  <a:pt x="239287" y="224112"/>
                  <a:pt x="239287" y="236302"/>
                </a:cubicBezTo>
                <a:lnTo>
                  <a:pt x="239287" y="249653"/>
                </a:lnTo>
                <a:lnTo>
                  <a:pt x="183360" y="461987"/>
                </a:lnTo>
                <a:cubicBezTo>
                  <a:pt x="177663" y="483581"/>
                  <a:pt x="154874" y="501227"/>
                  <a:pt x="132433" y="501227"/>
                </a:cubicBezTo>
                <a:lnTo>
                  <a:pt x="122085" y="501227"/>
                </a:lnTo>
                <a:cubicBezTo>
                  <a:pt x="99645" y="501227"/>
                  <a:pt x="75925" y="483929"/>
                  <a:pt x="68949" y="462568"/>
                </a:cubicBezTo>
                <a:lnTo>
                  <a:pt x="0" y="249769"/>
                </a:lnTo>
                <a:lnTo>
                  <a:pt x="0" y="236302"/>
                </a:lnTo>
                <a:cubicBezTo>
                  <a:pt x="0" y="224112"/>
                  <a:pt x="4883" y="210297"/>
                  <a:pt x="11046" y="204725"/>
                </a:cubicBezTo>
                <a:cubicBezTo>
                  <a:pt x="17208" y="199268"/>
                  <a:pt x="31393" y="194509"/>
                  <a:pt x="43369" y="193812"/>
                </a:cubicBezTo>
                <a:close/>
                <a:moveTo>
                  <a:pt x="138106" y="151894"/>
                </a:moveTo>
                <a:cubicBezTo>
                  <a:pt x="140196" y="151081"/>
                  <a:pt x="142635" y="152127"/>
                  <a:pt x="143448" y="154218"/>
                </a:cubicBezTo>
                <a:cubicBezTo>
                  <a:pt x="144377" y="156426"/>
                  <a:pt x="143332" y="158866"/>
                  <a:pt x="141125" y="159679"/>
                </a:cubicBezTo>
                <a:cubicBezTo>
                  <a:pt x="131950" y="163281"/>
                  <a:pt x="124286" y="164559"/>
                  <a:pt x="118014" y="164559"/>
                </a:cubicBezTo>
                <a:cubicBezTo>
                  <a:pt x="105239" y="164559"/>
                  <a:pt x="98620" y="159330"/>
                  <a:pt x="98271" y="158982"/>
                </a:cubicBezTo>
                <a:cubicBezTo>
                  <a:pt x="96529" y="157588"/>
                  <a:pt x="96181" y="154915"/>
                  <a:pt x="97691" y="153172"/>
                </a:cubicBezTo>
                <a:cubicBezTo>
                  <a:pt x="99084" y="151430"/>
                  <a:pt x="101639" y="151081"/>
                  <a:pt x="103497" y="152591"/>
                </a:cubicBezTo>
                <a:cubicBezTo>
                  <a:pt x="103962" y="152940"/>
                  <a:pt x="114995" y="161073"/>
                  <a:pt x="138106" y="151894"/>
                </a:cubicBezTo>
                <a:close/>
                <a:moveTo>
                  <a:pt x="139648" y="119739"/>
                </a:moveTo>
                <a:cubicBezTo>
                  <a:pt x="147918" y="120435"/>
                  <a:pt x="149316" y="134921"/>
                  <a:pt x="149316" y="134921"/>
                </a:cubicBezTo>
                <a:lnTo>
                  <a:pt x="129981" y="134921"/>
                </a:lnTo>
                <a:cubicBezTo>
                  <a:pt x="129981" y="134921"/>
                  <a:pt x="131379" y="119044"/>
                  <a:pt x="139648" y="119739"/>
                </a:cubicBezTo>
                <a:close/>
                <a:moveTo>
                  <a:pt x="91170" y="119739"/>
                </a:moveTo>
                <a:cubicBezTo>
                  <a:pt x="99440" y="120435"/>
                  <a:pt x="100838" y="134921"/>
                  <a:pt x="100838" y="134921"/>
                </a:cubicBezTo>
                <a:lnTo>
                  <a:pt x="81503" y="134921"/>
                </a:lnTo>
                <a:cubicBezTo>
                  <a:pt x="81503" y="134921"/>
                  <a:pt x="82901" y="119044"/>
                  <a:pt x="91170" y="119739"/>
                </a:cubicBezTo>
                <a:close/>
                <a:moveTo>
                  <a:pt x="95591" y="95554"/>
                </a:moveTo>
                <a:cubicBezTo>
                  <a:pt x="92685" y="103451"/>
                  <a:pt x="84429" y="120752"/>
                  <a:pt x="67686" y="130042"/>
                </a:cubicBezTo>
                <a:lnTo>
                  <a:pt x="67686" y="157679"/>
                </a:lnTo>
                <a:cubicBezTo>
                  <a:pt x="67686" y="166736"/>
                  <a:pt x="75127" y="174168"/>
                  <a:pt x="84313" y="174168"/>
                </a:cubicBezTo>
                <a:lnTo>
                  <a:pt x="153379" y="174168"/>
                </a:lnTo>
                <a:cubicBezTo>
                  <a:pt x="162449" y="174168"/>
                  <a:pt x="169890" y="166736"/>
                  <a:pt x="169890" y="157562"/>
                </a:cubicBezTo>
                <a:lnTo>
                  <a:pt x="169890" y="112043"/>
                </a:lnTo>
                <a:cubicBezTo>
                  <a:pt x="153961" y="116340"/>
                  <a:pt x="122102" y="120752"/>
                  <a:pt x="100359" y="95554"/>
                </a:cubicBezTo>
                <a:close/>
                <a:moveTo>
                  <a:pt x="305807" y="35565"/>
                </a:moveTo>
                <a:lnTo>
                  <a:pt x="415442" y="35565"/>
                </a:lnTo>
                <a:cubicBezTo>
                  <a:pt x="425557" y="35565"/>
                  <a:pt x="433695" y="43692"/>
                  <a:pt x="433695" y="53792"/>
                </a:cubicBezTo>
                <a:cubicBezTo>
                  <a:pt x="433695" y="63892"/>
                  <a:pt x="425557" y="72018"/>
                  <a:pt x="415442" y="72018"/>
                </a:cubicBezTo>
                <a:lnTo>
                  <a:pt x="324060" y="72018"/>
                </a:lnTo>
                <a:lnTo>
                  <a:pt x="324060" y="237103"/>
                </a:lnTo>
                <a:lnTo>
                  <a:pt x="415442" y="237103"/>
                </a:lnTo>
                <a:cubicBezTo>
                  <a:pt x="425557" y="237103"/>
                  <a:pt x="433695" y="245346"/>
                  <a:pt x="433695" y="255330"/>
                </a:cubicBezTo>
                <a:cubicBezTo>
                  <a:pt x="433695" y="265430"/>
                  <a:pt x="425557" y="273556"/>
                  <a:pt x="415442" y="273556"/>
                </a:cubicBezTo>
                <a:lnTo>
                  <a:pt x="324060" y="273556"/>
                </a:lnTo>
                <a:lnTo>
                  <a:pt x="324060" y="469290"/>
                </a:lnTo>
                <a:lnTo>
                  <a:pt x="415442" y="469290"/>
                </a:lnTo>
                <a:cubicBezTo>
                  <a:pt x="425557" y="469290"/>
                  <a:pt x="433695" y="477416"/>
                  <a:pt x="433695" y="487516"/>
                </a:cubicBezTo>
                <a:cubicBezTo>
                  <a:pt x="433695" y="497617"/>
                  <a:pt x="425557" y="505743"/>
                  <a:pt x="415442" y="505743"/>
                </a:cubicBezTo>
                <a:lnTo>
                  <a:pt x="305807" y="505743"/>
                </a:lnTo>
                <a:cubicBezTo>
                  <a:pt x="295692" y="505743"/>
                  <a:pt x="287554" y="497617"/>
                  <a:pt x="287554" y="487516"/>
                </a:cubicBezTo>
                <a:lnTo>
                  <a:pt x="287554" y="53792"/>
                </a:lnTo>
                <a:cubicBezTo>
                  <a:pt x="287554" y="43692"/>
                  <a:pt x="295692" y="35565"/>
                  <a:pt x="305807" y="35565"/>
                </a:cubicBezTo>
                <a:close/>
                <a:moveTo>
                  <a:pt x="117102" y="32037"/>
                </a:moveTo>
                <a:cubicBezTo>
                  <a:pt x="195819" y="32037"/>
                  <a:pt x="179890" y="108676"/>
                  <a:pt x="179890" y="108676"/>
                </a:cubicBezTo>
                <a:cubicBezTo>
                  <a:pt x="179890" y="108676"/>
                  <a:pt x="179308" y="108908"/>
                  <a:pt x="178262" y="109373"/>
                </a:cubicBezTo>
                <a:lnTo>
                  <a:pt x="178262" y="157679"/>
                </a:lnTo>
                <a:cubicBezTo>
                  <a:pt x="178262" y="171381"/>
                  <a:pt x="167099" y="182412"/>
                  <a:pt x="153379" y="182412"/>
                </a:cubicBezTo>
                <a:lnTo>
                  <a:pt x="84313" y="182412"/>
                </a:lnTo>
                <a:cubicBezTo>
                  <a:pt x="70593" y="182412"/>
                  <a:pt x="59430" y="171265"/>
                  <a:pt x="59430" y="157562"/>
                </a:cubicBezTo>
                <a:lnTo>
                  <a:pt x="59430" y="133642"/>
                </a:lnTo>
                <a:cubicBezTo>
                  <a:pt x="58151" y="134106"/>
                  <a:pt x="56872" y="134571"/>
                  <a:pt x="55593" y="134803"/>
                </a:cubicBezTo>
                <a:cubicBezTo>
                  <a:pt x="55593" y="134803"/>
                  <a:pt x="34083" y="32153"/>
                  <a:pt x="117102" y="32037"/>
                </a:cubicBezTo>
                <a:close/>
                <a:moveTo>
                  <a:pt x="543107" y="0"/>
                </a:moveTo>
                <a:cubicBezTo>
                  <a:pt x="574499" y="0"/>
                  <a:pt x="599948" y="25417"/>
                  <a:pt x="599948" y="56770"/>
                </a:cubicBezTo>
                <a:cubicBezTo>
                  <a:pt x="599948" y="88123"/>
                  <a:pt x="574499" y="113540"/>
                  <a:pt x="543107" y="113540"/>
                </a:cubicBezTo>
                <a:cubicBezTo>
                  <a:pt x="511715" y="113540"/>
                  <a:pt x="486266" y="88123"/>
                  <a:pt x="486266" y="56770"/>
                </a:cubicBezTo>
                <a:cubicBezTo>
                  <a:pt x="486266" y="25417"/>
                  <a:pt x="511715" y="0"/>
                  <a:pt x="543107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A75EEECF-328E-4638-B109-39450EAC019E}"/>
              </a:ext>
            </a:extLst>
          </p:cNvPr>
          <p:cNvSpPr/>
          <p:nvPr/>
        </p:nvSpPr>
        <p:spPr>
          <a:xfrm>
            <a:off x="6519604" y="2305999"/>
            <a:ext cx="683196" cy="733420"/>
          </a:xfrm>
          <a:custGeom>
            <a:avLst/>
            <a:gdLst>
              <a:gd name="connsiteX0" fmla="*/ 266761 w 565186"/>
              <a:gd name="connsiteY0" fmla="*/ 383537 h 606735"/>
              <a:gd name="connsiteX1" fmla="*/ 298145 w 565186"/>
              <a:gd name="connsiteY1" fmla="*/ 383537 h 606735"/>
              <a:gd name="connsiteX2" fmla="*/ 298145 w 565186"/>
              <a:gd name="connsiteY2" fmla="*/ 426731 h 606735"/>
              <a:gd name="connsiteX3" fmla="*/ 485518 w 565186"/>
              <a:gd name="connsiteY3" fmla="*/ 426731 h 606735"/>
              <a:gd name="connsiteX4" fmla="*/ 513188 w 565186"/>
              <a:gd name="connsiteY4" fmla="*/ 454352 h 606735"/>
              <a:gd name="connsiteX5" fmla="*/ 513188 w 565186"/>
              <a:gd name="connsiteY5" fmla="*/ 503015 h 606735"/>
              <a:gd name="connsiteX6" fmla="*/ 537793 w 565186"/>
              <a:gd name="connsiteY6" fmla="*/ 503015 h 606735"/>
              <a:gd name="connsiteX7" fmla="*/ 565184 w 565186"/>
              <a:gd name="connsiteY7" fmla="*/ 530729 h 606735"/>
              <a:gd name="connsiteX8" fmla="*/ 565184 w 565186"/>
              <a:gd name="connsiteY8" fmla="*/ 579021 h 606735"/>
              <a:gd name="connsiteX9" fmla="*/ 537422 w 565186"/>
              <a:gd name="connsiteY9" fmla="*/ 606735 h 606735"/>
              <a:gd name="connsiteX10" fmla="*/ 456920 w 565186"/>
              <a:gd name="connsiteY10" fmla="*/ 606735 h 606735"/>
              <a:gd name="connsiteX11" fmla="*/ 429250 w 565186"/>
              <a:gd name="connsiteY11" fmla="*/ 579021 h 606735"/>
              <a:gd name="connsiteX12" fmla="*/ 429250 w 565186"/>
              <a:gd name="connsiteY12" fmla="*/ 530729 h 606735"/>
              <a:gd name="connsiteX13" fmla="*/ 456920 w 565186"/>
              <a:gd name="connsiteY13" fmla="*/ 503015 h 606735"/>
              <a:gd name="connsiteX14" fmla="*/ 481618 w 565186"/>
              <a:gd name="connsiteY14" fmla="*/ 503015 h 606735"/>
              <a:gd name="connsiteX15" fmla="*/ 481618 w 565186"/>
              <a:gd name="connsiteY15" fmla="*/ 458060 h 606735"/>
              <a:gd name="connsiteX16" fmla="*/ 297959 w 565186"/>
              <a:gd name="connsiteY16" fmla="*/ 458060 h 606735"/>
              <a:gd name="connsiteX17" fmla="*/ 297959 w 565186"/>
              <a:gd name="connsiteY17" fmla="*/ 503015 h 606735"/>
              <a:gd name="connsiteX18" fmla="*/ 322843 w 565186"/>
              <a:gd name="connsiteY18" fmla="*/ 503015 h 606735"/>
              <a:gd name="connsiteX19" fmla="*/ 350606 w 565186"/>
              <a:gd name="connsiteY19" fmla="*/ 530729 h 606735"/>
              <a:gd name="connsiteX20" fmla="*/ 350606 w 565186"/>
              <a:gd name="connsiteY20" fmla="*/ 579021 h 606735"/>
              <a:gd name="connsiteX21" fmla="*/ 322843 w 565186"/>
              <a:gd name="connsiteY21" fmla="*/ 606735 h 606735"/>
              <a:gd name="connsiteX22" fmla="*/ 242434 w 565186"/>
              <a:gd name="connsiteY22" fmla="*/ 606735 h 606735"/>
              <a:gd name="connsiteX23" fmla="*/ 214672 w 565186"/>
              <a:gd name="connsiteY23" fmla="*/ 579021 h 606735"/>
              <a:gd name="connsiteX24" fmla="*/ 214672 w 565186"/>
              <a:gd name="connsiteY24" fmla="*/ 530729 h 606735"/>
              <a:gd name="connsiteX25" fmla="*/ 242434 w 565186"/>
              <a:gd name="connsiteY25" fmla="*/ 503015 h 606735"/>
              <a:gd name="connsiteX26" fmla="*/ 266761 w 565186"/>
              <a:gd name="connsiteY26" fmla="*/ 503015 h 606735"/>
              <a:gd name="connsiteX27" fmla="*/ 266761 w 565186"/>
              <a:gd name="connsiteY27" fmla="*/ 458060 h 606735"/>
              <a:gd name="connsiteX28" fmla="*/ 83659 w 565186"/>
              <a:gd name="connsiteY28" fmla="*/ 458060 h 606735"/>
              <a:gd name="connsiteX29" fmla="*/ 83659 w 565186"/>
              <a:gd name="connsiteY29" fmla="*/ 503015 h 606735"/>
              <a:gd name="connsiteX30" fmla="*/ 108171 w 565186"/>
              <a:gd name="connsiteY30" fmla="*/ 503015 h 606735"/>
              <a:gd name="connsiteX31" fmla="*/ 135934 w 565186"/>
              <a:gd name="connsiteY31" fmla="*/ 530729 h 606735"/>
              <a:gd name="connsiteX32" fmla="*/ 135934 w 565186"/>
              <a:gd name="connsiteY32" fmla="*/ 579021 h 606735"/>
              <a:gd name="connsiteX33" fmla="*/ 108171 w 565186"/>
              <a:gd name="connsiteY33" fmla="*/ 606735 h 606735"/>
              <a:gd name="connsiteX34" fmla="*/ 27762 w 565186"/>
              <a:gd name="connsiteY34" fmla="*/ 606735 h 606735"/>
              <a:gd name="connsiteX35" fmla="*/ 0 w 565186"/>
              <a:gd name="connsiteY35" fmla="*/ 579021 h 606735"/>
              <a:gd name="connsiteX36" fmla="*/ 0 w 565186"/>
              <a:gd name="connsiteY36" fmla="*/ 530729 h 606735"/>
              <a:gd name="connsiteX37" fmla="*/ 27762 w 565186"/>
              <a:gd name="connsiteY37" fmla="*/ 503015 h 606735"/>
              <a:gd name="connsiteX38" fmla="*/ 52368 w 565186"/>
              <a:gd name="connsiteY38" fmla="*/ 503015 h 606735"/>
              <a:gd name="connsiteX39" fmla="*/ 52368 w 565186"/>
              <a:gd name="connsiteY39" fmla="*/ 454352 h 606735"/>
              <a:gd name="connsiteX40" fmla="*/ 79945 w 565186"/>
              <a:gd name="connsiteY40" fmla="*/ 426731 h 606735"/>
              <a:gd name="connsiteX41" fmla="*/ 266761 w 565186"/>
              <a:gd name="connsiteY41" fmla="*/ 426731 h 606735"/>
              <a:gd name="connsiteX42" fmla="*/ 228875 w 565186"/>
              <a:gd name="connsiteY42" fmla="*/ 210792 h 606735"/>
              <a:gd name="connsiteX43" fmla="*/ 257747 w 565186"/>
              <a:gd name="connsiteY43" fmla="*/ 301729 h 606735"/>
              <a:gd name="connsiteX44" fmla="*/ 261739 w 565186"/>
              <a:gd name="connsiteY44" fmla="*/ 314150 h 606735"/>
              <a:gd name="connsiteX45" fmla="*/ 274551 w 565186"/>
              <a:gd name="connsiteY45" fmla="*/ 277535 h 606735"/>
              <a:gd name="connsiteX46" fmla="*/ 282349 w 565186"/>
              <a:gd name="connsiteY46" fmla="*/ 234152 h 606735"/>
              <a:gd name="connsiteX47" fmla="*/ 282535 w 565186"/>
              <a:gd name="connsiteY47" fmla="*/ 234152 h 606735"/>
              <a:gd name="connsiteX48" fmla="*/ 282628 w 565186"/>
              <a:gd name="connsiteY48" fmla="*/ 234152 h 606735"/>
              <a:gd name="connsiteX49" fmla="*/ 282721 w 565186"/>
              <a:gd name="connsiteY49" fmla="*/ 234152 h 606735"/>
              <a:gd name="connsiteX50" fmla="*/ 282906 w 565186"/>
              <a:gd name="connsiteY50" fmla="*/ 234152 h 606735"/>
              <a:gd name="connsiteX51" fmla="*/ 290704 w 565186"/>
              <a:gd name="connsiteY51" fmla="*/ 277535 h 606735"/>
              <a:gd name="connsiteX52" fmla="*/ 303516 w 565186"/>
              <a:gd name="connsiteY52" fmla="*/ 314150 h 606735"/>
              <a:gd name="connsiteX53" fmla="*/ 307508 w 565186"/>
              <a:gd name="connsiteY53" fmla="*/ 301729 h 606735"/>
              <a:gd name="connsiteX54" fmla="*/ 336380 w 565186"/>
              <a:gd name="connsiteY54" fmla="*/ 210792 h 606735"/>
              <a:gd name="connsiteX55" fmla="*/ 396167 w 565186"/>
              <a:gd name="connsiteY55" fmla="*/ 239714 h 606735"/>
              <a:gd name="connsiteX56" fmla="*/ 435344 w 565186"/>
              <a:gd name="connsiteY56" fmla="*/ 334173 h 606735"/>
              <a:gd name="connsiteX57" fmla="*/ 417705 w 565186"/>
              <a:gd name="connsiteY57" fmla="*/ 352064 h 606735"/>
              <a:gd name="connsiteX58" fmla="*/ 282906 w 565186"/>
              <a:gd name="connsiteY58" fmla="*/ 352064 h 606735"/>
              <a:gd name="connsiteX59" fmla="*/ 274922 w 565186"/>
              <a:gd name="connsiteY59" fmla="*/ 352064 h 606735"/>
              <a:gd name="connsiteX60" fmla="*/ 147736 w 565186"/>
              <a:gd name="connsiteY60" fmla="*/ 352064 h 606735"/>
              <a:gd name="connsiteX61" fmla="*/ 130004 w 565186"/>
              <a:gd name="connsiteY61" fmla="*/ 334173 h 606735"/>
              <a:gd name="connsiteX62" fmla="*/ 169088 w 565186"/>
              <a:gd name="connsiteY62" fmla="*/ 239714 h 606735"/>
              <a:gd name="connsiteX63" fmla="*/ 228875 w 565186"/>
              <a:gd name="connsiteY63" fmla="*/ 210792 h 606735"/>
              <a:gd name="connsiteX64" fmla="*/ 277351 w 565186"/>
              <a:gd name="connsiteY64" fmla="*/ 297 h 606735"/>
              <a:gd name="connsiteX65" fmla="*/ 316167 w 565186"/>
              <a:gd name="connsiteY65" fmla="*/ 8453 h 606735"/>
              <a:gd name="connsiteX66" fmla="*/ 335110 w 565186"/>
              <a:gd name="connsiteY66" fmla="*/ 26064 h 606735"/>
              <a:gd name="connsiteX67" fmla="*/ 355911 w 565186"/>
              <a:gd name="connsiteY67" fmla="*/ 91872 h 606735"/>
              <a:gd name="connsiteX68" fmla="*/ 353218 w 565186"/>
              <a:gd name="connsiteY68" fmla="*/ 102067 h 606735"/>
              <a:gd name="connsiteX69" fmla="*/ 359904 w 565186"/>
              <a:gd name="connsiteY69" fmla="*/ 129688 h 606735"/>
              <a:gd name="connsiteX70" fmla="*/ 346532 w 565186"/>
              <a:gd name="connsiteY70" fmla="*/ 153045 h 606735"/>
              <a:gd name="connsiteX71" fmla="*/ 299359 w 565186"/>
              <a:gd name="connsiteY71" fmla="*/ 211160 h 606735"/>
              <a:gd name="connsiteX72" fmla="*/ 264907 w 565186"/>
              <a:gd name="connsiteY72" fmla="*/ 211252 h 606735"/>
              <a:gd name="connsiteX73" fmla="*/ 217920 w 565186"/>
              <a:gd name="connsiteY73" fmla="*/ 153230 h 606735"/>
              <a:gd name="connsiteX74" fmla="*/ 204548 w 565186"/>
              <a:gd name="connsiteY74" fmla="*/ 129873 h 606735"/>
              <a:gd name="connsiteX75" fmla="*/ 211048 w 565186"/>
              <a:gd name="connsiteY75" fmla="*/ 102067 h 606735"/>
              <a:gd name="connsiteX76" fmla="*/ 208355 w 565186"/>
              <a:gd name="connsiteY76" fmla="*/ 91872 h 606735"/>
              <a:gd name="connsiteX77" fmla="*/ 208262 w 565186"/>
              <a:gd name="connsiteY77" fmla="*/ 59524 h 606735"/>
              <a:gd name="connsiteX78" fmla="*/ 227206 w 565186"/>
              <a:gd name="connsiteY78" fmla="*/ 26435 h 606735"/>
              <a:gd name="connsiteX79" fmla="*/ 244757 w 565186"/>
              <a:gd name="connsiteY79" fmla="*/ 11975 h 606735"/>
              <a:gd name="connsiteX80" fmla="*/ 261843 w 565186"/>
              <a:gd name="connsiteY80" fmla="*/ 3263 h 606735"/>
              <a:gd name="connsiteX81" fmla="*/ 277351 w 565186"/>
              <a:gd name="connsiteY81" fmla="*/ 297 h 606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65186" h="606735">
                <a:moveTo>
                  <a:pt x="266761" y="383537"/>
                </a:moveTo>
                <a:lnTo>
                  <a:pt x="298145" y="383537"/>
                </a:lnTo>
                <a:lnTo>
                  <a:pt x="298145" y="426731"/>
                </a:lnTo>
                <a:lnTo>
                  <a:pt x="485518" y="426731"/>
                </a:lnTo>
                <a:cubicBezTo>
                  <a:pt x="500746" y="426731"/>
                  <a:pt x="513188" y="439151"/>
                  <a:pt x="513188" y="454352"/>
                </a:cubicBezTo>
                <a:lnTo>
                  <a:pt x="513188" y="503015"/>
                </a:lnTo>
                <a:lnTo>
                  <a:pt x="537793" y="503015"/>
                </a:lnTo>
                <a:cubicBezTo>
                  <a:pt x="553021" y="503015"/>
                  <a:pt x="565370" y="515528"/>
                  <a:pt x="565184" y="530729"/>
                </a:cubicBezTo>
                <a:lnTo>
                  <a:pt x="565184" y="579021"/>
                </a:lnTo>
                <a:cubicBezTo>
                  <a:pt x="565184" y="594315"/>
                  <a:pt x="552742" y="606735"/>
                  <a:pt x="537422" y="606735"/>
                </a:cubicBezTo>
                <a:lnTo>
                  <a:pt x="456920" y="606735"/>
                </a:lnTo>
                <a:cubicBezTo>
                  <a:pt x="441600" y="606735"/>
                  <a:pt x="429250" y="594315"/>
                  <a:pt x="429250" y="579021"/>
                </a:cubicBezTo>
                <a:lnTo>
                  <a:pt x="429250" y="530729"/>
                </a:lnTo>
                <a:cubicBezTo>
                  <a:pt x="429250" y="515343"/>
                  <a:pt x="441600" y="503015"/>
                  <a:pt x="456920" y="503015"/>
                </a:cubicBezTo>
                <a:lnTo>
                  <a:pt x="481618" y="503015"/>
                </a:lnTo>
                <a:lnTo>
                  <a:pt x="481618" y="458060"/>
                </a:lnTo>
                <a:lnTo>
                  <a:pt x="297959" y="458060"/>
                </a:lnTo>
                <a:lnTo>
                  <a:pt x="297959" y="503015"/>
                </a:lnTo>
                <a:lnTo>
                  <a:pt x="322843" y="503015"/>
                </a:lnTo>
                <a:cubicBezTo>
                  <a:pt x="338256" y="503015"/>
                  <a:pt x="350606" y="515343"/>
                  <a:pt x="350606" y="530729"/>
                </a:cubicBezTo>
                <a:lnTo>
                  <a:pt x="350606" y="579021"/>
                </a:lnTo>
                <a:cubicBezTo>
                  <a:pt x="350606" y="594315"/>
                  <a:pt x="338256" y="606735"/>
                  <a:pt x="322843" y="606735"/>
                </a:cubicBezTo>
                <a:lnTo>
                  <a:pt x="242434" y="606735"/>
                </a:lnTo>
                <a:cubicBezTo>
                  <a:pt x="227021" y="606735"/>
                  <a:pt x="214672" y="594315"/>
                  <a:pt x="214672" y="579021"/>
                </a:cubicBezTo>
                <a:lnTo>
                  <a:pt x="214672" y="530729"/>
                </a:lnTo>
                <a:cubicBezTo>
                  <a:pt x="214672" y="515343"/>
                  <a:pt x="227021" y="503015"/>
                  <a:pt x="242434" y="503015"/>
                </a:cubicBezTo>
                <a:lnTo>
                  <a:pt x="266761" y="503015"/>
                </a:lnTo>
                <a:lnTo>
                  <a:pt x="266761" y="458060"/>
                </a:lnTo>
                <a:lnTo>
                  <a:pt x="83659" y="458060"/>
                </a:lnTo>
                <a:lnTo>
                  <a:pt x="83659" y="503015"/>
                </a:lnTo>
                <a:lnTo>
                  <a:pt x="108171" y="503015"/>
                </a:lnTo>
                <a:cubicBezTo>
                  <a:pt x="123585" y="503015"/>
                  <a:pt x="135934" y="515343"/>
                  <a:pt x="135934" y="530729"/>
                </a:cubicBezTo>
                <a:lnTo>
                  <a:pt x="135934" y="579021"/>
                </a:lnTo>
                <a:cubicBezTo>
                  <a:pt x="135934" y="594315"/>
                  <a:pt x="123585" y="606735"/>
                  <a:pt x="108171" y="606735"/>
                </a:cubicBezTo>
                <a:lnTo>
                  <a:pt x="27762" y="606735"/>
                </a:lnTo>
                <a:cubicBezTo>
                  <a:pt x="12349" y="606735"/>
                  <a:pt x="0" y="594315"/>
                  <a:pt x="0" y="579021"/>
                </a:cubicBezTo>
                <a:lnTo>
                  <a:pt x="0" y="530729"/>
                </a:lnTo>
                <a:cubicBezTo>
                  <a:pt x="0" y="515343"/>
                  <a:pt x="12349" y="503015"/>
                  <a:pt x="27762" y="503015"/>
                </a:cubicBezTo>
                <a:lnTo>
                  <a:pt x="52368" y="503015"/>
                </a:lnTo>
                <a:lnTo>
                  <a:pt x="52368" y="454352"/>
                </a:lnTo>
                <a:cubicBezTo>
                  <a:pt x="52368" y="439151"/>
                  <a:pt x="64717" y="426731"/>
                  <a:pt x="79945" y="426731"/>
                </a:cubicBezTo>
                <a:lnTo>
                  <a:pt x="266761" y="426731"/>
                </a:lnTo>
                <a:close/>
                <a:moveTo>
                  <a:pt x="228875" y="210792"/>
                </a:moveTo>
                <a:lnTo>
                  <a:pt x="257747" y="301729"/>
                </a:lnTo>
                <a:lnTo>
                  <a:pt x="261739" y="314150"/>
                </a:lnTo>
                <a:lnTo>
                  <a:pt x="274551" y="277535"/>
                </a:lnTo>
                <a:cubicBezTo>
                  <a:pt x="245029" y="236098"/>
                  <a:pt x="276779" y="234152"/>
                  <a:pt x="282349" y="234152"/>
                </a:cubicBezTo>
                <a:lnTo>
                  <a:pt x="282535" y="234152"/>
                </a:lnTo>
                <a:lnTo>
                  <a:pt x="282628" y="234152"/>
                </a:lnTo>
                <a:lnTo>
                  <a:pt x="282721" y="234152"/>
                </a:lnTo>
                <a:lnTo>
                  <a:pt x="282906" y="234152"/>
                </a:lnTo>
                <a:cubicBezTo>
                  <a:pt x="288476" y="234245"/>
                  <a:pt x="320412" y="236284"/>
                  <a:pt x="290704" y="277535"/>
                </a:cubicBezTo>
                <a:lnTo>
                  <a:pt x="303516" y="314150"/>
                </a:lnTo>
                <a:lnTo>
                  <a:pt x="307508" y="301729"/>
                </a:lnTo>
                <a:lnTo>
                  <a:pt x="336380" y="210792"/>
                </a:lnTo>
                <a:cubicBezTo>
                  <a:pt x="336380" y="210792"/>
                  <a:pt x="358754" y="225531"/>
                  <a:pt x="396167" y="239714"/>
                </a:cubicBezTo>
                <a:cubicBezTo>
                  <a:pt x="433302" y="253155"/>
                  <a:pt x="434880" y="282077"/>
                  <a:pt x="435344" y="334173"/>
                </a:cubicBezTo>
                <a:cubicBezTo>
                  <a:pt x="435530" y="343999"/>
                  <a:pt x="427546" y="352064"/>
                  <a:pt x="417705" y="352064"/>
                </a:cubicBezTo>
                <a:lnTo>
                  <a:pt x="282906" y="352064"/>
                </a:lnTo>
                <a:lnTo>
                  <a:pt x="274922" y="352064"/>
                </a:lnTo>
                <a:lnTo>
                  <a:pt x="147736" y="352064"/>
                </a:lnTo>
                <a:cubicBezTo>
                  <a:pt x="137895" y="352064"/>
                  <a:pt x="129911" y="343999"/>
                  <a:pt x="130004" y="334173"/>
                </a:cubicBezTo>
                <a:cubicBezTo>
                  <a:pt x="130654" y="282077"/>
                  <a:pt x="132139" y="253155"/>
                  <a:pt x="169088" y="239714"/>
                </a:cubicBezTo>
                <a:cubicBezTo>
                  <a:pt x="206501" y="225345"/>
                  <a:pt x="228875" y="210792"/>
                  <a:pt x="228875" y="210792"/>
                </a:cubicBezTo>
                <a:close/>
                <a:moveTo>
                  <a:pt x="277351" y="297"/>
                </a:moveTo>
                <a:cubicBezTo>
                  <a:pt x="294159" y="-1186"/>
                  <a:pt x="307066" y="3077"/>
                  <a:pt x="316167" y="8453"/>
                </a:cubicBezTo>
                <a:cubicBezTo>
                  <a:pt x="329910" y="16054"/>
                  <a:pt x="335110" y="26064"/>
                  <a:pt x="335110" y="26064"/>
                </a:cubicBezTo>
                <a:cubicBezTo>
                  <a:pt x="335110" y="26064"/>
                  <a:pt x="366590" y="28288"/>
                  <a:pt x="355911" y="91872"/>
                </a:cubicBezTo>
                <a:cubicBezTo>
                  <a:pt x="355354" y="95208"/>
                  <a:pt x="354426" y="98730"/>
                  <a:pt x="353218" y="102067"/>
                </a:cubicBezTo>
                <a:cubicBezTo>
                  <a:pt x="359533" y="101511"/>
                  <a:pt x="366869" y="105126"/>
                  <a:pt x="359904" y="129688"/>
                </a:cubicBezTo>
                <a:cubicBezTo>
                  <a:pt x="354797" y="147762"/>
                  <a:pt x="350154" y="152860"/>
                  <a:pt x="346532" y="153045"/>
                </a:cubicBezTo>
                <a:cubicBezTo>
                  <a:pt x="343189" y="174456"/>
                  <a:pt x="326103" y="201520"/>
                  <a:pt x="299359" y="211160"/>
                </a:cubicBezTo>
                <a:cubicBezTo>
                  <a:pt x="288308" y="215238"/>
                  <a:pt x="276051" y="215238"/>
                  <a:pt x="264907" y="211252"/>
                </a:cubicBezTo>
                <a:cubicBezTo>
                  <a:pt x="237699" y="201798"/>
                  <a:pt x="221263" y="174548"/>
                  <a:pt x="217920" y="153230"/>
                </a:cubicBezTo>
                <a:cubicBezTo>
                  <a:pt x="214298" y="152860"/>
                  <a:pt x="209562" y="147762"/>
                  <a:pt x="204548" y="129873"/>
                </a:cubicBezTo>
                <a:cubicBezTo>
                  <a:pt x="197583" y="105218"/>
                  <a:pt x="204919" y="101696"/>
                  <a:pt x="211048" y="102067"/>
                </a:cubicBezTo>
                <a:cubicBezTo>
                  <a:pt x="209841" y="98545"/>
                  <a:pt x="209005" y="95208"/>
                  <a:pt x="208355" y="91872"/>
                </a:cubicBezTo>
                <a:cubicBezTo>
                  <a:pt x="206126" y="80378"/>
                  <a:pt x="205476" y="69812"/>
                  <a:pt x="208262" y="59524"/>
                </a:cubicBezTo>
                <a:cubicBezTo>
                  <a:pt x="211419" y="45806"/>
                  <a:pt x="218848" y="34962"/>
                  <a:pt x="227206" y="26435"/>
                </a:cubicBezTo>
                <a:cubicBezTo>
                  <a:pt x="232499" y="20873"/>
                  <a:pt x="238442" y="15868"/>
                  <a:pt x="244757" y="11975"/>
                </a:cubicBezTo>
                <a:cubicBezTo>
                  <a:pt x="249957" y="8453"/>
                  <a:pt x="255621" y="5395"/>
                  <a:pt x="261843" y="3263"/>
                </a:cubicBezTo>
                <a:cubicBezTo>
                  <a:pt x="266672" y="1687"/>
                  <a:pt x="271872" y="575"/>
                  <a:pt x="277351" y="297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3E2BCE0A-27F1-4DF1-BDB5-DC2BFBD192B3}"/>
              </a:ext>
            </a:extLst>
          </p:cNvPr>
          <p:cNvSpPr/>
          <p:nvPr/>
        </p:nvSpPr>
        <p:spPr>
          <a:xfrm>
            <a:off x="7882605" y="1727303"/>
            <a:ext cx="448782" cy="448097"/>
          </a:xfrm>
          <a:custGeom>
            <a:avLst/>
            <a:gdLst>
              <a:gd name="connsiteX0" fmla="*/ 146058 w 607639"/>
              <a:gd name="connsiteY0" fmla="*/ 370925 h 606713"/>
              <a:gd name="connsiteX1" fmla="*/ 176497 w 607639"/>
              <a:gd name="connsiteY1" fmla="*/ 389678 h 606713"/>
              <a:gd name="connsiteX2" fmla="*/ 157717 w 607639"/>
              <a:gd name="connsiteY2" fmla="*/ 420074 h 606713"/>
              <a:gd name="connsiteX3" fmla="*/ 50644 w 607639"/>
              <a:gd name="connsiteY3" fmla="*/ 480332 h 606713"/>
              <a:gd name="connsiteX4" fmla="*/ 303775 w 607639"/>
              <a:gd name="connsiteY4" fmla="*/ 556143 h 606713"/>
              <a:gd name="connsiteX5" fmla="*/ 556995 w 607639"/>
              <a:gd name="connsiteY5" fmla="*/ 480332 h 606713"/>
              <a:gd name="connsiteX6" fmla="*/ 449833 w 607639"/>
              <a:gd name="connsiteY6" fmla="*/ 420074 h 606713"/>
              <a:gd name="connsiteX7" fmla="*/ 431053 w 607639"/>
              <a:gd name="connsiteY7" fmla="*/ 389678 h 606713"/>
              <a:gd name="connsiteX8" fmla="*/ 461492 w 607639"/>
              <a:gd name="connsiteY8" fmla="*/ 370925 h 606713"/>
              <a:gd name="connsiteX9" fmla="*/ 607639 w 607639"/>
              <a:gd name="connsiteY9" fmla="*/ 480332 h 606713"/>
              <a:gd name="connsiteX10" fmla="*/ 303775 w 607639"/>
              <a:gd name="connsiteY10" fmla="*/ 606713 h 606713"/>
              <a:gd name="connsiteX11" fmla="*/ 0 w 607639"/>
              <a:gd name="connsiteY11" fmla="*/ 480332 h 606713"/>
              <a:gd name="connsiteX12" fmla="*/ 146058 w 607639"/>
              <a:gd name="connsiteY12" fmla="*/ 370925 h 606713"/>
              <a:gd name="connsiteX13" fmla="*/ 303820 w 607639"/>
              <a:gd name="connsiteY13" fmla="*/ 151707 h 606713"/>
              <a:gd name="connsiteX14" fmla="*/ 329118 w 607639"/>
              <a:gd name="connsiteY14" fmla="*/ 176970 h 606713"/>
              <a:gd name="connsiteX15" fmla="*/ 303820 w 607639"/>
              <a:gd name="connsiteY15" fmla="*/ 202233 h 606713"/>
              <a:gd name="connsiteX16" fmla="*/ 278522 w 607639"/>
              <a:gd name="connsiteY16" fmla="*/ 176970 h 606713"/>
              <a:gd name="connsiteX17" fmla="*/ 303820 w 607639"/>
              <a:gd name="connsiteY17" fmla="*/ 151707 h 606713"/>
              <a:gd name="connsiteX18" fmla="*/ 303849 w 607639"/>
              <a:gd name="connsiteY18" fmla="*/ 101116 h 606713"/>
              <a:gd name="connsiteX19" fmla="*/ 227845 w 607639"/>
              <a:gd name="connsiteY19" fmla="*/ 176928 h 606713"/>
              <a:gd name="connsiteX20" fmla="*/ 303849 w 607639"/>
              <a:gd name="connsiteY20" fmla="*/ 252828 h 606713"/>
              <a:gd name="connsiteX21" fmla="*/ 379765 w 607639"/>
              <a:gd name="connsiteY21" fmla="*/ 176928 h 606713"/>
              <a:gd name="connsiteX22" fmla="*/ 303849 w 607639"/>
              <a:gd name="connsiteY22" fmla="*/ 101116 h 606713"/>
              <a:gd name="connsiteX23" fmla="*/ 320773 w 607639"/>
              <a:gd name="connsiteY23" fmla="*/ 813 h 606713"/>
              <a:gd name="connsiteX24" fmla="*/ 421772 w 607639"/>
              <a:gd name="connsiteY24" fmla="*/ 44857 h 606713"/>
              <a:gd name="connsiteX25" fmla="*/ 481045 w 607639"/>
              <a:gd name="connsiteY25" fmla="*/ 176928 h 606713"/>
              <a:gd name="connsiteX26" fmla="*/ 453723 w 607639"/>
              <a:gd name="connsiteY26" fmla="*/ 271226 h 606713"/>
              <a:gd name="connsiteX27" fmla="*/ 439305 w 607639"/>
              <a:gd name="connsiteY27" fmla="*/ 293889 h 606713"/>
              <a:gd name="connsiteX28" fmla="*/ 348260 w 607639"/>
              <a:gd name="connsiteY28" fmla="*/ 448001 h 606713"/>
              <a:gd name="connsiteX29" fmla="*/ 326455 w 607639"/>
              <a:gd name="connsiteY29" fmla="*/ 491639 h 606713"/>
              <a:gd name="connsiteX30" fmla="*/ 303849 w 607639"/>
              <a:gd name="connsiteY30" fmla="*/ 505593 h 606713"/>
              <a:gd name="connsiteX31" fmla="*/ 281155 w 607639"/>
              <a:gd name="connsiteY31" fmla="*/ 491639 h 606713"/>
              <a:gd name="connsiteX32" fmla="*/ 270831 w 607639"/>
              <a:gd name="connsiteY32" fmla="*/ 471020 h 606713"/>
              <a:gd name="connsiteX33" fmla="*/ 161007 w 607639"/>
              <a:gd name="connsiteY33" fmla="*/ 281624 h 606713"/>
              <a:gd name="connsiteX34" fmla="*/ 128345 w 607639"/>
              <a:gd name="connsiteY34" fmla="*/ 151776 h 606713"/>
              <a:gd name="connsiteX35" fmla="*/ 283113 w 607639"/>
              <a:gd name="connsiteY35" fmla="*/ 1219 h 606713"/>
              <a:gd name="connsiteX36" fmla="*/ 320773 w 607639"/>
              <a:gd name="connsiteY36" fmla="*/ 813 h 60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606713">
                <a:moveTo>
                  <a:pt x="146058" y="370925"/>
                </a:moveTo>
                <a:cubicBezTo>
                  <a:pt x="159675" y="367637"/>
                  <a:pt x="173293" y="376080"/>
                  <a:pt x="176497" y="389678"/>
                </a:cubicBezTo>
                <a:cubicBezTo>
                  <a:pt x="179791" y="403276"/>
                  <a:pt x="171335" y="416874"/>
                  <a:pt x="157717" y="420074"/>
                </a:cubicBezTo>
                <a:cubicBezTo>
                  <a:pt x="79215" y="438738"/>
                  <a:pt x="50644" y="466289"/>
                  <a:pt x="50644" y="480332"/>
                </a:cubicBezTo>
                <a:cubicBezTo>
                  <a:pt x="50644" y="510460"/>
                  <a:pt x="151665" y="556143"/>
                  <a:pt x="303775" y="556143"/>
                </a:cubicBezTo>
                <a:cubicBezTo>
                  <a:pt x="455974" y="556143"/>
                  <a:pt x="556995" y="510460"/>
                  <a:pt x="556995" y="480332"/>
                </a:cubicBezTo>
                <a:cubicBezTo>
                  <a:pt x="556995" y="466289"/>
                  <a:pt x="528513" y="438738"/>
                  <a:pt x="449833" y="420074"/>
                </a:cubicBezTo>
                <a:cubicBezTo>
                  <a:pt x="436215" y="416874"/>
                  <a:pt x="427848" y="403276"/>
                  <a:pt x="431053" y="389678"/>
                </a:cubicBezTo>
                <a:cubicBezTo>
                  <a:pt x="434257" y="376080"/>
                  <a:pt x="447964" y="367637"/>
                  <a:pt x="461492" y="370925"/>
                </a:cubicBezTo>
                <a:cubicBezTo>
                  <a:pt x="555749" y="393233"/>
                  <a:pt x="607639" y="432072"/>
                  <a:pt x="607639" y="480332"/>
                </a:cubicBezTo>
                <a:cubicBezTo>
                  <a:pt x="607639" y="563253"/>
                  <a:pt x="454817" y="606713"/>
                  <a:pt x="303775" y="606713"/>
                </a:cubicBezTo>
                <a:cubicBezTo>
                  <a:pt x="152911" y="606713"/>
                  <a:pt x="0" y="563253"/>
                  <a:pt x="0" y="480332"/>
                </a:cubicBezTo>
                <a:cubicBezTo>
                  <a:pt x="0" y="432072"/>
                  <a:pt x="51890" y="393233"/>
                  <a:pt x="146058" y="370925"/>
                </a:cubicBezTo>
                <a:close/>
                <a:moveTo>
                  <a:pt x="303820" y="151707"/>
                </a:moveTo>
                <a:cubicBezTo>
                  <a:pt x="317792" y="151707"/>
                  <a:pt x="329118" y="163018"/>
                  <a:pt x="329118" y="176970"/>
                </a:cubicBezTo>
                <a:cubicBezTo>
                  <a:pt x="329118" y="190922"/>
                  <a:pt x="317792" y="202233"/>
                  <a:pt x="303820" y="202233"/>
                </a:cubicBezTo>
                <a:cubicBezTo>
                  <a:pt x="289848" y="202233"/>
                  <a:pt x="278522" y="190922"/>
                  <a:pt x="278522" y="176970"/>
                </a:cubicBezTo>
                <a:cubicBezTo>
                  <a:pt x="278522" y="163018"/>
                  <a:pt x="289848" y="151707"/>
                  <a:pt x="303820" y="151707"/>
                </a:cubicBezTo>
                <a:close/>
                <a:moveTo>
                  <a:pt x="303849" y="101116"/>
                </a:moveTo>
                <a:cubicBezTo>
                  <a:pt x="261931" y="101116"/>
                  <a:pt x="227845" y="135156"/>
                  <a:pt x="227845" y="176928"/>
                </a:cubicBezTo>
                <a:cubicBezTo>
                  <a:pt x="227845" y="218788"/>
                  <a:pt x="261931" y="252828"/>
                  <a:pt x="303849" y="252828"/>
                </a:cubicBezTo>
                <a:cubicBezTo>
                  <a:pt x="345679" y="252828"/>
                  <a:pt x="379765" y="218788"/>
                  <a:pt x="379765" y="176928"/>
                </a:cubicBezTo>
                <a:cubicBezTo>
                  <a:pt x="379765" y="135156"/>
                  <a:pt x="345679" y="101116"/>
                  <a:pt x="303849" y="101116"/>
                </a:cubicBezTo>
                <a:close/>
                <a:moveTo>
                  <a:pt x="320773" y="813"/>
                </a:moveTo>
                <a:cubicBezTo>
                  <a:pt x="358044" y="4396"/>
                  <a:pt x="393538" y="19728"/>
                  <a:pt x="421772" y="44857"/>
                </a:cubicBezTo>
                <a:cubicBezTo>
                  <a:pt x="459418" y="78452"/>
                  <a:pt x="481045" y="126623"/>
                  <a:pt x="481045" y="176928"/>
                </a:cubicBezTo>
                <a:cubicBezTo>
                  <a:pt x="481045" y="210434"/>
                  <a:pt x="471611" y="242963"/>
                  <a:pt x="453723" y="271226"/>
                </a:cubicBezTo>
                <a:lnTo>
                  <a:pt x="439305" y="293889"/>
                </a:lnTo>
                <a:cubicBezTo>
                  <a:pt x="407621" y="343571"/>
                  <a:pt x="374870" y="394942"/>
                  <a:pt x="348260" y="448001"/>
                </a:cubicBezTo>
                <a:lnTo>
                  <a:pt x="326455" y="491639"/>
                </a:lnTo>
                <a:cubicBezTo>
                  <a:pt x="322183" y="500172"/>
                  <a:pt x="313372" y="505593"/>
                  <a:pt x="303849" y="505593"/>
                </a:cubicBezTo>
                <a:cubicBezTo>
                  <a:pt x="294238" y="505593"/>
                  <a:pt x="285427" y="500172"/>
                  <a:pt x="281155" y="491639"/>
                </a:cubicBezTo>
                <a:lnTo>
                  <a:pt x="270831" y="471020"/>
                </a:lnTo>
                <a:cubicBezTo>
                  <a:pt x="237457" y="404363"/>
                  <a:pt x="203993" y="339749"/>
                  <a:pt x="161007" y="281624"/>
                </a:cubicBezTo>
                <a:cubicBezTo>
                  <a:pt x="133507" y="244296"/>
                  <a:pt x="121937" y="198258"/>
                  <a:pt x="128345" y="151776"/>
                </a:cubicBezTo>
                <a:cubicBezTo>
                  <a:pt x="139292" y="73475"/>
                  <a:pt x="204349" y="10106"/>
                  <a:pt x="283113" y="1219"/>
                </a:cubicBezTo>
                <a:cubicBezTo>
                  <a:pt x="295729" y="-270"/>
                  <a:pt x="308350" y="-381"/>
                  <a:pt x="320773" y="813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9DC21EA9-C83F-40C3-8DA9-E86348213657}"/>
              </a:ext>
            </a:extLst>
          </p:cNvPr>
          <p:cNvSpPr/>
          <p:nvPr/>
        </p:nvSpPr>
        <p:spPr>
          <a:xfrm>
            <a:off x="9747794" y="1422359"/>
            <a:ext cx="382206" cy="338306"/>
          </a:xfrm>
          <a:custGeom>
            <a:avLst/>
            <a:gdLst>
              <a:gd name="connsiteX0" fmla="*/ 287435 w 568487"/>
              <a:gd name="connsiteY0" fmla="*/ 95352 h 503191"/>
              <a:gd name="connsiteX1" fmla="*/ 484475 w 568487"/>
              <a:gd name="connsiteY1" fmla="*/ 271062 h 503191"/>
              <a:gd name="connsiteX2" fmla="*/ 484475 w 568487"/>
              <a:gd name="connsiteY2" fmla="*/ 487071 h 503191"/>
              <a:gd name="connsiteX3" fmla="*/ 469939 w 568487"/>
              <a:gd name="connsiteY3" fmla="*/ 501579 h 503191"/>
              <a:gd name="connsiteX4" fmla="*/ 329427 w 568487"/>
              <a:gd name="connsiteY4" fmla="*/ 501579 h 503191"/>
              <a:gd name="connsiteX5" fmla="*/ 329427 w 568487"/>
              <a:gd name="connsiteY5" fmla="*/ 385514 h 503191"/>
              <a:gd name="connsiteX6" fmla="*/ 308431 w 568487"/>
              <a:gd name="connsiteY6" fmla="*/ 366170 h 503191"/>
              <a:gd name="connsiteX7" fmla="*/ 248673 w 568487"/>
              <a:gd name="connsiteY7" fmla="*/ 366170 h 503191"/>
              <a:gd name="connsiteX8" fmla="*/ 232522 w 568487"/>
              <a:gd name="connsiteY8" fmla="*/ 385514 h 503191"/>
              <a:gd name="connsiteX9" fmla="*/ 232522 w 568487"/>
              <a:gd name="connsiteY9" fmla="*/ 503191 h 503191"/>
              <a:gd name="connsiteX10" fmla="*/ 88779 w 568487"/>
              <a:gd name="connsiteY10" fmla="*/ 503191 h 503191"/>
              <a:gd name="connsiteX11" fmla="*/ 77474 w 568487"/>
              <a:gd name="connsiteY11" fmla="*/ 490295 h 503191"/>
              <a:gd name="connsiteX12" fmla="*/ 77474 w 568487"/>
              <a:gd name="connsiteY12" fmla="*/ 271062 h 503191"/>
              <a:gd name="connsiteX13" fmla="*/ 445669 w 568487"/>
              <a:gd name="connsiteY13" fmla="*/ 58041 h 503191"/>
              <a:gd name="connsiteX14" fmla="*/ 500600 w 568487"/>
              <a:gd name="connsiteY14" fmla="*/ 58041 h 503191"/>
              <a:gd name="connsiteX15" fmla="*/ 500600 w 568487"/>
              <a:gd name="connsiteY15" fmla="*/ 172567 h 503191"/>
              <a:gd name="connsiteX16" fmla="*/ 445669 w 568487"/>
              <a:gd name="connsiteY16" fmla="*/ 125789 h 503191"/>
              <a:gd name="connsiteX17" fmla="*/ 289088 w 568487"/>
              <a:gd name="connsiteY17" fmla="*/ 0 h 503191"/>
              <a:gd name="connsiteX18" fmla="*/ 568487 w 568487"/>
              <a:gd name="connsiteY18" fmla="*/ 253224 h 503191"/>
              <a:gd name="connsiteX19" fmla="*/ 507116 w 568487"/>
              <a:gd name="connsiteY19" fmla="*/ 253224 h 503191"/>
              <a:gd name="connsiteX20" fmla="*/ 289088 w 568487"/>
              <a:gd name="connsiteY20" fmla="*/ 58064 h 503191"/>
              <a:gd name="connsiteX21" fmla="*/ 56526 w 568487"/>
              <a:gd name="connsiteY21" fmla="*/ 254836 h 503191"/>
              <a:gd name="connsiteX22" fmla="*/ 0 w 568487"/>
              <a:gd name="connsiteY22" fmla="*/ 254836 h 503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68487" h="503191">
                <a:moveTo>
                  <a:pt x="287435" y="95352"/>
                </a:moveTo>
                <a:lnTo>
                  <a:pt x="484475" y="271062"/>
                </a:lnTo>
                <a:lnTo>
                  <a:pt x="484475" y="487071"/>
                </a:lnTo>
                <a:cubicBezTo>
                  <a:pt x="484475" y="487071"/>
                  <a:pt x="486090" y="501579"/>
                  <a:pt x="469939" y="501579"/>
                </a:cubicBezTo>
                <a:lnTo>
                  <a:pt x="329427" y="501579"/>
                </a:lnTo>
                <a:lnTo>
                  <a:pt x="329427" y="385514"/>
                </a:lnTo>
                <a:cubicBezTo>
                  <a:pt x="329427" y="385514"/>
                  <a:pt x="331042" y="366170"/>
                  <a:pt x="308431" y="366170"/>
                </a:cubicBezTo>
                <a:lnTo>
                  <a:pt x="248673" y="366170"/>
                </a:lnTo>
                <a:cubicBezTo>
                  <a:pt x="230907" y="366170"/>
                  <a:pt x="232522" y="385514"/>
                  <a:pt x="232522" y="385514"/>
                </a:cubicBezTo>
                <a:lnTo>
                  <a:pt x="232522" y="503191"/>
                </a:lnTo>
                <a:cubicBezTo>
                  <a:pt x="232522" y="503191"/>
                  <a:pt x="104930" y="503191"/>
                  <a:pt x="88779" y="503191"/>
                </a:cubicBezTo>
                <a:cubicBezTo>
                  <a:pt x="77474" y="503191"/>
                  <a:pt x="77474" y="490295"/>
                  <a:pt x="77474" y="490295"/>
                </a:cubicBezTo>
                <a:lnTo>
                  <a:pt x="77474" y="271062"/>
                </a:lnTo>
                <a:close/>
                <a:moveTo>
                  <a:pt x="445669" y="58041"/>
                </a:moveTo>
                <a:lnTo>
                  <a:pt x="500600" y="58041"/>
                </a:lnTo>
                <a:lnTo>
                  <a:pt x="500600" y="172567"/>
                </a:lnTo>
                <a:lnTo>
                  <a:pt x="445669" y="125789"/>
                </a:lnTo>
                <a:close/>
                <a:moveTo>
                  <a:pt x="289088" y="0"/>
                </a:moveTo>
                <a:lnTo>
                  <a:pt x="568487" y="253224"/>
                </a:lnTo>
                <a:cubicBezTo>
                  <a:pt x="568487" y="253224"/>
                  <a:pt x="550722" y="285481"/>
                  <a:pt x="507116" y="253224"/>
                </a:cubicBezTo>
                <a:lnTo>
                  <a:pt x="289088" y="58064"/>
                </a:lnTo>
                <a:lnTo>
                  <a:pt x="56526" y="254836"/>
                </a:lnTo>
                <a:cubicBezTo>
                  <a:pt x="17765" y="287094"/>
                  <a:pt x="0" y="254836"/>
                  <a:pt x="0" y="254836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D84895E5-1279-497B-BC7A-19D92D82F07C}"/>
              </a:ext>
            </a:extLst>
          </p:cNvPr>
          <p:cNvSpPr/>
          <p:nvPr/>
        </p:nvSpPr>
        <p:spPr>
          <a:xfrm>
            <a:off x="5737993" y="1644513"/>
            <a:ext cx="307332" cy="270527"/>
          </a:xfrm>
          <a:custGeom>
            <a:avLst/>
            <a:gdLst>
              <a:gd name="connsiteX0" fmla="*/ 18335 w 604256"/>
              <a:gd name="connsiteY0" fmla="*/ 334272 h 531895"/>
              <a:gd name="connsiteX1" fmla="*/ 37988 w 604256"/>
              <a:gd name="connsiteY1" fmla="*/ 336249 h 531895"/>
              <a:gd name="connsiteX2" fmla="*/ 302130 w 604256"/>
              <a:gd name="connsiteY2" fmla="*/ 476833 h 531895"/>
              <a:gd name="connsiteX3" fmla="*/ 566126 w 604256"/>
              <a:gd name="connsiteY3" fmla="*/ 336249 h 531895"/>
              <a:gd name="connsiteX4" fmla="*/ 601178 w 604256"/>
              <a:gd name="connsiteY4" fmla="*/ 346793 h 531895"/>
              <a:gd name="connsiteX5" fmla="*/ 590619 w 604256"/>
              <a:gd name="connsiteY5" fmla="*/ 381793 h 531895"/>
              <a:gd name="connsiteX6" fmla="*/ 314303 w 604256"/>
              <a:gd name="connsiteY6" fmla="*/ 528820 h 531895"/>
              <a:gd name="connsiteX7" fmla="*/ 302130 w 604256"/>
              <a:gd name="connsiteY7" fmla="*/ 531895 h 531895"/>
              <a:gd name="connsiteX8" fmla="*/ 289957 w 604256"/>
              <a:gd name="connsiteY8" fmla="*/ 528820 h 531895"/>
              <a:gd name="connsiteX9" fmla="*/ 13641 w 604256"/>
              <a:gd name="connsiteY9" fmla="*/ 381793 h 531895"/>
              <a:gd name="connsiteX10" fmla="*/ 3082 w 604256"/>
              <a:gd name="connsiteY10" fmla="*/ 346793 h 531895"/>
              <a:gd name="connsiteX11" fmla="*/ 18335 w 604256"/>
              <a:gd name="connsiteY11" fmla="*/ 334272 h 531895"/>
              <a:gd name="connsiteX12" fmla="*/ 18335 w 604256"/>
              <a:gd name="connsiteY12" fmla="*/ 233364 h 531895"/>
              <a:gd name="connsiteX13" fmla="*/ 37988 w 604256"/>
              <a:gd name="connsiteY13" fmla="*/ 235341 h 531895"/>
              <a:gd name="connsiteX14" fmla="*/ 302130 w 604256"/>
              <a:gd name="connsiteY14" fmla="*/ 375925 h 531895"/>
              <a:gd name="connsiteX15" fmla="*/ 566126 w 604256"/>
              <a:gd name="connsiteY15" fmla="*/ 235341 h 531895"/>
              <a:gd name="connsiteX16" fmla="*/ 601178 w 604256"/>
              <a:gd name="connsiteY16" fmla="*/ 245885 h 531895"/>
              <a:gd name="connsiteX17" fmla="*/ 590619 w 604256"/>
              <a:gd name="connsiteY17" fmla="*/ 280885 h 531895"/>
              <a:gd name="connsiteX18" fmla="*/ 314303 w 604256"/>
              <a:gd name="connsiteY18" fmla="*/ 428058 h 531895"/>
              <a:gd name="connsiteX19" fmla="*/ 302130 w 604256"/>
              <a:gd name="connsiteY19" fmla="*/ 430987 h 531895"/>
              <a:gd name="connsiteX20" fmla="*/ 289957 w 604256"/>
              <a:gd name="connsiteY20" fmla="*/ 428058 h 531895"/>
              <a:gd name="connsiteX21" fmla="*/ 13641 w 604256"/>
              <a:gd name="connsiteY21" fmla="*/ 280885 h 531895"/>
              <a:gd name="connsiteX22" fmla="*/ 3082 w 604256"/>
              <a:gd name="connsiteY22" fmla="*/ 245885 h 531895"/>
              <a:gd name="connsiteX23" fmla="*/ 18335 w 604256"/>
              <a:gd name="connsiteY23" fmla="*/ 233364 h 531895"/>
              <a:gd name="connsiteX24" fmla="*/ 291571 w 604256"/>
              <a:gd name="connsiteY24" fmla="*/ 2196 h 531895"/>
              <a:gd name="connsiteX25" fmla="*/ 312689 w 604256"/>
              <a:gd name="connsiteY25" fmla="*/ 2196 h 531895"/>
              <a:gd name="connsiteX26" fmla="*/ 588846 w 604256"/>
              <a:gd name="connsiteY26" fmla="*/ 125214 h 531895"/>
              <a:gd name="connsiteX27" fmla="*/ 604245 w 604256"/>
              <a:gd name="connsiteY27" fmla="*/ 147914 h 531895"/>
              <a:gd name="connsiteX28" fmla="*/ 590605 w 604256"/>
              <a:gd name="connsiteY28" fmla="*/ 171639 h 531895"/>
              <a:gd name="connsiteX29" fmla="*/ 314303 w 604256"/>
              <a:gd name="connsiteY29" fmla="*/ 318676 h 531895"/>
              <a:gd name="connsiteX30" fmla="*/ 302130 w 604256"/>
              <a:gd name="connsiteY30" fmla="*/ 321751 h 531895"/>
              <a:gd name="connsiteX31" fmla="*/ 289957 w 604256"/>
              <a:gd name="connsiteY31" fmla="*/ 318676 h 531895"/>
              <a:gd name="connsiteX32" fmla="*/ 13654 w 604256"/>
              <a:gd name="connsiteY32" fmla="*/ 171639 h 531895"/>
              <a:gd name="connsiteX33" fmla="*/ 15 w 604256"/>
              <a:gd name="connsiteY33" fmla="*/ 147914 h 531895"/>
              <a:gd name="connsiteX34" fmla="*/ 15414 w 604256"/>
              <a:gd name="connsiteY34" fmla="*/ 125214 h 531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4256" h="531895">
                <a:moveTo>
                  <a:pt x="18335" y="334272"/>
                </a:moveTo>
                <a:cubicBezTo>
                  <a:pt x="24642" y="332369"/>
                  <a:pt x="31682" y="332881"/>
                  <a:pt x="37988" y="336249"/>
                </a:cubicBezTo>
                <a:lnTo>
                  <a:pt x="302130" y="476833"/>
                </a:lnTo>
                <a:lnTo>
                  <a:pt x="566126" y="336249"/>
                </a:lnTo>
                <a:cubicBezTo>
                  <a:pt x="578739" y="329513"/>
                  <a:pt x="594432" y="334199"/>
                  <a:pt x="601178" y="346793"/>
                </a:cubicBezTo>
                <a:cubicBezTo>
                  <a:pt x="607925" y="359387"/>
                  <a:pt x="603085" y="375056"/>
                  <a:pt x="590619" y="381793"/>
                </a:cubicBezTo>
                <a:lnTo>
                  <a:pt x="314303" y="528820"/>
                </a:lnTo>
                <a:cubicBezTo>
                  <a:pt x="310490" y="530870"/>
                  <a:pt x="306383" y="531895"/>
                  <a:pt x="302130" y="531895"/>
                </a:cubicBezTo>
                <a:cubicBezTo>
                  <a:pt x="297877" y="531895"/>
                  <a:pt x="293770" y="530870"/>
                  <a:pt x="289957" y="528820"/>
                </a:cubicBezTo>
                <a:lnTo>
                  <a:pt x="13641" y="381793"/>
                </a:lnTo>
                <a:cubicBezTo>
                  <a:pt x="1028" y="375056"/>
                  <a:pt x="-3665" y="359387"/>
                  <a:pt x="3082" y="346793"/>
                </a:cubicBezTo>
                <a:cubicBezTo>
                  <a:pt x="6455" y="340496"/>
                  <a:pt x="12028" y="336176"/>
                  <a:pt x="18335" y="334272"/>
                </a:cubicBezTo>
                <a:close/>
                <a:moveTo>
                  <a:pt x="18335" y="233364"/>
                </a:moveTo>
                <a:cubicBezTo>
                  <a:pt x="24642" y="231461"/>
                  <a:pt x="31682" y="231973"/>
                  <a:pt x="37988" y="235341"/>
                </a:cubicBezTo>
                <a:lnTo>
                  <a:pt x="302130" y="375925"/>
                </a:lnTo>
                <a:lnTo>
                  <a:pt x="566126" y="235341"/>
                </a:lnTo>
                <a:cubicBezTo>
                  <a:pt x="578739" y="228605"/>
                  <a:pt x="594432" y="233291"/>
                  <a:pt x="601178" y="245885"/>
                </a:cubicBezTo>
                <a:cubicBezTo>
                  <a:pt x="607925" y="258479"/>
                  <a:pt x="603085" y="274148"/>
                  <a:pt x="590619" y="280885"/>
                </a:cubicBezTo>
                <a:lnTo>
                  <a:pt x="314303" y="428058"/>
                </a:lnTo>
                <a:cubicBezTo>
                  <a:pt x="310490" y="430108"/>
                  <a:pt x="306383" y="430987"/>
                  <a:pt x="302130" y="430987"/>
                </a:cubicBezTo>
                <a:cubicBezTo>
                  <a:pt x="297877" y="430987"/>
                  <a:pt x="293770" y="430108"/>
                  <a:pt x="289957" y="428058"/>
                </a:cubicBezTo>
                <a:lnTo>
                  <a:pt x="13641" y="280885"/>
                </a:lnTo>
                <a:cubicBezTo>
                  <a:pt x="1028" y="274148"/>
                  <a:pt x="-3665" y="258479"/>
                  <a:pt x="3082" y="245885"/>
                </a:cubicBezTo>
                <a:cubicBezTo>
                  <a:pt x="6455" y="239588"/>
                  <a:pt x="12028" y="235268"/>
                  <a:pt x="18335" y="233364"/>
                </a:cubicBezTo>
                <a:close/>
                <a:moveTo>
                  <a:pt x="291571" y="2196"/>
                </a:moveTo>
                <a:cubicBezTo>
                  <a:pt x="298317" y="-733"/>
                  <a:pt x="305943" y="-733"/>
                  <a:pt x="312689" y="2196"/>
                </a:cubicBezTo>
                <a:lnTo>
                  <a:pt x="588846" y="125214"/>
                </a:lnTo>
                <a:cubicBezTo>
                  <a:pt x="597938" y="129315"/>
                  <a:pt x="603805" y="138102"/>
                  <a:pt x="604245" y="147914"/>
                </a:cubicBezTo>
                <a:cubicBezTo>
                  <a:pt x="604538" y="157726"/>
                  <a:pt x="599258" y="166953"/>
                  <a:pt x="590605" y="171639"/>
                </a:cubicBezTo>
                <a:lnTo>
                  <a:pt x="314303" y="318676"/>
                </a:lnTo>
                <a:cubicBezTo>
                  <a:pt x="310489" y="320726"/>
                  <a:pt x="306383" y="321751"/>
                  <a:pt x="302130" y="321751"/>
                </a:cubicBezTo>
                <a:cubicBezTo>
                  <a:pt x="297877" y="321751"/>
                  <a:pt x="293771" y="320726"/>
                  <a:pt x="289957" y="318676"/>
                </a:cubicBezTo>
                <a:lnTo>
                  <a:pt x="13654" y="171639"/>
                </a:lnTo>
                <a:cubicBezTo>
                  <a:pt x="5002" y="166953"/>
                  <a:pt x="-278" y="157726"/>
                  <a:pt x="15" y="147914"/>
                </a:cubicBezTo>
                <a:cubicBezTo>
                  <a:pt x="309" y="138102"/>
                  <a:pt x="6322" y="129315"/>
                  <a:pt x="15414" y="125214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95C5CDAD-FCEF-4D66-A676-F70519B8D36B}"/>
              </a:ext>
            </a:extLst>
          </p:cNvPr>
          <p:cNvSpPr txBox="1"/>
          <p:nvPr/>
        </p:nvSpPr>
        <p:spPr>
          <a:xfrm>
            <a:off x="673103" y="1589790"/>
            <a:ext cx="3819839" cy="87805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Unified fonts make</a:t>
            </a:r>
          </a:p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604F5681-A451-4AC4-B641-3AE4A16DD7C1}"/>
              </a:ext>
            </a:extLst>
          </p:cNvPr>
          <p:cNvSpPr txBox="1"/>
          <p:nvPr/>
        </p:nvSpPr>
        <p:spPr>
          <a:xfrm>
            <a:off x="673102" y="2467847"/>
            <a:ext cx="3819840" cy="116180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03106123-6711-4B40-BA1F-CBC5B73D6F39}"/>
              </a:ext>
            </a:extLst>
          </p:cNvPr>
          <p:cNvSpPr/>
          <p:nvPr/>
        </p:nvSpPr>
        <p:spPr bwMode="auto">
          <a:xfrm>
            <a:off x="673102" y="1246599"/>
            <a:ext cx="1670048" cy="34319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200" u="sng" dirty="0">
                <a:cs typeface="+mn-ea"/>
                <a:sym typeface="+mn-lt"/>
              </a:rPr>
              <a:t>Supporting text here.</a:t>
            </a: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62B3F9E4-52E9-40A3-B812-E5F06A3F3B02}"/>
              </a:ext>
            </a:extLst>
          </p:cNvPr>
          <p:cNvCxnSpPr/>
          <p:nvPr/>
        </p:nvCxnSpPr>
        <p:spPr>
          <a:xfrm>
            <a:off x="778598" y="2522168"/>
            <a:ext cx="1059255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>
            <a:extLst>
              <a:ext uri="{FF2B5EF4-FFF2-40B4-BE49-F238E27FC236}">
                <a16:creationId xmlns:a16="http://schemas.microsoft.com/office/drawing/2014/main" id="{800C30F5-022B-43CA-A3E4-F0824A354062}"/>
              </a:ext>
            </a:extLst>
          </p:cNvPr>
          <p:cNvSpPr txBox="1"/>
          <p:nvPr/>
        </p:nvSpPr>
        <p:spPr>
          <a:xfrm>
            <a:off x="5496608" y="4507255"/>
            <a:ext cx="2097450" cy="44669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计划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D36924A8-B54E-4FF7-A243-B9E176D08438}"/>
              </a:ext>
            </a:extLst>
          </p:cNvPr>
          <p:cNvSpPr/>
          <p:nvPr/>
        </p:nvSpPr>
        <p:spPr bwMode="auto">
          <a:xfrm>
            <a:off x="5496608" y="4953951"/>
            <a:ext cx="2097450" cy="119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100" dirty="0">
              <a:cs typeface="+mn-ea"/>
              <a:sym typeface="+mn-lt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99156384-26E8-4B6C-9497-A70D4F2F0255}"/>
              </a:ext>
            </a:extLst>
          </p:cNvPr>
          <p:cNvCxnSpPr/>
          <p:nvPr/>
        </p:nvCxnSpPr>
        <p:spPr>
          <a:xfrm>
            <a:off x="5389615" y="4575797"/>
            <a:ext cx="0" cy="150246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文本框 41">
            <a:extLst>
              <a:ext uri="{FF2B5EF4-FFF2-40B4-BE49-F238E27FC236}">
                <a16:creationId xmlns:a16="http://schemas.microsoft.com/office/drawing/2014/main" id="{502DF840-EA2F-48FE-9FB8-DCC0D282ED54}"/>
              </a:ext>
            </a:extLst>
          </p:cNvPr>
          <p:cNvSpPr txBox="1"/>
          <p:nvPr/>
        </p:nvSpPr>
        <p:spPr bwMode="auto">
          <a:xfrm>
            <a:off x="4479627" y="5126972"/>
            <a:ext cx="755335" cy="400110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solidFill>
                  <a:schemeClr val="accent1"/>
                </a:solidFill>
                <a:cs typeface="+mn-ea"/>
                <a:sym typeface="+mn-lt"/>
              </a:rPr>
              <a:t>1559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12160924-89AE-4F25-949D-396B58BF81B9}"/>
              </a:ext>
            </a:extLst>
          </p:cNvPr>
          <p:cNvSpPr txBox="1"/>
          <p:nvPr/>
        </p:nvSpPr>
        <p:spPr>
          <a:xfrm>
            <a:off x="9421450" y="4507255"/>
            <a:ext cx="2097450" cy="44669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计划</a:t>
            </a:r>
            <a:endParaRPr lang="id-ID" altLang="zh-CN" sz="1600" b="1" dirty="0">
              <a:cs typeface="+mn-ea"/>
              <a:sym typeface="+mn-lt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3AA05FC8-2981-43CF-95FE-485CC171EA2A}"/>
              </a:ext>
            </a:extLst>
          </p:cNvPr>
          <p:cNvSpPr/>
          <p:nvPr/>
        </p:nvSpPr>
        <p:spPr bwMode="auto">
          <a:xfrm>
            <a:off x="9421450" y="4953951"/>
            <a:ext cx="2097450" cy="1192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100" dirty="0">
              <a:cs typeface="+mn-ea"/>
              <a:sym typeface="+mn-lt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65ED2D8D-AAB7-4AB1-BAD4-09A45D1453D0}"/>
              </a:ext>
            </a:extLst>
          </p:cNvPr>
          <p:cNvCxnSpPr/>
          <p:nvPr/>
        </p:nvCxnSpPr>
        <p:spPr>
          <a:xfrm>
            <a:off x="9314457" y="4575797"/>
            <a:ext cx="0" cy="150246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36">
            <a:extLst>
              <a:ext uri="{FF2B5EF4-FFF2-40B4-BE49-F238E27FC236}">
                <a16:creationId xmlns:a16="http://schemas.microsoft.com/office/drawing/2014/main" id="{4C6D6191-0C44-444E-AFE4-A4B4D7435C9B}"/>
              </a:ext>
            </a:extLst>
          </p:cNvPr>
          <p:cNvSpPr txBox="1"/>
          <p:nvPr/>
        </p:nvSpPr>
        <p:spPr bwMode="auto">
          <a:xfrm>
            <a:off x="8411554" y="5126972"/>
            <a:ext cx="741165" cy="400110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ctr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1176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EEC77C2-6AAC-41B2-8D24-B73789634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明年工作计划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83C8B1A7-25BD-4E06-B453-778AB9EA3397}"/>
              </a:ext>
            </a:extLst>
          </p:cNvPr>
          <p:cNvSpPr/>
          <p:nvPr/>
        </p:nvSpPr>
        <p:spPr bwMode="auto">
          <a:xfrm>
            <a:off x="4933214" y="2486784"/>
            <a:ext cx="2323978" cy="2325611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C61378A1-206A-4095-9DA5-1EE506E888D4}"/>
              </a:ext>
            </a:extLst>
          </p:cNvPr>
          <p:cNvSpPr/>
          <p:nvPr/>
        </p:nvSpPr>
        <p:spPr bwMode="auto">
          <a:xfrm>
            <a:off x="6103362" y="1975965"/>
            <a:ext cx="1667912" cy="1667912"/>
          </a:xfrm>
          <a:custGeom>
            <a:avLst/>
            <a:gdLst>
              <a:gd name="T0" fmla="*/ 827 w 827"/>
              <a:gd name="T1" fmla="*/ 827 h 827"/>
              <a:gd name="T2" fmla="*/ 788 w 827"/>
              <a:gd name="T3" fmla="*/ 827 h 827"/>
              <a:gd name="T4" fmla="*/ 0 w 827"/>
              <a:gd name="T5" fmla="*/ 40 h 827"/>
              <a:gd name="T6" fmla="*/ 0 w 827"/>
              <a:gd name="T7" fmla="*/ 0 h 827"/>
              <a:gd name="T8" fmla="*/ 585 w 827"/>
              <a:gd name="T9" fmla="*/ 242 h 827"/>
              <a:gd name="T10" fmla="*/ 827 w 827"/>
              <a:gd name="T11" fmla="*/ 827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7" h="827">
                <a:moveTo>
                  <a:pt x="827" y="827"/>
                </a:moveTo>
                <a:cubicBezTo>
                  <a:pt x="788" y="827"/>
                  <a:pt x="788" y="827"/>
                  <a:pt x="788" y="827"/>
                </a:cubicBezTo>
                <a:cubicBezTo>
                  <a:pt x="788" y="395"/>
                  <a:pt x="436" y="4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220" y="0"/>
                  <a:pt x="429" y="86"/>
                  <a:pt x="585" y="242"/>
                </a:cubicBezTo>
                <a:cubicBezTo>
                  <a:pt x="742" y="399"/>
                  <a:pt x="827" y="607"/>
                  <a:pt x="827" y="82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4D8B1E1A-7740-4724-8212-C201742A7F45}"/>
              </a:ext>
            </a:extLst>
          </p:cNvPr>
          <p:cNvSpPr/>
          <p:nvPr/>
        </p:nvSpPr>
        <p:spPr bwMode="auto">
          <a:xfrm>
            <a:off x="4430556" y="1975965"/>
            <a:ext cx="1672808" cy="1667912"/>
          </a:xfrm>
          <a:custGeom>
            <a:avLst/>
            <a:gdLst>
              <a:gd name="T0" fmla="*/ 40 w 830"/>
              <a:gd name="T1" fmla="*/ 827 h 827"/>
              <a:gd name="T2" fmla="*/ 0 w 830"/>
              <a:gd name="T3" fmla="*/ 827 h 827"/>
              <a:gd name="T4" fmla="*/ 244 w 830"/>
              <a:gd name="T5" fmla="*/ 242 h 827"/>
              <a:gd name="T6" fmla="*/ 830 w 830"/>
              <a:gd name="T7" fmla="*/ 0 h 827"/>
              <a:gd name="T8" fmla="*/ 830 w 830"/>
              <a:gd name="T9" fmla="*/ 40 h 827"/>
              <a:gd name="T10" fmla="*/ 40 w 830"/>
              <a:gd name="T11" fmla="*/ 827 h 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0" h="827">
                <a:moveTo>
                  <a:pt x="40" y="827"/>
                </a:moveTo>
                <a:cubicBezTo>
                  <a:pt x="0" y="827"/>
                  <a:pt x="0" y="827"/>
                  <a:pt x="0" y="827"/>
                </a:cubicBezTo>
                <a:cubicBezTo>
                  <a:pt x="0" y="607"/>
                  <a:pt x="87" y="399"/>
                  <a:pt x="244" y="242"/>
                </a:cubicBezTo>
                <a:cubicBezTo>
                  <a:pt x="400" y="86"/>
                  <a:pt x="610" y="0"/>
                  <a:pt x="830" y="0"/>
                </a:cubicBezTo>
                <a:cubicBezTo>
                  <a:pt x="830" y="40"/>
                  <a:pt x="830" y="40"/>
                  <a:pt x="830" y="40"/>
                </a:cubicBezTo>
                <a:cubicBezTo>
                  <a:pt x="394" y="40"/>
                  <a:pt x="40" y="395"/>
                  <a:pt x="40" y="8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0C4BB827-DCB1-4C8D-A115-C9122D07D34D}"/>
              </a:ext>
            </a:extLst>
          </p:cNvPr>
          <p:cNvSpPr/>
          <p:nvPr/>
        </p:nvSpPr>
        <p:spPr bwMode="auto">
          <a:xfrm>
            <a:off x="4430556" y="3643877"/>
            <a:ext cx="1672808" cy="1674440"/>
          </a:xfrm>
          <a:custGeom>
            <a:avLst/>
            <a:gdLst>
              <a:gd name="T0" fmla="*/ 830 w 830"/>
              <a:gd name="T1" fmla="*/ 830 h 830"/>
              <a:gd name="T2" fmla="*/ 244 w 830"/>
              <a:gd name="T3" fmla="*/ 587 h 830"/>
              <a:gd name="T4" fmla="*/ 0 w 830"/>
              <a:gd name="T5" fmla="*/ 0 h 830"/>
              <a:gd name="T6" fmla="*/ 40 w 830"/>
              <a:gd name="T7" fmla="*/ 0 h 830"/>
              <a:gd name="T8" fmla="*/ 830 w 830"/>
              <a:gd name="T9" fmla="*/ 791 h 830"/>
              <a:gd name="T10" fmla="*/ 830 w 830"/>
              <a:gd name="T11" fmla="*/ 830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30" h="830">
                <a:moveTo>
                  <a:pt x="830" y="830"/>
                </a:moveTo>
                <a:cubicBezTo>
                  <a:pt x="610" y="830"/>
                  <a:pt x="400" y="743"/>
                  <a:pt x="244" y="587"/>
                </a:cubicBezTo>
                <a:cubicBezTo>
                  <a:pt x="87" y="430"/>
                  <a:pt x="0" y="224"/>
                  <a:pt x="0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40" y="436"/>
                  <a:pt x="394" y="791"/>
                  <a:pt x="830" y="791"/>
                </a:cubicBezTo>
                <a:lnTo>
                  <a:pt x="830" y="83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E450EEAB-F593-4A58-AA5F-420EE621C699}"/>
              </a:ext>
            </a:extLst>
          </p:cNvPr>
          <p:cNvSpPr/>
          <p:nvPr/>
        </p:nvSpPr>
        <p:spPr bwMode="auto">
          <a:xfrm>
            <a:off x="6103362" y="3643877"/>
            <a:ext cx="1667912" cy="1674440"/>
          </a:xfrm>
          <a:custGeom>
            <a:avLst/>
            <a:gdLst>
              <a:gd name="T0" fmla="*/ 0 w 827"/>
              <a:gd name="T1" fmla="*/ 830 h 830"/>
              <a:gd name="T2" fmla="*/ 0 w 827"/>
              <a:gd name="T3" fmla="*/ 791 h 830"/>
              <a:gd name="T4" fmla="*/ 788 w 827"/>
              <a:gd name="T5" fmla="*/ 0 h 830"/>
              <a:gd name="T6" fmla="*/ 827 w 827"/>
              <a:gd name="T7" fmla="*/ 0 h 830"/>
              <a:gd name="T8" fmla="*/ 585 w 827"/>
              <a:gd name="T9" fmla="*/ 587 h 830"/>
              <a:gd name="T10" fmla="*/ 0 w 827"/>
              <a:gd name="T11" fmla="*/ 830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7" h="830">
                <a:moveTo>
                  <a:pt x="0" y="830"/>
                </a:moveTo>
                <a:cubicBezTo>
                  <a:pt x="0" y="791"/>
                  <a:pt x="0" y="791"/>
                  <a:pt x="0" y="791"/>
                </a:cubicBezTo>
                <a:cubicBezTo>
                  <a:pt x="436" y="791"/>
                  <a:pt x="788" y="436"/>
                  <a:pt x="788" y="0"/>
                </a:cubicBezTo>
                <a:cubicBezTo>
                  <a:pt x="827" y="0"/>
                  <a:pt x="827" y="0"/>
                  <a:pt x="827" y="0"/>
                </a:cubicBezTo>
                <a:cubicBezTo>
                  <a:pt x="827" y="224"/>
                  <a:pt x="742" y="430"/>
                  <a:pt x="585" y="587"/>
                </a:cubicBezTo>
                <a:cubicBezTo>
                  <a:pt x="429" y="743"/>
                  <a:pt x="220" y="830"/>
                  <a:pt x="0" y="83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0FD8274B-A9EB-4A00-AB2C-3709CB9552FD}"/>
              </a:ext>
            </a:extLst>
          </p:cNvPr>
          <p:cNvSpPr/>
          <p:nvPr/>
        </p:nvSpPr>
        <p:spPr bwMode="auto">
          <a:xfrm>
            <a:off x="6023395" y="1933533"/>
            <a:ext cx="161569" cy="16156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0818F0C5-B5FF-47F2-84AB-CEC1AB6CB606}"/>
              </a:ext>
            </a:extLst>
          </p:cNvPr>
          <p:cNvSpPr/>
          <p:nvPr/>
        </p:nvSpPr>
        <p:spPr bwMode="auto">
          <a:xfrm>
            <a:off x="6023395" y="5194283"/>
            <a:ext cx="161569" cy="161569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B1266379-0D4A-4324-9F59-32847380EBFD}"/>
              </a:ext>
            </a:extLst>
          </p:cNvPr>
          <p:cNvSpPr/>
          <p:nvPr/>
        </p:nvSpPr>
        <p:spPr bwMode="auto">
          <a:xfrm>
            <a:off x="7652138" y="3563909"/>
            <a:ext cx="164833" cy="16320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C83CD83F-3F81-417D-A6C6-55BEBEE95B72}"/>
              </a:ext>
            </a:extLst>
          </p:cNvPr>
          <p:cNvSpPr/>
          <p:nvPr/>
        </p:nvSpPr>
        <p:spPr bwMode="auto">
          <a:xfrm>
            <a:off x="6091940" y="3645508"/>
            <a:ext cx="1165254" cy="1166886"/>
          </a:xfrm>
          <a:custGeom>
            <a:avLst/>
            <a:gdLst>
              <a:gd name="T0" fmla="*/ 1 w 578"/>
              <a:gd name="T1" fmla="*/ 578 h 578"/>
              <a:gd name="T2" fmla="*/ 1 w 578"/>
              <a:gd name="T3" fmla="*/ 578 h 578"/>
              <a:gd name="T4" fmla="*/ 1 w 578"/>
              <a:gd name="T5" fmla="*/ 578 h 578"/>
              <a:gd name="T6" fmla="*/ 0 w 578"/>
              <a:gd name="T7" fmla="*/ 578 h 578"/>
              <a:gd name="T8" fmla="*/ 0 w 578"/>
              <a:gd name="T9" fmla="*/ 578 h 578"/>
              <a:gd name="T10" fmla="*/ 0 w 578"/>
              <a:gd name="T11" fmla="*/ 578 h 578"/>
              <a:gd name="T12" fmla="*/ 578 w 578"/>
              <a:gd name="T13" fmla="*/ 1 h 578"/>
              <a:gd name="T14" fmla="*/ 578 w 578"/>
              <a:gd name="T15" fmla="*/ 1 h 578"/>
              <a:gd name="T16" fmla="*/ 578 w 578"/>
              <a:gd name="T17" fmla="*/ 1 h 578"/>
              <a:gd name="T18" fmla="*/ 578 w 578"/>
              <a:gd name="T19" fmla="*/ 0 h 578"/>
              <a:gd name="T20" fmla="*/ 578 w 578"/>
              <a:gd name="T21" fmla="*/ 0 h 578"/>
              <a:gd name="T22" fmla="*/ 578 w 578"/>
              <a:gd name="T23" fmla="*/ 0 h 578"/>
              <a:gd name="T24" fmla="*/ 578 w 578"/>
              <a:gd name="T25" fmla="*/ 0 h 578"/>
              <a:gd name="T26" fmla="*/ 578 w 578"/>
              <a:gd name="T27" fmla="*/ 0 h 578"/>
              <a:gd name="T28" fmla="*/ 578 w 578"/>
              <a:gd name="T29" fmla="*/ 0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78" h="578">
                <a:moveTo>
                  <a:pt x="1" y="578"/>
                </a:moveTo>
                <a:cubicBezTo>
                  <a:pt x="1" y="578"/>
                  <a:pt x="1" y="578"/>
                  <a:pt x="1" y="578"/>
                </a:cubicBezTo>
                <a:cubicBezTo>
                  <a:pt x="1" y="578"/>
                  <a:pt x="1" y="578"/>
                  <a:pt x="1" y="578"/>
                </a:cubicBezTo>
                <a:moveTo>
                  <a:pt x="0" y="578"/>
                </a:moveTo>
                <a:cubicBezTo>
                  <a:pt x="0" y="578"/>
                  <a:pt x="0" y="578"/>
                  <a:pt x="0" y="578"/>
                </a:cubicBezTo>
                <a:cubicBezTo>
                  <a:pt x="0" y="578"/>
                  <a:pt x="0" y="578"/>
                  <a:pt x="0" y="578"/>
                </a:cubicBezTo>
                <a:moveTo>
                  <a:pt x="578" y="1"/>
                </a:moveTo>
                <a:cubicBezTo>
                  <a:pt x="578" y="1"/>
                  <a:pt x="578" y="1"/>
                  <a:pt x="578" y="1"/>
                </a:cubicBezTo>
                <a:cubicBezTo>
                  <a:pt x="578" y="1"/>
                  <a:pt x="578" y="1"/>
                  <a:pt x="578" y="1"/>
                </a:cubicBezTo>
                <a:moveTo>
                  <a:pt x="578" y="0"/>
                </a:moveTo>
                <a:cubicBezTo>
                  <a:pt x="578" y="0"/>
                  <a:pt x="578" y="0"/>
                  <a:pt x="578" y="0"/>
                </a:cubicBezTo>
                <a:cubicBezTo>
                  <a:pt x="578" y="0"/>
                  <a:pt x="578" y="0"/>
                  <a:pt x="578" y="0"/>
                </a:cubicBezTo>
                <a:moveTo>
                  <a:pt x="578" y="0"/>
                </a:moveTo>
                <a:cubicBezTo>
                  <a:pt x="578" y="0"/>
                  <a:pt x="578" y="0"/>
                  <a:pt x="578" y="0"/>
                </a:cubicBezTo>
                <a:cubicBezTo>
                  <a:pt x="578" y="0"/>
                  <a:pt x="578" y="0"/>
                  <a:pt x="578" y="0"/>
                </a:cubicBezTo>
              </a:path>
            </a:pathLst>
          </a:custGeom>
          <a:solidFill>
            <a:srgbClr val="DCFF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8148E285-D648-4E08-974C-89AE2B6353D0}"/>
              </a:ext>
            </a:extLst>
          </p:cNvPr>
          <p:cNvSpPr/>
          <p:nvPr/>
        </p:nvSpPr>
        <p:spPr bwMode="auto">
          <a:xfrm>
            <a:off x="5169854" y="2725057"/>
            <a:ext cx="1847432" cy="184906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1E4BD720-2CF5-4D99-A1AA-F870C556508A}"/>
              </a:ext>
            </a:extLst>
          </p:cNvPr>
          <p:cNvSpPr/>
          <p:nvPr/>
        </p:nvSpPr>
        <p:spPr bwMode="auto">
          <a:xfrm>
            <a:off x="5191072" y="2743008"/>
            <a:ext cx="1806632" cy="180663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705F1E8F-BF83-419D-BCE9-3591AC70A0D9}"/>
              </a:ext>
            </a:extLst>
          </p:cNvPr>
          <p:cNvSpPr/>
          <p:nvPr/>
        </p:nvSpPr>
        <p:spPr bwMode="auto">
          <a:xfrm>
            <a:off x="5463616" y="3018818"/>
            <a:ext cx="1261542" cy="127949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71738E5C-A838-4092-8F8D-9E284C072843}"/>
              </a:ext>
            </a:extLst>
          </p:cNvPr>
          <p:cNvSpPr/>
          <p:nvPr/>
        </p:nvSpPr>
        <p:spPr bwMode="auto">
          <a:xfrm>
            <a:off x="5781857" y="3335427"/>
            <a:ext cx="625060" cy="62669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4550EED4-8CF6-42AD-AE0A-55A9C4AE2DA4}"/>
              </a:ext>
            </a:extLst>
          </p:cNvPr>
          <p:cNvSpPr/>
          <p:nvPr/>
        </p:nvSpPr>
        <p:spPr bwMode="auto">
          <a:xfrm>
            <a:off x="5799809" y="3353379"/>
            <a:ext cx="590787" cy="5907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椭圆 48">
            <a:extLst>
              <a:ext uri="{FF2B5EF4-FFF2-40B4-BE49-F238E27FC236}">
                <a16:creationId xmlns:a16="http://schemas.microsoft.com/office/drawing/2014/main" id="{23FB3A72-3AF3-42C5-BEED-0022AB152A7C}"/>
              </a:ext>
            </a:extLst>
          </p:cNvPr>
          <p:cNvSpPr/>
          <p:nvPr/>
        </p:nvSpPr>
        <p:spPr bwMode="auto">
          <a:xfrm>
            <a:off x="4391388" y="3563909"/>
            <a:ext cx="164833" cy="163201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1A7470FF-94A1-4158-93AC-1E37D49D04AF}"/>
              </a:ext>
            </a:extLst>
          </p:cNvPr>
          <p:cNvSpPr/>
          <p:nvPr/>
        </p:nvSpPr>
        <p:spPr bwMode="auto">
          <a:xfrm>
            <a:off x="7947776" y="3463540"/>
            <a:ext cx="422691" cy="362306"/>
          </a:xfrm>
          <a:custGeom>
            <a:avLst/>
            <a:gdLst>
              <a:gd name="T0" fmla="*/ 65 w 259"/>
              <a:gd name="T1" fmla="*/ 222 h 222"/>
              <a:gd name="T2" fmla="*/ 0 w 259"/>
              <a:gd name="T3" fmla="*/ 111 h 222"/>
              <a:gd name="T4" fmla="*/ 65 w 259"/>
              <a:gd name="T5" fmla="*/ 0 h 222"/>
              <a:gd name="T6" fmla="*/ 195 w 259"/>
              <a:gd name="T7" fmla="*/ 0 h 222"/>
              <a:gd name="T8" fmla="*/ 259 w 259"/>
              <a:gd name="T9" fmla="*/ 111 h 222"/>
              <a:gd name="T10" fmla="*/ 195 w 259"/>
              <a:gd name="T11" fmla="*/ 222 h 222"/>
              <a:gd name="T12" fmla="*/ 65 w 259"/>
              <a:gd name="T13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9" h="222">
                <a:moveTo>
                  <a:pt x="65" y="222"/>
                </a:moveTo>
                <a:lnTo>
                  <a:pt x="0" y="111"/>
                </a:lnTo>
                <a:lnTo>
                  <a:pt x="65" y="0"/>
                </a:lnTo>
                <a:lnTo>
                  <a:pt x="195" y="0"/>
                </a:lnTo>
                <a:lnTo>
                  <a:pt x="259" y="111"/>
                </a:lnTo>
                <a:lnTo>
                  <a:pt x="195" y="222"/>
                </a:lnTo>
                <a:lnTo>
                  <a:pt x="65" y="2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3E658E32-FE15-4963-AF92-E1731E18D166}"/>
              </a:ext>
            </a:extLst>
          </p:cNvPr>
          <p:cNvSpPr/>
          <p:nvPr/>
        </p:nvSpPr>
        <p:spPr bwMode="auto">
          <a:xfrm>
            <a:off x="5895772" y="5506307"/>
            <a:ext cx="425955" cy="363938"/>
          </a:xfrm>
          <a:custGeom>
            <a:avLst/>
            <a:gdLst>
              <a:gd name="T0" fmla="*/ 66 w 261"/>
              <a:gd name="T1" fmla="*/ 223 h 223"/>
              <a:gd name="T2" fmla="*/ 0 w 261"/>
              <a:gd name="T3" fmla="*/ 111 h 223"/>
              <a:gd name="T4" fmla="*/ 66 w 261"/>
              <a:gd name="T5" fmla="*/ 0 h 223"/>
              <a:gd name="T6" fmla="*/ 196 w 261"/>
              <a:gd name="T7" fmla="*/ 0 h 223"/>
              <a:gd name="T8" fmla="*/ 261 w 261"/>
              <a:gd name="T9" fmla="*/ 111 h 223"/>
              <a:gd name="T10" fmla="*/ 196 w 261"/>
              <a:gd name="T11" fmla="*/ 223 h 223"/>
              <a:gd name="T12" fmla="*/ 66 w 261"/>
              <a:gd name="T13" fmla="*/ 223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1" h="223">
                <a:moveTo>
                  <a:pt x="66" y="223"/>
                </a:moveTo>
                <a:lnTo>
                  <a:pt x="0" y="111"/>
                </a:lnTo>
                <a:lnTo>
                  <a:pt x="66" y="0"/>
                </a:lnTo>
                <a:lnTo>
                  <a:pt x="196" y="0"/>
                </a:lnTo>
                <a:lnTo>
                  <a:pt x="261" y="111"/>
                </a:lnTo>
                <a:lnTo>
                  <a:pt x="196" y="223"/>
                </a:lnTo>
                <a:lnTo>
                  <a:pt x="66" y="2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AC99AC92-A042-4E07-B6C1-5E9F8AC11273}"/>
              </a:ext>
            </a:extLst>
          </p:cNvPr>
          <p:cNvSpPr/>
          <p:nvPr/>
        </p:nvSpPr>
        <p:spPr bwMode="auto">
          <a:xfrm>
            <a:off x="3821533" y="3463540"/>
            <a:ext cx="422691" cy="362306"/>
          </a:xfrm>
          <a:custGeom>
            <a:avLst/>
            <a:gdLst>
              <a:gd name="T0" fmla="*/ 64 w 259"/>
              <a:gd name="T1" fmla="*/ 222 h 222"/>
              <a:gd name="T2" fmla="*/ 0 w 259"/>
              <a:gd name="T3" fmla="*/ 111 h 222"/>
              <a:gd name="T4" fmla="*/ 64 w 259"/>
              <a:gd name="T5" fmla="*/ 0 h 222"/>
              <a:gd name="T6" fmla="*/ 195 w 259"/>
              <a:gd name="T7" fmla="*/ 0 h 222"/>
              <a:gd name="T8" fmla="*/ 259 w 259"/>
              <a:gd name="T9" fmla="*/ 111 h 222"/>
              <a:gd name="T10" fmla="*/ 195 w 259"/>
              <a:gd name="T11" fmla="*/ 222 h 222"/>
              <a:gd name="T12" fmla="*/ 64 w 259"/>
              <a:gd name="T13" fmla="*/ 222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9" h="222">
                <a:moveTo>
                  <a:pt x="64" y="222"/>
                </a:moveTo>
                <a:lnTo>
                  <a:pt x="0" y="111"/>
                </a:lnTo>
                <a:lnTo>
                  <a:pt x="64" y="0"/>
                </a:lnTo>
                <a:lnTo>
                  <a:pt x="195" y="0"/>
                </a:lnTo>
                <a:lnTo>
                  <a:pt x="259" y="111"/>
                </a:lnTo>
                <a:lnTo>
                  <a:pt x="195" y="222"/>
                </a:lnTo>
                <a:lnTo>
                  <a:pt x="64" y="22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90BD1377-1595-477E-9AAF-FBC962F4DE8E}"/>
              </a:ext>
            </a:extLst>
          </p:cNvPr>
          <p:cNvSpPr/>
          <p:nvPr/>
        </p:nvSpPr>
        <p:spPr bwMode="auto">
          <a:xfrm>
            <a:off x="5895772" y="1394155"/>
            <a:ext cx="425955" cy="363938"/>
          </a:xfrm>
          <a:custGeom>
            <a:avLst/>
            <a:gdLst>
              <a:gd name="T0" fmla="*/ 66 w 261"/>
              <a:gd name="T1" fmla="*/ 223 h 223"/>
              <a:gd name="T2" fmla="*/ 0 w 261"/>
              <a:gd name="T3" fmla="*/ 111 h 223"/>
              <a:gd name="T4" fmla="*/ 66 w 261"/>
              <a:gd name="T5" fmla="*/ 0 h 223"/>
              <a:gd name="T6" fmla="*/ 196 w 261"/>
              <a:gd name="T7" fmla="*/ 0 h 223"/>
              <a:gd name="T8" fmla="*/ 261 w 261"/>
              <a:gd name="T9" fmla="*/ 111 h 223"/>
              <a:gd name="T10" fmla="*/ 196 w 261"/>
              <a:gd name="T11" fmla="*/ 223 h 223"/>
              <a:gd name="T12" fmla="*/ 66 w 261"/>
              <a:gd name="T13" fmla="*/ 223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61" h="223">
                <a:moveTo>
                  <a:pt x="66" y="223"/>
                </a:moveTo>
                <a:lnTo>
                  <a:pt x="0" y="111"/>
                </a:lnTo>
                <a:lnTo>
                  <a:pt x="66" y="0"/>
                </a:lnTo>
                <a:lnTo>
                  <a:pt x="196" y="0"/>
                </a:lnTo>
                <a:lnTo>
                  <a:pt x="261" y="111"/>
                </a:lnTo>
                <a:lnTo>
                  <a:pt x="196" y="223"/>
                </a:lnTo>
                <a:lnTo>
                  <a:pt x="66" y="22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E8ADA359-A7F8-4606-979B-89864B750336}"/>
              </a:ext>
            </a:extLst>
          </p:cNvPr>
          <p:cNvSpPr/>
          <p:nvPr/>
        </p:nvSpPr>
        <p:spPr bwMode="auto">
          <a:xfrm>
            <a:off x="5999536" y="1487521"/>
            <a:ext cx="220353" cy="193232"/>
          </a:xfrm>
          <a:custGeom>
            <a:avLst/>
            <a:gdLst>
              <a:gd name="connsiteX0" fmla="*/ 63603 w 220353"/>
              <a:gd name="connsiteY0" fmla="*/ 34659 h 193232"/>
              <a:gd name="connsiteX1" fmla="*/ 67052 w 220353"/>
              <a:gd name="connsiteY1" fmla="*/ 38108 h 193232"/>
              <a:gd name="connsiteX2" fmla="*/ 63603 w 220353"/>
              <a:gd name="connsiteY2" fmla="*/ 41558 h 193232"/>
              <a:gd name="connsiteX3" fmla="*/ 63596 w 220353"/>
              <a:gd name="connsiteY3" fmla="*/ 41558 h 193232"/>
              <a:gd name="connsiteX4" fmla="*/ 41181 w 220353"/>
              <a:gd name="connsiteY4" fmla="*/ 63972 h 193232"/>
              <a:gd name="connsiteX5" fmla="*/ 41181 w 220353"/>
              <a:gd name="connsiteY5" fmla="*/ 63980 h 193232"/>
              <a:gd name="connsiteX6" fmla="*/ 37731 w 220353"/>
              <a:gd name="connsiteY6" fmla="*/ 67430 h 193232"/>
              <a:gd name="connsiteX7" fmla="*/ 34282 w 220353"/>
              <a:gd name="connsiteY7" fmla="*/ 63980 h 193232"/>
              <a:gd name="connsiteX8" fmla="*/ 63576 w 220353"/>
              <a:gd name="connsiteY8" fmla="*/ 34665 h 193232"/>
              <a:gd name="connsiteX9" fmla="*/ 63603 w 220353"/>
              <a:gd name="connsiteY9" fmla="*/ 34659 h 193232"/>
              <a:gd name="connsiteX10" fmla="*/ 64605 w 220353"/>
              <a:gd name="connsiteY10" fmla="*/ 13784 h 193232"/>
              <a:gd name="connsiteX11" fmla="*/ 29149 w 220353"/>
              <a:gd name="connsiteY11" fmla="*/ 28806 h 193232"/>
              <a:gd name="connsiteX12" fmla="*/ 29149 w 220353"/>
              <a:gd name="connsiteY12" fmla="*/ 101903 h 193232"/>
              <a:gd name="connsiteX13" fmla="*/ 105265 w 220353"/>
              <a:gd name="connsiteY13" fmla="*/ 177426 h 193232"/>
              <a:gd name="connsiteX14" fmla="*/ 115080 w 220353"/>
              <a:gd name="connsiteY14" fmla="*/ 177426 h 193232"/>
              <a:gd name="connsiteX15" fmla="*/ 191196 w 220353"/>
              <a:gd name="connsiteY15" fmla="*/ 101903 h 193232"/>
              <a:gd name="connsiteX16" fmla="*/ 191196 w 220353"/>
              <a:gd name="connsiteY16" fmla="*/ 28806 h 193232"/>
              <a:gd name="connsiteX17" fmla="*/ 119507 w 220353"/>
              <a:gd name="connsiteY17" fmla="*/ 27276 h 193232"/>
              <a:gd name="connsiteX18" fmla="*/ 110167 w 220353"/>
              <a:gd name="connsiteY18" fmla="*/ 35691 h 193232"/>
              <a:gd name="connsiteX19" fmla="*/ 100838 w 220353"/>
              <a:gd name="connsiteY19" fmla="*/ 27276 h 193232"/>
              <a:gd name="connsiteX20" fmla="*/ 64605 w 220353"/>
              <a:gd name="connsiteY20" fmla="*/ 13784 h 193232"/>
              <a:gd name="connsiteX21" fmla="*/ 64413 w 220353"/>
              <a:gd name="connsiteY21" fmla="*/ 12 h 193232"/>
              <a:gd name="connsiteX22" fmla="*/ 110167 w 220353"/>
              <a:gd name="connsiteY22" fmla="*/ 17078 h 193232"/>
              <a:gd name="connsiteX23" fmla="*/ 201022 w 220353"/>
              <a:gd name="connsiteY23" fmla="*/ 19065 h 193232"/>
              <a:gd name="connsiteX24" fmla="*/ 201022 w 220353"/>
              <a:gd name="connsiteY24" fmla="*/ 111653 h 193232"/>
              <a:gd name="connsiteX25" fmla="*/ 124906 w 220353"/>
              <a:gd name="connsiteY25" fmla="*/ 187166 h 193232"/>
              <a:gd name="connsiteX26" fmla="*/ 95438 w 220353"/>
              <a:gd name="connsiteY26" fmla="*/ 187166 h 193232"/>
              <a:gd name="connsiteX27" fmla="*/ 19323 w 220353"/>
              <a:gd name="connsiteY27" fmla="*/ 111653 h 193232"/>
              <a:gd name="connsiteX28" fmla="*/ 19323 w 220353"/>
              <a:gd name="connsiteY28" fmla="*/ 19065 h 193232"/>
              <a:gd name="connsiteX29" fmla="*/ 64413 w 220353"/>
              <a:gd name="connsiteY29" fmla="*/ 12 h 193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20353" h="193232">
                <a:moveTo>
                  <a:pt x="63603" y="34659"/>
                </a:moveTo>
                <a:cubicBezTo>
                  <a:pt x="65506" y="34659"/>
                  <a:pt x="67052" y="36205"/>
                  <a:pt x="67052" y="38108"/>
                </a:cubicBezTo>
                <a:cubicBezTo>
                  <a:pt x="67052" y="40012"/>
                  <a:pt x="65506" y="41558"/>
                  <a:pt x="63603" y="41558"/>
                </a:cubicBezTo>
                <a:lnTo>
                  <a:pt x="63596" y="41558"/>
                </a:lnTo>
                <a:cubicBezTo>
                  <a:pt x="51220" y="41558"/>
                  <a:pt x="41181" y="51597"/>
                  <a:pt x="41181" y="63972"/>
                </a:cubicBezTo>
                <a:lnTo>
                  <a:pt x="41181" y="63980"/>
                </a:lnTo>
                <a:cubicBezTo>
                  <a:pt x="41181" y="65883"/>
                  <a:pt x="39635" y="67430"/>
                  <a:pt x="37731" y="67430"/>
                </a:cubicBezTo>
                <a:cubicBezTo>
                  <a:pt x="35828" y="67430"/>
                  <a:pt x="34282" y="65883"/>
                  <a:pt x="34282" y="63980"/>
                </a:cubicBezTo>
                <a:cubicBezTo>
                  <a:pt x="34282" y="47796"/>
                  <a:pt x="47395" y="34679"/>
                  <a:pt x="63576" y="34665"/>
                </a:cubicBezTo>
                <a:cubicBezTo>
                  <a:pt x="63590" y="34665"/>
                  <a:pt x="63590" y="34659"/>
                  <a:pt x="63603" y="34659"/>
                </a:cubicBezTo>
                <a:close/>
                <a:moveTo>
                  <a:pt x="64605" y="13784"/>
                </a:moveTo>
                <a:cubicBezTo>
                  <a:pt x="51707" y="14060"/>
                  <a:pt x="38938" y="19089"/>
                  <a:pt x="29149" y="28806"/>
                </a:cubicBezTo>
                <a:cubicBezTo>
                  <a:pt x="8827" y="48958"/>
                  <a:pt x="8827" y="81751"/>
                  <a:pt x="29149" y="101903"/>
                </a:cubicBezTo>
                <a:lnTo>
                  <a:pt x="105265" y="177426"/>
                </a:lnTo>
                <a:cubicBezTo>
                  <a:pt x="107964" y="180113"/>
                  <a:pt x="112381" y="180113"/>
                  <a:pt x="115080" y="177426"/>
                </a:cubicBezTo>
                <a:lnTo>
                  <a:pt x="191196" y="101903"/>
                </a:lnTo>
                <a:cubicBezTo>
                  <a:pt x="211518" y="81751"/>
                  <a:pt x="211518" y="48958"/>
                  <a:pt x="191196" y="28806"/>
                </a:cubicBezTo>
                <a:cubicBezTo>
                  <a:pt x="171619" y="9372"/>
                  <a:pt x="140121" y="8691"/>
                  <a:pt x="119507" y="27276"/>
                </a:cubicBezTo>
                <a:lnTo>
                  <a:pt x="110167" y="35691"/>
                </a:lnTo>
                <a:lnTo>
                  <a:pt x="100838" y="27276"/>
                </a:lnTo>
                <a:cubicBezTo>
                  <a:pt x="90531" y="17983"/>
                  <a:pt x="77503" y="13507"/>
                  <a:pt x="64605" y="13784"/>
                </a:cubicBezTo>
                <a:close/>
                <a:moveTo>
                  <a:pt x="64413" y="12"/>
                </a:moveTo>
                <a:cubicBezTo>
                  <a:pt x="80764" y="-301"/>
                  <a:pt x="97226" y="5407"/>
                  <a:pt x="110167" y="17078"/>
                </a:cubicBezTo>
                <a:cubicBezTo>
                  <a:pt x="136072" y="-6265"/>
                  <a:pt x="176024" y="-5751"/>
                  <a:pt x="201022" y="19065"/>
                </a:cubicBezTo>
                <a:cubicBezTo>
                  <a:pt x="226797" y="44629"/>
                  <a:pt x="226797" y="86080"/>
                  <a:pt x="201022" y="111653"/>
                </a:cubicBezTo>
                <a:cubicBezTo>
                  <a:pt x="200190" y="112483"/>
                  <a:pt x="124906" y="187166"/>
                  <a:pt x="124906" y="187166"/>
                </a:cubicBezTo>
                <a:cubicBezTo>
                  <a:pt x="116754" y="195255"/>
                  <a:pt x="103580" y="195255"/>
                  <a:pt x="95438" y="187166"/>
                </a:cubicBezTo>
                <a:cubicBezTo>
                  <a:pt x="95438" y="187166"/>
                  <a:pt x="26676" y="118958"/>
                  <a:pt x="19323" y="111653"/>
                </a:cubicBezTo>
                <a:cubicBezTo>
                  <a:pt x="-6442" y="86080"/>
                  <a:pt x="-6442" y="44629"/>
                  <a:pt x="19323" y="19065"/>
                </a:cubicBezTo>
                <a:cubicBezTo>
                  <a:pt x="31822" y="6657"/>
                  <a:pt x="48062" y="325"/>
                  <a:pt x="64413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7EFEF29C-C0BA-4971-BAD2-51C57520EFBA}"/>
              </a:ext>
            </a:extLst>
          </p:cNvPr>
          <p:cNvSpPr/>
          <p:nvPr/>
        </p:nvSpPr>
        <p:spPr bwMode="auto">
          <a:xfrm>
            <a:off x="5999536" y="5591660"/>
            <a:ext cx="220353" cy="193232"/>
          </a:xfrm>
          <a:custGeom>
            <a:avLst/>
            <a:gdLst>
              <a:gd name="connsiteX0" fmla="*/ 63603 w 220353"/>
              <a:gd name="connsiteY0" fmla="*/ 34659 h 193232"/>
              <a:gd name="connsiteX1" fmla="*/ 67052 w 220353"/>
              <a:gd name="connsiteY1" fmla="*/ 38108 h 193232"/>
              <a:gd name="connsiteX2" fmla="*/ 63603 w 220353"/>
              <a:gd name="connsiteY2" fmla="*/ 41558 h 193232"/>
              <a:gd name="connsiteX3" fmla="*/ 63596 w 220353"/>
              <a:gd name="connsiteY3" fmla="*/ 41558 h 193232"/>
              <a:gd name="connsiteX4" fmla="*/ 41181 w 220353"/>
              <a:gd name="connsiteY4" fmla="*/ 63972 h 193232"/>
              <a:gd name="connsiteX5" fmla="*/ 41181 w 220353"/>
              <a:gd name="connsiteY5" fmla="*/ 63980 h 193232"/>
              <a:gd name="connsiteX6" fmla="*/ 37731 w 220353"/>
              <a:gd name="connsiteY6" fmla="*/ 67430 h 193232"/>
              <a:gd name="connsiteX7" fmla="*/ 34282 w 220353"/>
              <a:gd name="connsiteY7" fmla="*/ 63980 h 193232"/>
              <a:gd name="connsiteX8" fmla="*/ 63576 w 220353"/>
              <a:gd name="connsiteY8" fmla="*/ 34665 h 193232"/>
              <a:gd name="connsiteX9" fmla="*/ 63603 w 220353"/>
              <a:gd name="connsiteY9" fmla="*/ 34659 h 193232"/>
              <a:gd name="connsiteX10" fmla="*/ 64605 w 220353"/>
              <a:gd name="connsiteY10" fmla="*/ 13784 h 193232"/>
              <a:gd name="connsiteX11" fmla="*/ 29149 w 220353"/>
              <a:gd name="connsiteY11" fmla="*/ 28806 h 193232"/>
              <a:gd name="connsiteX12" fmla="*/ 29149 w 220353"/>
              <a:gd name="connsiteY12" fmla="*/ 101903 h 193232"/>
              <a:gd name="connsiteX13" fmla="*/ 105265 w 220353"/>
              <a:gd name="connsiteY13" fmla="*/ 177426 h 193232"/>
              <a:gd name="connsiteX14" fmla="*/ 115080 w 220353"/>
              <a:gd name="connsiteY14" fmla="*/ 177426 h 193232"/>
              <a:gd name="connsiteX15" fmla="*/ 191196 w 220353"/>
              <a:gd name="connsiteY15" fmla="*/ 101903 h 193232"/>
              <a:gd name="connsiteX16" fmla="*/ 191196 w 220353"/>
              <a:gd name="connsiteY16" fmla="*/ 28806 h 193232"/>
              <a:gd name="connsiteX17" fmla="*/ 119507 w 220353"/>
              <a:gd name="connsiteY17" fmla="*/ 27276 h 193232"/>
              <a:gd name="connsiteX18" fmla="*/ 110167 w 220353"/>
              <a:gd name="connsiteY18" fmla="*/ 35691 h 193232"/>
              <a:gd name="connsiteX19" fmla="*/ 100838 w 220353"/>
              <a:gd name="connsiteY19" fmla="*/ 27276 h 193232"/>
              <a:gd name="connsiteX20" fmla="*/ 64605 w 220353"/>
              <a:gd name="connsiteY20" fmla="*/ 13784 h 193232"/>
              <a:gd name="connsiteX21" fmla="*/ 64413 w 220353"/>
              <a:gd name="connsiteY21" fmla="*/ 12 h 193232"/>
              <a:gd name="connsiteX22" fmla="*/ 110167 w 220353"/>
              <a:gd name="connsiteY22" fmla="*/ 17078 h 193232"/>
              <a:gd name="connsiteX23" fmla="*/ 201022 w 220353"/>
              <a:gd name="connsiteY23" fmla="*/ 19065 h 193232"/>
              <a:gd name="connsiteX24" fmla="*/ 201022 w 220353"/>
              <a:gd name="connsiteY24" fmla="*/ 111653 h 193232"/>
              <a:gd name="connsiteX25" fmla="*/ 124906 w 220353"/>
              <a:gd name="connsiteY25" fmla="*/ 187166 h 193232"/>
              <a:gd name="connsiteX26" fmla="*/ 95438 w 220353"/>
              <a:gd name="connsiteY26" fmla="*/ 187166 h 193232"/>
              <a:gd name="connsiteX27" fmla="*/ 19323 w 220353"/>
              <a:gd name="connsiteY27" fmla="*/ 111653 h 193232"/>
              <a:gd name="connsiteX28" fmla="*/ 19323 w 220353"/>
              <a:gd name="connsiteY28" fmla="*/ 19065 h 193232"/>
              <a:gd name="connsiteX29" fmla="*/ 64413 w 220353"/>
              <a:gd name="connsiteY29" fmla="*/ 12 h 193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20353" h="193232">
                <a:moveTo>
                  <a:pt x="63603" y="34659"/>
                </a:moveTo>
                <a:cubicBezTo>
                  <a:pt x="65506" y="34659"/>
                  <a:pt x="67052" y="36205"/>
                  <a:pt x="67052" y="38108"/>
                </a:cubicBezTo>
                <a:cubicBezTo>
                  <a:pt x="67052" y="40012"/>
                  <a:pt x="65506" y="41558"/>
                  <a:pt x="63603" y="41558"/>
                </a:cubicBezTo>
                <a:lnTo>
                  <a:pt x="63596" y="41558"/>
                </a:lnTo>
                <a:cubicBezTo>
                  <a:pt x="51220" y="41558"/>
                  <a:pt x="41181" y="51597"/>
                  <a:pt x="41181" y="63972"/>
                </a:cubicBezTo>
                <a:lnTo>
                  <a:pt x="41181" y="63980"/>
                </a:lnTo>
                <a:cubicBezTo>
                  <a:pt x="41181" y="65883"/>
                  <a:pt x="39635" y="67430"/>
                  <a:pt x="37731" y="67430"/>
                </a:cubicBezTo>
                <a:cubicBezTo>
                  <a:pt x="35828" y="67430"/>
                  <a:pt x="34282" y="65883"/>
                  <a:pt x="34282" y="63980"/>
                </a:cubicBezTo>
                <a:cubicBezTo>
                  <a:pt x="34282" y="47796"/>
                  <a:pt x="47395" y="34679"/>
                  <a:pt x="63576" y="34665"/>
                </a:cubicBezTo>
                <a:cubicBezTo>
                  <a:pt x="63590" y="34665"/>
                  <a:pt x="63590" y="34659"/>
                  <a:pt x="63603" y="34659"/>
                </a:cubicBezTo>
                <a:close/>
                <a:moveTo>
                  <a:pt x="64605" y="13784"/>
                </a:moveTo>
                <a:cubicBezTo>
                  <a:pt x="51707" y="14060"/>
                  <a:pt x="38938" y="19089"/>
                  <a:pt x="29149" y="28806"/>
                </a:cubicBezTo>
                <a:cubicBezTo>
                  <a:pt x="8827" y="48958"/>
                  <a:pt x="8827" y="81751"/>
                  <a:pt x="29149" y="101903"/>
                </a:cubicBezTo>
                <a:lnTo>
                  <a:pt x="105265" y="177426"/>
                </a:lnTo>
                <a:cubicBezTo>
                  <a:pt x="107964" y="180113"/>
                  <a:pt x="112381" y="180113"/>
                  <a:pt x="115080" y="177426"/>
                </a:cubicBezTo>
                <a:lnTo>
                  <a:pt x="191196" y="101903"/>
                </a:lnTo>
                <a:cubicBezTo>
                  <a:pt x="211518" y="81751"/>
                  <a:pt x="211518" y="48958"/>
                  <a:pt x="191196" y="28806"/>
                </a:cubicBezTo>
                <a:cubicBezTo>
                  <a:pt x="171619" y="9372"/>
                  <a:pt x="140121" y="8691"/>
                  <a:pt x="119507" y="27276"/>
                </a:cubicBezTo>
                <a:lnTo>
                  <a:pt x="110167" y="35691"/>
                </a:lnTo>
                <a:lnTo>
                  <a:pt x="100838" y="27276"/>
                </a:lnTo>
                <a:cubicBezTo>
                  <a:pt x="90531" y="17983"/>
                  <a:pt x="77503" y="13507"/>
                  <a:pt x="64605" y="13784"/>
                </a:cubicBezTo>
                <a:close/>
                <a:moveTo>
                  <a:pt x="64413" y="12"/>
                </a:moveTo>
                <a:cubicBezTo>
                  <a:pt x="80764" y="-301"/>
                  <a:pt x="97226" y="5407"/>
                  <a:pt x="110167" y="17078"/>
                </a:cubicBezTo>
                <a:cubicBezTo>
                  <a:pt x="136072" y="-6265"/>
                  <a:pt x="176024" y="-5751"/>
                  <a:pt x="201022" y="19065"/>
                </a:cubicBezTo>
                <a:cubicBezTo>
                  <a:pt x="226797" y="44629"/>
                  <a:pt x="226797" y="86080"/>
                  <a:pt x="201022" y="111653"/>
                </a:cubicBezTo>
                <a:cubicBezTo>
                  <a:pt x="200190" y="112483"/>
                  <a:pt x="124906" y="187166"/>
                  <a:pt x="124906" y="187166"/>
                </a:cubicBezTo>
                <a:cubicBezTo>
                  <a:pt x="116754" y="195255"/>
                  <a:pt x="103580" y="195255"/>
                  <a:pt x="95438" y="187166"/>
                </a:cubicBezTo>
                <a:cubicBezTo>
                  <a:pt x="95438" y="187166"/>
                  <a:pt x="26676" y="118958"/>
                  <a:pt x="19323" y="111653"/>
                </a:cubicBezTo>
                <a:cubicBezTo>
                  <a:pt x="-6442" y="86080"/>
                  <a:pt x="-6442" y="44629"/>
                  <a:pt x="19323" y="19065"/>
                </a:cubicBezTo>
                <a:cubicBezTo>
                  <a:pt x="31822" y="6657"/>
                  <a:pt x="48062" y="325"/>
                  <a:pt x="64413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4878CA4F-2876-47F9-B66A-361CFAF77D72}"/>
              </a:ext>
            </a:extLst>
          </p:cNvPr>
          <p:cNvSpPr/>
          <p:nvPr/>
        </p:nvSpPr>
        <p:spPr bwMode="auto">
          <a:xfrm>
            <a:off x="3922702" y="3548077"/>
            <a:ext cx="220353" cy="193232"/>
          </a:xfrm>
          <a:custGeom>
            <a:avLst/>
            <a:gdLst>
              <a:gd name="connsiteX0" fmla="*/ 63603 w 220353"/>
              <a:gd name="connsiteY0" fmla="*/ 34659 h 193232"/>
              <a:gd name="connsiteX1" fmla="*/ 67052 w 220353"/>
              <a:gd name="connsiteY1" fmla="*/ 38108 h 193232"/>
              <a:gd name="connsiteX2" fmla="*/ 63603 w 220353"/>
              <a:gd name="connsiteY2" fmla="*/ 41558 h 193232"/>
              <a:gd name="connsiteX3" fmla="*/ 63596 w 220353"/>
              <a:gd name="connsiteY3" fmla="*/ 41558 h 193232"/>
              <a:gd name="connsiteX4" fmla="*/ 41181 w 220353"/>
              <a:gd name="connsiteY4" fmla="*/ 63972 h 193232"/>
              <a:gd name="connsiteX5" fmla="*/ 41181 w 220353"/>
              <a:gd name="connsiteY5" fmla="*/ 63980 h 193232"/>
              <a:gd name="connsiteX6" fmla="*/ 37731 w 220353"/>
              <a:gd name="connsiteY6" fmla="*/ 67430 h 193232"/>
              <a:gd name="connsiteX7" fmla="*/ 34282 w 220353"/>
              <a:gd name="connsiteY7" fmla="*/ 63980 h 193232"/>
              <a:gd name="connsiteX8" fmla="*/ 63576 w 220353"/>
              <a:gd name="connsiteY8" fmla="*/ 34665 h 193232"/>
              <a:gd name="connsiteX9" fmla="*/ 63603 w 220353"/>
              <a:gd name="connsiteY9" fmla="*/ 34659 h 193232"/>
              <a:gd name="connsiteX10" fmla="*/ 64605 w 220353"/>
              <a:gd name="connsiteY10" fmla="*/ 13784 h 193232"/>
              <a:gd name="connsiteX11" fmla="*/ 29149 w 220353"/>
              <a:gd name="connsiteY11" fmla="*/ 28806 h 193232"/>
              <a:gd name="connsiteX12" fmla="*/ 29149 w 220353"/>
              <a:gd name="connsiteY12" fmla="*/ 101903 h 193232"/>
              <a:gd name="connsiteX13" fmla="*/ 105265 w 220353"/>
              <a:gd name="connsiteY13" fmla="*/ 177426 h 193232"/>
              <a:gd name="connsiteX14" fmla="*/ 115080 w 220353"/>
              <a:gd name="connsiteY14" fmla="*/ 177426 h 193232"/>
              <a:gd name="connsiteX15" fmla="*/ 191196 w 220353"/>
              <a:gd name="connsiteY15" fmla="*/ 101903 h 193232"/>
              <a:gd name="connsiteX16" fmla="*/ 191196 w 220353"/>
              <a:gd name="connsiteY16" fmla="*/ 28806 h 193232"/>
              <a:gd name="connsiteX17" fmla="*/ 119507 w 220353"/>
              <a:gd name="connsiteY17" fmla="*/ 27276 h 193232"/>
              <a:gd name="connsiteX18" fmla="*/ 110167 w 220353"/>
              <a:gd name="connsiteY18" fmla="*/ 35691 h 193232"/>
              <a:gd name="connsiteX19" fmla="*/ 100838 w 220353"/>
              <a:gd name="connsiteY19" fmla="*/ 27276 h 193232"/>
              <a:gd name="connsiteX20" fmla="*/ 64605 w 220353"/>
              <a:gd name="connsiteY20" fmla="*/ 13784 h 193232"/>
              <a:gd name="connsiteX21" fmla="*/ 64413 w 220353"/>
              <a:gd name="connsiteY21" fmla="*/ 12 h 193232"/>
              <a:gd name="connsiteX22" fmla="*/ 110167 w 220353"/>
              <a:gd name="connsiteY22" fmla="*/ 17078 h 193232"/>
              <a:gd name="connsiteX23" fmla="*/ 201022 w 220353"/>
              <a:gd name="connsiteY23" fmla="*/ 19065 h 193232"/>
              <a:gd name="connsiteX24" fmla="*/ 201022 w 220353"/>
              <a:gd name="connsiteY24" fmla="*/ 111653 h 193232"/>
              <a:gd name="connsiteX25" fmla="*/ 124906 w 220353"/>
              <a:gd name="connsiteY25" fmla="*/ 187166 h 193232"/>
              <a:gd name="connsiteX26" fmla="*/ 95438 w 220353"/>
              <a:gd name="connsiteY26" fmla="*/ 187166 h 193232"/>
              <a:gd name="connsiteX27" fmla="*/ 19323 w 220353"/>
              <a:gd name="connsiteY27" fmla="*/ 111653 h 193232"/>
              <a:gd name="connsiteX28" fmla="*/ 19323 w 220353"/>
              <a:gd name="connsiteY28" fmla="*/ 19065 h 193232"/>
              <a:gd name="connsiteX29" fmla="*/ 64413 w 220353"/>
              <a:gd name="connsiteY29" fmla="*/ 12 h 193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20353" h="193232">
                <a:moveTo>
                  <a:pt x="63603" y="34659"/>
                </a:moveTo>
                <a:cubicBezTo>
                  <a:pt x="65506" y="34659"/>
                  <a:pt x="67052" y="36205"/>
                  <a:pt x="67052" y="38108"/>
                </a:cubicBezTo>
                <a:cubicBezTo>
                  <a:pt x="67052" y="40012"/>
                  <a:pt x="65506" y="41558"/>
                  <a:pt x="63603" y="41558"/>
                </a:cubicBezTo>
                <a:lnTo>
                  <a:pt x="63596" y="41558"/>
                </a:lnTo>
                <a:cubicBezTo>
                  <a:pt x="51220" y="41558"/>
                  <a:pt x="41181" y="51597"/>
                  <a:pt x="41181" y="63972"/>
                </a:cubicBezTo>
                <a:lnTo>
                  <a:pt x="41181" y="63980"/>
                </a:lnTo>
                <a:cubicBezTo>
                  <a:pt x="41181" y="65883"/>
                  <a:pt x="39635" y="67430"/>
                  <a:pt x="37731" y="67430"/>
                </a:cubicBezTo>
                <a:cubicBezTo>
                  <a:pt x="35828" y="67430"/>
                  <a:pt x="34282" y="65883"/>
                  <a:pt x="34282" y="63980"/>
                </a:cubicBezTo>
                <a:cubicBezTo>
                  <a:pt x="34282" y="47796"/>
                  <a:pt x="47395" y="34679"/>
                  <a:pt x="63576" y="34665"/>
                </a:cubicBezTo>
                <a:cubicBezTo>
                  <a:pt x="63590" y="34665"/>
                  <a:pt x="63590" y="34659"/>
                  <a:pt x="63603" y="34659"/>
                </a:cubicBezTo>
                <a:close/>
                <a:moveTo>
                  <a:pt x="64605" y="13784"/>
                </a:moveTo>
                <a:cubicBezTo>
                  <a:pt x="51707" y="14060"/>
                  <a:pt x="38938" y="19089"/>
                  <a:pt x="29149" y="28806"/>
                </a:cubicBezTo>
                <a:cubicBezTo>
                  <a:pt x="8827" y="48958"/>
                  <a:pt x="8827" y="81751"/>
                  <a:pt x="29149" y="101903"/>
                </a:cubicBezTo>
                <a:lnTo>
                  <a:pt x="105265" y="177426"/>
                </a:lnTo>
                <a:cubicBezTo>
                  <a:pt x="107964" y="180113"/>
                  <a:pt x="112381" y="180113"/>
                  <a:pt x="115080" y="177426"/>
                </a:cubicBezTo>
                <a:lnTo>
                  <a:pt x="191196" y="101903"/>
                </a:lnTo>
                <a:cubicBezTo>
                  <a:pt x="211518" y="81751"/>
                  <a:pt x="211518" y="48958"/>
                  <a:pt x="191196" y="28806"/>
                </a:cubicBezTo>
                <a:cubicBezTo>
                  <a:pt x="171619" y="9372"/>
                  <a:pt x="140121" y="8691"/>
                  <a:pt x="119507" y="27276"/>
                </a:cubicBezTo>
                <a:lnTo>
                  <a:pt x="110167" y="35691"/>
                </a:lnTo>
                <a:lnTo>
                  <a:pt x="100838" y="27276"/>
                </a:lnTo>
                <a:cubicBezTo>
                  <a:pt x="90531" y="17983"/>
                  <a:pt x="77503" y="13507"/>
                  <a:pt x="64605" y="13784"/>
                </a:cubicBezTo>
                <a:close/>
                <a:moveTo>
                  <a:pt x="64413" y="12"/>
                </a:moveTo>
                <a:cubicBezTo>
                  <a:pt x="80764" y="-301"/>
                  <a:pt x="97226" y="5407"/>
                  <a:pt x="110167" y="17078"/>
                </a:cubicBezTo>
                <a:cubicBezTo>
                  <a:pt x="136072" y="-6265"/>
                  <a:pt x="176024" y="-5751"/>
                  <a:pt x="201022" y="19065"/>
                </a:cubicBezTo>
                <a:cubicBezTo>
                  <a:pt x="226797" y="44629"/>
                  <a:pt x="226797" y="86080"/>
                  <a:pt x="201022" y="111653"/>
                </a:cubicBezTo>
                <a:cubicBezTo>
                  <a:pt x="200190" y="112483"/>
                  <a:pt x="124906" y="187166"/>
                  <a:pt x="124906" y="187166"/>
                </a:cubicBezTo>
                <a:cubicBezTo>
                  <a:pt x="116754" y="195255"/>
                  <a:pt x="103580" y="195255"/>
                  <a:pt x="95438" y="187166"/>
                </a:cubicBezTo>
                <a:cubicBezTo>
                  <a:pt x="95438" y="187166"/>
                  <a:pt x="26676" y="118958"/>
                  <a:pt x="19323" y="111653"/>
                </a:cubicBezTo>
                <a:cubicBezTo>
                  <a:pt x="-6442" y="86080"/>
                  <a:pt x="-6442" y="44629"/>
                  <a:pt x="19323" y="19065"/>
                </a:cubicBezTo>
                <a:cubicBezTo>
                  <a:pt x="31822" y="6657"/>
                  <a:pt x="48062" y="325"/>
                  <a:pt x="64413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A3DD5E79-1759-413E-B4E9-0BE4325B0BFD}"/>
              </a:ext>
            </a:extLst>
          </p:cNvPr>
          <p:cNvSpPr/>
          <p:nvPr/>
        </p:nvSpPr>
        <p:spPr bwMode="auto">
          <a:xfrm>
            <a:off x="8046253" y="3548077"/>
            <a:ext cx="220353" cy="193232"/>
          </a:xfrm>
          <a:custGeom>
            <a:avLst/>
            <a:gdLst>
              <a:gd name="connsiteX0" fmla="*/ 63603 w 220353"/>
              <a:gd name="connsiteY0" fmla="*/ 34659 h 193232"/>
              <a:gd name="connsiteX1" fmla="*/ 67052 w 220353"/>
              <a:gd name="connsiteY1" fmla="*/ 38108 h 193232"/>
              <a:gd name="connsiteX2" fmla="*/ 63603 w 220353"/>
              <a:gd name="connsiteY2" fmla="*/ 41558 h 193232"/>
              <a:gd name="connsiteX3" fmla="*/ 63596 w 220353"/>
              <a:gd name="connsiteY3" fmla="*/ 41558 h 193232"/>
              <a:gd name="connsiteX4" fmla="*/ 41181 w 220353"/>
              <a:gd name="connsiteY4" fmla="*/ 63972 h 193232"/>
              <a:gd name="connsiteX5" fmla="*/ 41181 w 220353"/>
              <a:gd name="connsiteY5" fmla="*/ 63980 h 193232"/>
              <a:gd name="connsiteX6" fmla="*/ 37731 w 220353"/>
              <a:gd name="connsiteY6" fmla="*/ 67430 h 193232"/>
              <a:gd name="connsiteX7" fmla="*/ 34282 w 220353"/>
              <a:gd name="connsiteY7" fmla="*/ 63980 h 193232"/>
              <a:gd name="connsiteX8" fmla="*/ 63576 w 220353"/>
              <a:gd name="connsiteY8" fmla="*/ 34665 h 193232"/>
              <a:gd name="connsiteX9" fmla="*/ 63603 w 220353"/>
              <a:gd name="connsiteY9" fmla="*/ 34659 h 193232"/>
              <a:gd name="connsiteX10" fmla="*/ 64605 w 220353"/>
              <a:gd name="connsiteY10" fmla="*/ 13784 h 193232"/>
              <a:gd name="connsiteX11" fmla="*/ 29149 w 220353"/>
              <a:gd name="connsiteY11" fmla="*/ 28806 h 193232"/>
              <a:gd name="connsiteX12" fmla="*/ 29149 w 220353"/>
              <a:gd name="connsiteY12" fmla="*/ 101903 h 193232"/>
              <a:gd name="connsiteX13" fmla="*/ 105265 w 220353"/>
              <a:gd name="connsiteY13" fmla="*/ 177426 h 193232"/>
              <a:gd name="connsiteX14" fmla="*/ 115080 w 220353"/>
              <a:gd name="connsiteY14" fmla="*/ 177426 h 193232"/>
              <a:gd name="connsiteX15" fmla="*/ 191196 w 220353"/>
              <a:gd name="connsiteY15" fmla="*/ 101903 h 193232"/>
              <a:gd name="connsiteX16" fmla="*/ 191196 w 220353"/>
              <a:gd name="connsiteY16" fmla="*/ 28806 h 193232"/>
              <a:gd name="connsiteX17" fmla="*/ 119507 w 220353"/>
              <a:gd name="connsiteY17" fmla="*/ 27276 h 193232"/>
              <a:gd name="connsiteX18" fmla="*/ 110167 w 220353"/>
              <a:gd name="connsiteY18" fmla="*/ 35691 h 193232"/>
              <a:gd name="connsiteX19" fmla="*/ 100838 w 220353"/>
              <a:gd name="connsiteY19" fmla="*/ 27276 h 193232"/>
              <a:gd name="connsiteX20" fmla="*/ 64605 w 220353"/>
              <a:gd name="connsiteY20" fmla="*/ 13784 h 193232"/>
              <a:gd name="connsiteX21" fmla="*/ 64413 w 220353"/>
              <a:gd name="connsiteY21" fmla="*/ 12 h 193232"/>
              <a:gd name="connsiteX22" fmla="*/ 110167 w 220353"/>
              <a:gd name="connsiteY22" fmla="*/ 17078 h 193232"/>
              <a:gd name="connsiteX23" fmla="*/ 201022 w 220353"/>
              <a:gd name="connsiteY23" fmla="*/ 19065 h 193232"/>
              <a:gd name="connsiteX24" fmla="*/ 201022 w 220353"/>
              <a:gd name="connsiteY24" fmla="*/ 111653 h 193232"/>
              <a:gd name="connsiteX25" fmla="*/ 124906 w 220353"/>
              <a:gd name="connsiteY25" fmla="*/ 187166 h 193232"/>
              <a:gd name="connsiteX26" fmla="*/ 95438 w 220353"/>
              <a:gd name="connsiteY26" fmla="*/ 187166 h 193232"/>
              <a:gd name="connsiteX27" fmla="*/ 19323 w 220353"/>
              <a:gd name="connsiteY27" fmla="*/ 111653 h 193232"/>
              <a:gd name="connsiteX28" fmla="*/ 19323 w 220353"/>
              <a:gd name="connsiteY28" fmla="*/ 19065 h 193232"/>
              <a:gd name="connsiteX29" fmla="*/ 64413 w 220353"/>
              <a:gd name="connsiteY29" fmla="*/ 12 h 193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20353" h="193232">
                <a:moveTo>
                  <a:pt x="63603" y="34659"/>
                </a:moveTo>
                <a:cubicBezTo>
                  <a:pt x="65506" y="34659"/>
                  <a:pt x="67052" y="36205"/>
                  <a:pt x="67052" y="38108"/>
                </a:cubicBezTo>
                <a:cubicBezTo>
                  <a:pt x="67052" y="40012"/>
                  <a:pt x="65506" y="41558"/>
                  <a:pt x="63603" y="41558"/>
                </a:cubicBezTo>
                <a:lnTo>
                  <a:pt x="63596" y="41558"/>
                </a:lnTo>
                <a:cubicBezTo>
                  <a:pt x="51220" y="41558"/>
                  <a:pt x="41181" y="51597"/>
                  <a:pt x="41181" y="63972"/>
                </a:cubicBezTo>
                <a:lnTo>
                  <a:pt x="41181" y="63980"/>
                </a:lnTo>
                <a:cubicBezTo>
                  <a:pt x="41181" y="65883"/>
                  <a:pt x="39635" y="67430"/>
                  <a:pt x="37731" y="67430"/>
                </a:cubicBezTo>
                <a:cubicBezTo>
                  <a:pt x="35828" y="67430"/>
                  <a:pt x="34282" y="65883"/>
                  <a:pt x="34282" y="63980"/>
                </a:cubicBezTo>
                <a:cubicBezTo>
                  <a:pt x="34282" y="47796"/>
                  <a:pt x="47395" y="34679"/>
                  <a:pt x="63576" y="34665"/>
                </a:cubicBezTo>
                <a:cubicBezTo>
                  <a:pt x="63590" y="34665"/>
                  <a:pt x="63590" y="34659"/>
                  <a:pt x="63603" y="34659"/>
                </a:cubicBezTo>
                <a:close/>
                <a:moveTo>
                  <a:pt x="64605" y="13784"/>
                </a:moveTo>
                <a:cubicBezTo>
                  <a:pt x="51707" y="14060"/>
                  <a:pt x="38938" y="19089"/>
                  <a:pt x="29149" y="28806"/>
                </a:cubicBezTo>
                <a:cubicBezTo>
                  <a:pt x="8827" y="48958"/>
                  <a:pt x="8827" y="81751"/>
                  <a:pt x="29149" y="101903"/>
                </a:cubicBezTo>
                <a:lnTo>
                  <a:pt x="105265" y="177426"/>
                </a:lnTo>
                <a:cubicBezTo>
                  <a:pt x="107964" y="180113"/>
                  <a:pt x="112381" y="180113"/>
                  <a:pt x="115080" y="177426"/>
                </a:cubicBezTo>
                <a:lnTo>
                  <a:pt x="191196" y="101903"/>
                </a:lnTo>
                <a:cubicBezTo>
                  <a:pt x="211518" y="81751"/>
                  <a:pt x="211518" y="48958"/>
                  <a:pt x="191196" y="28806"/>
                </a:cubicBezTo>
                <a:cubicBezTo>
                  <a:pt x="171619" y="9372"/>
                  <a:pt x="140121" y="8691"/>
                  <a:pt x="119507" y="27276"/>
                </a:cubicBezTo>
                <a:lnTo>
                  <a:pt x="110167" y="35691"/>
                </a:lnTo>
                <a:lnTo>
                  <a:pt x="100838" y="27276"/>
                </a:lnTo>
                <a:cubicBezTo>
                  <a:pt x="90531" y="17983"/>
                  <a:pt x="77503" y="13507"/>
                  <a:pt x="64605" y="13784"/>
                </a:cubicBezTo>
                <a:close/>
                <a:moveTo>
                  <a:pt x="64413" y="12"/>
                </a:moveTo>
                <a:cubicBezTo>
                  <a:pt x="80764" y="-301"/>
                  <a:pt x="97226" y="5407"/>
                  <a:pt x="110167" y="17078"/>
                </a:cubicBezTo>
                <a:cubicBezTo>
                  <a:pt x="136072" y="-6265"/>
                  <a:pt x="176024" y="-5751"/>
                  <a:pt x="201022" y="19065"/>
                </a:cubicBezTo>
                <a:cubicBezTo>
                  <a:pt x="226797" y="44629"/>
                  <a:pt x="226797" y="86080"/>
                  <a:pt x="201022" y="111653"/>
                </a:cubicBezTo>
                <a:cubicBezTo>
                  <a:pt x="200190" y="112483"/>
                  <a:pt x="124906" y="187166"/>
                  <a:pt x="124906" y="187166"/>
                </a:cubicBezTo>
                <a:cubicBezTo>
                  <a:pt x="116754" y="195255"/>
                  <a:pt x="103580" y="195255"/>
                  <a:pt x="95438" y="187166"/>
                </a:cubicBezTo>
                <a:cubicBezTo>
                  <a:pt x="95438" y="187166"/>
                  <a:pt x="26676" y="118958"/>
                  <a:pt x="19323" y="111653"/>
                </a:cubicBezTo>
                <a:cubicBezTo>
                  <a:pt x="-6442" y="86080"/>
                  <a:pt x="-6442" y="44629"/>
                  <a:pt x="19323" y="19065"/>
                </a:cubicBezTo>
                <a:cubicBezTo>
                  <a:pt x="31822" y="6657"/>
                  <a:pt x="48062" y="325"/>
                  <a:pt x="64413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4="http://schemas.microsoft.com/office/drawing/2010/main" xmlns:p14="http://schemas.microsoft.com/office/powerpoint/2010/main" xmlns:a16="http://schemas.microsoft.com/office/drawing/2014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D02A5529-3444-48C3-A3DB-0A8D61704670}"/>
              </a:ext>
            </a:extLst>
          </p:cNvPr>
          <p:cNvSpPr/>
          <p:nvPr/>
        </p:nvSpPr>
        <p:spPr bwMode="auto">
          <a:xfrm>
            <a:off x="8266609" y="1897014"/>
            <a:ext cx="3252291" cy="81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cs typeface="+mn-ea"/>
                <a:sym typeface="+mn-lt"/>
              </a:rPr>
              <a:t>text.</a:t>
            </a:r>
          </a:p>
          <a:p>
            <a:pPr algn="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4380506C-C70A-445F-B4E9-D9027226940B}"/>
              </a:ext>
            </a:extLst>
          </p:cNvPr>
          <p:cNvSpPr txBox="1"/>
          <p:nvPr/>
        </p:nvSpPr>
        <p:spPr bwMode="auto">
          <a:xfrm>
            <a:off x="8266606" y="1509416"/>
            <a:ext cx="325229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计划</a:t>
            </a:r>
            <a:endParaRPr lang="id-ID" altLang="zh-CN" b="1" dirty="0">
              <a:cs typeface="+mn-ea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00DD7FA3-753F-44D3-BEE3-DD3FD652FE28}"/>
              </a:ext>
            </a:extLst>
          </p:cNvPr>
          <p:cNvSpPr/>
          <p:nvPr/>
        </p:nvSpPr>
        <p:spPr bwMode="auto">
          <a:xfrm>
            <a:off x="8266609" y="4871169"/>
            <a:ext cx="3252291" cy="81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cs typeface="+mn-ea"/>
                <a:sym typeface="+mn-lt"/>
              </a:rPr>
              <a:t>text.</a:t>
            </a:r>
          </a:p>
          <a:p>
            <a:pPr algn="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A749B007-EFF6-4E35-BEF9-C5655FA34F0B}"/>
              </a:ext>
            </a:extLst>
          </p:cNvPr>
          <p:cNvSpPr txBox="1"/>
          <p:nvPr/>
        </p:nvSpPr>
        <p:spPr bwMode="auto">
          <a:xfrm>
            <a:off x="8266606" y="4483571"/>
            <a:ext cx="325229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计划</a:t>
            </a:r>
            <a:endParaRPr lang="id-ID" altLang="zh-CN" b="1" dirty="0"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45CF7D32-EF9C-4EAA-A8EF-0989F186BF02}"/>
              </a:ext>
            </a:extLst>
          </p:cNvPr>
          <p:cNvSpPr/>
          <p:nvPr/>
        </p:nvSpPr>
        <p:spPr bwMode="auto">
          <a:xfrm>
            <a:off x="668008" y="1897014"/>
            <a:ext cx="3252291" cy="81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cs typeface="+mn-ea"/>
                <a:sym typeface="+mn-lt"/>
              </a:rPr>
              <a:t>text.</a:t>
            </a:r>
          </a:p>
          <a:p>
            <a:pPr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C201CC3-0050-43E8-911E-890FE7041B13}"/>
              </a:ext>
            </a:extLst>
          </p:cNvPr>
          <p:cNvSpPr txBox="1"/>
          <p:nvPr/>
        </p:nvSpPr>
        <p:spPr bwMode="auto">
          <a:xfrm>
            <a:off x="668005" y="1509416"/>
            <a:ext cx="325229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计划</a:t>
            </a:r>
            <a:endParaRPr lang="id-ID" altLang="zh-CN" b="1" dirty="0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D659CD0-186A-4B72-B957-56B072B2D900}"/>
              </a:ext>
            </a:extLst>
          </p:cNvPr>
          <p:cNvSpPr/>
          <p:nvPr/>
        </p:nvSpPr>
        <p:spPr bwMode="auto">
          <a:xfrm>
            <a:off x="668008" y="4871169"/>
            <a:ext cx="3252291" cy="81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cs typeface="+mn-ea"/>
                <a:sym typeface="+mn-lt"/>
              </a:rPr>
              <a:t>text.</a:t>
            </a:r>
          </a:p>
          <a:p>
            <a:pPr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D117C944-5127-44C9-9E7C-E66A8B796AC1}"/>
              </a:ext>
            </a:extLst>
          </p:cNvPr>
          <p:cNvSpPr txBox="1"/>
          <p:nvPr/>
        </p:nvSpPr>
        <p:spPr bwMode="auto">
          <a:xfrm>
            <a:off x="668005" y="4483571"/>
            <a:ext cx="325229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计划</a:t>
            </a:r>
            <a:endParaRPr lang="id-ID" altLang="zh-CN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5419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8000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US" altLang="zh-CN" sz="1200" spc="300" dirty="0">
                <a:cs typeface="+mn-ea"/>
                <a:sym typeface="+mn-lt"/>
              </a:rPr>
              <a:t>20XX/XX/XX</a:t>
            </a:r>
            <a:endParaRPr lang="en-US" altLang="en-US" sz="1200" spc="300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z="1200" dirty="0">
                <a:cs typeface="+mn-ea"/>
                <a:sym typeface="+mn-lt"/>
              </a:rPr>
              <a:t>汇报人：</a:t>
            </a:r>
            <a:r>
              <a:rPr lang="en-US" altLang="zh-CN" sz="1200" dirty="0" err="1">
                <a:cs typeface="+mn-ea"/>
                <a:sym typeface="+mn-lt"/>
              </a:rPr>
              <a:t>OfficePLUS</a:t>
            </a:r>
            <a:endParaRPr lang="en-US" altLang="zh-CN" sz="1200" dirty="0"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4117FB16-CA89-43F1-B7B2-B65FD3DD3E7A}"/>
              </a:ext>
            </a:extLst>
          </p:cNvPr>
          <p:cNvSpPr/>
          <p:nvPr/>
        </p:nvSpPr>
        <p:spPr>
          <a:xfrm>
            <a:off x="669925" y="854666"/>
            <a:ext cx="850898" cy="850898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altLang="zh-CN" dirty="0">
              <a:solidFill>
                <a:schemeClr val="bg1">
                  <a:lumMod val="6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>
            <a:extLst>
              <a:ext uri="{FF2B5EF4-FFF2-40B4-BE49-F238E27FC236}">
                <a16:creationId xmlns:a16="http://schemas.microsoft.com/office/drawing/2014/main" id="{62870B9E-CB04-476D-B69B-386687C4D39B}"/>
              </a:ext>
            </a:extLst>
          </p:cNvPr>
          <p:cNvSpPr/>
          <p:nvPr/>
        </p:nvSpPr>
        <p:spPr>
          <a:xfrm>
            <a:off x="1356350" y="1130300"/>
            <a:ext cx="3185487" cy="83871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pPr algn="ctr"/>
            <a:r>
              <a:rPr lang="zh-CN" altLang="en-US" sz="5400" dirty="0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Contents</a:t>
            </a: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79B710DE-F7E0-416B-90A9-535233F73B6F}"/>
              </a:ext>
            </a:extLst>
          </p:cNvPr>
          <p:cNvCxnSpPr/>
          <p:nvPr/>
        </p:nvCxnSpPr>
        <p:spPr>
          <a:xfrm>
            <a:off x="1638300" y="1969016"/>
            <a:ext cx="32956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AF8B56B1-429B-412B-BDBE-D15B62DEB50C}"/>
              </a:ext>
            </a:extLst>
          </p:cNvPr>
          <p:cNvCxnSpPr/>
          <p:nvPr/>
        </p:nvCxnSpPr>
        <p:spPr>
          <a:xfrm>
            <a:off x="4541837" y="1130300"/>
            <a:ext cx="0" cy="500380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文本框 26">
            <a:extLst>
              <a:ext uri="{FF2B5EF4-FFF2-40B4-BE49-F238E27FC236}">
                <a16:creationId xmlns:a16="http://schemas.microsoft.com/office/drawing/2014/main" id="{A8C8BB46-F470-4FFC-8BFC-84C5CFC65B51}"/>
              </a:ext>
            </a:extLst>
          </p:cNvPr>
          <p:cNvSpPr txBox="1"/>
          <p:nvPr/>
        </p:nvSpPr>
        <p:spPr bwMode="auto">
          <a:xfrm>
            <a:off x="3871848" y="2846004"/>
            <a:ext cx="555754" cy="54240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D64663F4-E1C6-4FC6-B625-EBA237ACED54}"/>
              </a:ext>
            </a:extLst>
          </p:cNvPr>
          <p:cNvSpPr/>
          <p:nvPr/>
        </p:nvSpPr>
        <p:spPr bwMode="auto">
          <a:xfrm>
            <a:off x="4656073" y="2889406"/>
            <a:ext cx="4116589" cy="4555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lvl="0" algn="ctr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年度工作概述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19BF383E-24B0-4876-A292-58F560D7EA3E}"/>
              </a:ext>
            </a:extLst>
          </p:cNvPr>
          <p:cNvSpPr txBox="1"/>
          <p:nvPr/>
        </p:nvSpPr>
        <p:spPr bwMode="auto">
          <a:xfrm>
            <a:off x="3871848" y="3468907"/>
            <a:ext cx="555754" cy="54240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dirty="0">
                <a:solidFill>
                  <a:schemeClr val="accent2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6A287B0D-EF72-4171-A611-2B7AB64BF8A8}"/>
              </a:ext>
            </a:extLst>
          </p:cNvPr>
          <p:cNvSpPr/>
          <p:nvPr/>
        </p:nvSpPr>
        <p:spPr bwMode="auto">
          <a:xfrm>
            <a:off x="4656073" y="3512309"/>
            <a:ext cx="4116589" cy="4555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工作完成情况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85461BBA-F8EE-4404-8DFA-8ADDED70B263}"/>
              </a:ext>
            </a:extLst>
          </p:cNvPr>
          <p:cNvSpPr txBox="1"/>
          <p:nvPr/>
        </p:nvSpPr>
        <p:spPr bwMode="auto">
          <a:xfrm>
            <a:off x="3871848" y="4091810"/>
            <a:ext cx="555754" cy="54240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52EAD6F-4B0F-4AFC-A50B-33CE658FEF84}"/>
              </a:ext>
            </a:extLst>
          </p:cNvPr>
          <p:cNvSpPr/>
          <p:nvPr/>
        </p:nvSpPr>
        <p:spPr bwMode="auto">
          <a:xfrm>
            <a:off x="4656073" y="4135212"/>
            <a:ext cx="4116589" cy="4555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>
              <a:lnSpc>
                <a:spcPct val="120000"/>
              </a:lnSpc>
              <a:spcBef>
                <a:spcPct val="0"/>
              </a:spcBef>
              <a:defRPr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成功项目展示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3D428D32-9C19-422F-AC6C-7344A1AEDDE8}"/>
              </a:ext>
            </a:extLst>
          </p:cNvPr>
          <p:cNvSpPr txBox="1"/>
          <p:nvPr/>
        </p:nvSpPr>
        <p:spPr bwMode="auto">
          <a:xfrm>
            <a:off x="3871848" y="4714713"/>
            <a:ext cx="555754" cy="54240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dirty="0">
                <a:solidFill>
                  <a:schemeClr val="accent1"/>
                </a:solidFill>
                <a:cs typeface="+mn-ea"/>
                <a:sym typeface="+mn-lt"/>
              </a:rPr>
              <a:t>04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7ADE1E6-DF43-469A-8C2A-C53ED953C099}"/>
              </a:ext>
            </a:extLst>
          </p:cNvPr>
          <p:cNvSpPr/>
          <p:nvPr/>
        </p:nvSpPr>
        <p:spPr bwMode="auto">
          <a:xfrm>
            <a:off x="4656073" y="4758115"/>
            <a:ext cx="4116589" cy="4555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明年工作计划</a:t>
            </a: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2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年度工作概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277604" y="369765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年度工作概述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A54CA746-B744-4C01-922A-534DC0ED01DF}"/>
              </a:ext>
            </a:extLst>
          </p:cNvPr>
          <p:cNvSpPr/>
          <p:nvPr/>
        </p:nvSpPr>
        <p:spPr>
          <a:xfrm>
            <a:off x="5365439" y="3682526"/>
            <a:ext cx="2075172" cy="2464273"/>
          </a:xfrm>
          <a:custGeom>
            <a:avLst/>
            <a:gdLst>
              <a:gd name="connsiteX0" fmla="*/ 192089 w 279400"/>
              <a:gd name="connsiteY0" fmla="*/ 300038 h 331788"/>
              <a:gd name="connsiteX1" fmla="*/ 242889 w 279400"/>
              <a:gd name="connsiteY1" fmla="*/ 300038 h 331788"/>
              <a:gd name="connsiteX2" fmla="*/ 242889 w 279400"/>
              <a:gd name="connsiteY2" fmla="*/ 311151 h 331788"/>
              <a:gd name="connsiteX3" fmla="*/ 192089 w 279400"/>
              <a:gd name="connsiteY3" fmla="*/ 311151 h 331788"/>
              <a:gd name="connsiteX4" fmla="*/ 128589 w 279400"/>
              <a:gd name="connsiteY4" fmla="*/ 300038 h 331788"/>
              <a:gd name="connsiteX5" fmla="*/ 180977 w 279400"/>
              <a:gd name="connsiteY5" fmla="*/ 300038 h 331788"/>
              <a:gd name="connsiteX6" fmla="*/ 180977 w 279400"/>
              <a:gd name="connsiteY6" fmla="*/ 311151 h 331788"/>
              <a:gd name="connsiteX7" fmla="*/ 128589 w 279400"/>
              <a:gd name="connsiteY7" fmla="*/ 311151 h 331788"/>
              <a:gd name="connsiteX8" fmla="*/ 36514 w 279400"/>
              <a:gd name="connsiteY8" fmla="*/ 300038 h 331788"/>
              <a:gd name="connsiteX9" fmla="*/ 87314 w 279400"/>
              <a:gd name="connsiteY9" fmla="*/ 300038 h 331788"/>
              <a:gd name="connsiteX10" fmla="*/ 87314 w 279400"/>
              <a:gd name="connsiteY10" fmla="*/ 311151 h 331788"/>
              <a:gd name="connsiteX11" fmla="*/ 36514 w 279400"/>
              <a:gd name="connsiteY11" fmla="*/ 311151 h 331788"/>
              <a:gd name="connsiteX12" fmla="*/ 114300 w 279400"/>
              <a:gd name="connsiteY12" fmla="*/ 290512 h 331788"/>
              <a:gd name="connsiteX13" fmla="*/ 114300 w 279400"/>
              <a:gd name="connsiteY13" fmla="*/ 320675 h 331788"/>
              <a:gd name="connsiteX14" fmla="*/ 258763 w 279400"/>
              <a:gd name="connsiteY14" fmla="*/ 320675 h 331788"/>
              <a:gd name="connsiteX15" fmla="*/ 258763 w 279400"/>
              <a:gd name="connsiteY15" fmla="*/ 290512 h 331788"/>
              <a:gd name="connsiteX16" fmla="*/ 20638 w 279400"/>
              <a:gd name="connsiteY16" fmla="*/ 290512 h 331788"/>
              <a:gd name="connsiteX17" fmla="*/ 20638 w 279400"/>
              <a:gd name="connsiteY17" fmla="*/ 320675 h 331788"/>
              <a:gd name="connsiteX18" fmla="*/ 103188 w 279400"/>
              <a:gd name="connsiteY18" fmla="*/ 320675 h 331788"/>
              <a:gd name="connsiteX19" fmla="*/ 103188 w 279400"/>
              <a:gd name="connsiteY19" fmla="*/ 290512 h 331788"/>
              <a:gd name="connsiteX20" fmla="*/ 222250 w 279400"/>
              <a:gd name="connsiteY20" fmla="*/ 254000 h 331788"/>
              <a:gd name="connsiteX21" fmla="*/ 242888 w 279400"/>
              <a:gd name="connsiteY21" fmla="*/ 254000 h 331788"/>
              <a:gd name="connsiteX22" fmla="*/ 242888 w 279400"/>
              <a:gd name="connsiteY22" fmla="*/ 263525 h 331788"/>
              <a:gd name="connsiteX23" fmla="*/ 222250 w 279400"/>
              <a:gd name="connsiteY23" fmla="*/ 263525 h 331788"/>
              <a:gd name="connsiteX24" fmla="*/ 192088 w 279400"/>
              <a:gd name="connsiteY24" fmla="*/ 254000 h 331788"/>
              <a:gd name="connsiteX25" fmla="*/ 212726 w 279400"/>
              <a:gd name="connsiteY25" fmla="*/ 254000 h 331788"/>
              <a:gd name="connsiteX26" fmla="*/ 212726 w 279400"/>
              <a:gd name="connsiteY26" fmla="*/ 263525 h 331788"/>
              <a:gd name="connsiteX27" fmla="*/ 192088 w 279400"/>
              <a:gd name="connsiteY27" fmla="*/ 263525 h 331788"/>
              <a:gd name="connsiteX28" fmla="*/ 160338 w 279400"/>
              <a:gd name="connsiteY28" fmla="*/ 254000 h 331788"/>
              <a:gd name="connsiteX29" fmla="*/ 180976 w 279400"/>
              <a:gd name="connsiteY29" fmla="*/ 254000 h 331788"/>
              <a:gd name="connsiteX30" fmla="*/ 180976 w 279400"/>
              <a:gd name="connsiteY30" fmla="*/ 263525 h 331788"/>
              <a:gd name="connsiteX31" fmla="*/ 160338 w 279400"/>
              <a:gd name="connsiteY31" fmla="*/ 263525 h 331788"/>
              <a:gd name="connsiteX32" fmla="*/ 128588 w 279400"/>
              <a:gd name="connsiteY32" fmla="*/ 254000 h 331788"/>
              <a:gd name="connsiteX33" fmla="*/ 149226 w 279400"/>
              <a:gd name="connsiteY33" fmla="*/ 254000 h 331788"/>
              <a:gd name="connsiteX34" fmla="*/ 149226 w 279400"/>
              <a:gd name="connsiteY34" fmla="*/ 263525 h 331788"/>
              <a:gd name="connsiteX35" fmla="*/ 128588 w 279400"/>
              <a:gd name="connsiteY35" fmla="*/ 263525 h 331788"/>
              <a:gd name="connsiteX36" fmla="*/ 66676 w 279400"/>
              <a:gd name="connsiteY36" fmla="*/ 254000 h 331788"/>
              <a:gd name="connsiteX37" fmla="*/ 87314 w 279400"/>
              <a:gd name="connsiteY37" fmla="*/ 254000 h 331788"/>
              <a:gd name="connsiteX38" fmla="*/ 87314 w 279400"/>
              <a:gd name="connsiteY38" fmla="*/ 263525 h 331788"/>
              <a:gd name="connsiteX39" fmla="*/ 66676 w 279400"/>
              <a:gd name="connsiteY39" fmla="*/ 263525 h 331788"/>
              <a:gd name="connsiteX40" fmla="*/ 36514 w 279400"/>
              <a:gd name="connsiteY40" fmla="*/ 254000 h 331788"/>
              <a:gd name="connsiteX41" fmla="*/ 57152 w 279400"/>
              <a:gd name="connsiteY41" fmla="*/ 254000 h 331788"/>
              <a:gd name="connsiteX42" fmla="*/ 57152 w 279400"/>
              <a:gd name="connsiteY42" fmla="*/ 263525 h 331788"/>
              <a:gd name="connsiteX43" fmla="*/ 36514 w 279400"/>
              <a:gd name="connsiteY43" fmla="*/ 263525 h 331788"/>
              <a:gd name="connsiteX44" fmla="*/ 66676 w 279400"/>
              <a:gd name="connsiteY44" fmla="*/ 233363 h 331788"/>
              <a:gd name="connsiteX45" fmla="*/ 87314 w 279400"/>
              <a:gd name="connsiteY45" fmla="*/ 233363 h 331788"/>
              <a:gd name="connsiteX46" fmla="*/ 87314 w 279400"/>
              <a:gd name="connsiteY46" fmla="*/ 242888 h 331788"/>
              <a:gd name="connsiteX47" fmla="*/ 66676 w 279400"/>
              <a:gd name="connsiteY47" fmla="*/ 242888 h 331788"/>
              <a:gd name="connsiteX48" fmla="*/ 36514 w 279400"/>
              <a:gd name="connsiteY48" fmla="*/ 233363 h 331788"/>
              <a:gd name="connsiteX49" fmla="*/ 57152 w 279400"/>
              <a:gd name="connsiteY49" fmla="*/ 233363 h 331788"/>
              <a:gd name="connsiteX50" fmla="*/ 57152 w 279400"/>
              <a:gd name="connsiteY50" fmla="*/ 242888 h 331788"/>
              <a:gd name="connsiteX51" fmla="*/ 36514 w 279400"/>
              <a:gd name="connsiteY51" fmla="*/ 242888 h 331788"/>
              <a:gd name="connsiteX52" fmla="*/ 222250 w 279400"/>
              <a:gd name="connsiteY52" fmla="*/ 233362 h 331788"/>
              <a:gd name="connsiteX53" fmla="*/ 242888 w 279400"/>
              <a:gd name="connsiteY53" fmla="*/ 233362 h 331788"/>
              <a:gd name="connsiteX54" fmla="*/ 242888 w 279400"/>
              <a:gd name="connsiteY54" fmla="*/ 242887 h 331788"/>
              <a:gd name="connsiteX55" fmla="*/ 222250 w 279400"/>
              <a:gd name="connsiteY55" fmla="*/ 242887 h 331788"/>
              <a:gd name="connsiteX56" fmla="*/ 192088 w 279400"/>
              <a:gd name="connsiteY56" fmla="*/ 233362 h 331788"/>
              <a:gd name="connsiteX57" fmla="*/ 212726 w 279400"/>
              <a:gd name="connsiteY57" fmla="*/ 233362 h 331788"/>
              <a:gd name="connsiteX58" fmla="*/ 212726 w 279400"/>
              <a:gd name="connsiteY58" fmla="*/ 242887 h 331788"/>
              <a:gd name="connsiteX59" fmla="*/ 192088 w 279400"/>
              <a:gd name="connsiteY59" fmla="*/ 242887 h 331788"/>
              <a:gd name="connsiteX60" fmla="*/ 160338 w 279400"/>
              <a:gd name="connsiteY60" fmla="*/ 233362 h 331788"/>
              <a:gd name="connsiteX61" fmla="*/ 180976 w 279400"/>
              <a:gd name="connsiteY61" fmla="*/ 233362 h 331788"/>
              <a:gd name="connsiteX62" fmla="*/ 180976 w 279400"/>
              <a:gd name="connsiteY62" fmla="*/ 242887 h 331788"/>
              <a:gd name="connsiteX63" fmla="*/ 160338 w 279400"/>
              <a:gd name="connsiteY63" fmla="*/ 242887 h 331788"/>
              <a:gd name="connsiteX64" fmla="*/ 128588 w 279400"/>
              <a:gd name="connsiteY64" fmla="*/ 233362 h 331788"/>
              <a:gd name="connsiteX65" fmla="*/ 149226 w 279400"/>
              <a:gd name="connsiteY65" fmla="*/ 233362 h 331788"/>
              <a:gd name="connsiteX66" fmla="*/ 149226 w 279400"/>
              <a:gd name="connsiteY66" fmla="*/ 242887 h 331788"/>
              <a:gd name="connsiteX67" fmla="*/ 128588 w 279400"/>
              <a:gd name="connsiteY67" fmla="*/ 242887 h 331788"/>
              <a:gd name="connsiteX68" fmla="*/ 222250 w 279400"/>
              <a:gd name="connsiteY68" fmla="*/ 212725 h 331788"/>
              <a:gd name="connsiteX69" fmla="*/ 242888 w 279400"/>
              <a:gd name="connsiteY69" fmla="*/ 212725 h 331788"/>
              <a:gd name="connsiteX70" fmla="*/ 242888 w 279400"/>
              <a:gd name="connsiteY70" fmla="*/ 222250 h 331788"/>
              <a:gd name="connsiteX71" fmla="*/ 222250 w 279400"/>
              <a:gd name="connsiteY71" fmla="*/ 222250 h 331788"/>
              <a:gd name="connsiteX72" fmla="*/ 192088 w 279400"/>
              <a:gd name="connsiteY72" fmla="*/ 212725 h 331788"/>
              <a:gd name="connsiteX73" fmla="*/ 212726 w 279400"/>
              <a:gd name="connsiteY73" fmla="*/ 212725 h 331788"/>
              <a:gd name="connsiteX74" fmla="*/ 212726 w 279400"/>
              <a:gd name="connsiteY74" fmla="*/ 222250 h 331788"/>
              <a:gd name="connsiteX75" fmla="*/ 192088 w 279400"/>
              <a:gd name="connsiteY75" fmla="*/ 222250 h 331788"/>
              <a:gd name="connsiteX76" fmla="*/ 160338 w 279400"/>
              <a:gd name="connsiteY76" fmla="*/ 212725 h 331788"/>
              <a:gd name="connsiteX77" fmla="*/ 180976 w 279400"/>
              <a:gd name="connsiteY77" fmla="*/ 212725 h 331788"/>
              <a:gd name="connsiteX78" fmla="*/ 180976 w 279400"/>
              <a:gd name="connsiteY78" fmla="*/ 222250 h 331788"/>
              <a:gd name="connsiteX79" fmla="*/ 160338 w 279400"/>
              <a:gd name="connsiteY79" fmla="*/ 222250 h 331788"/>
              <a:gd name="connsiteX80" fmla="*/ 128588 w 279400"/>
              <a:gd name="connsiteY80" fmla="*/ 212725 h 331788"/>
              <a:gd name="connsiteX81" fmla="*/ 149226 w 279400"/>
              <a:gd name="connsiteY81" fmla="*/ 212725 h 331788"/>
              <a:gd name="connsiteX82" fmla="*/ 149226 w 279400"/>
              <a:gd name="connsiteY82" fmla="*/ 222250 h 331788"/>
              <a:gd name="connsiteX83" fmla="*/ 128588 w 279400"/>
              <a:gd name="connsiteY83" fmla="*/ 222250 h 331788"/>
              <a:gd name="connsiteX84" fmla="*/ 66676 w 279400"/>
              <a:gd name="connsiteY84" fmla="*/ 212725 h 331788"/>
              <a:gd name="connsiteX85" fmla="*/ 87314 w 279400"/>
              <a:gd name="connsiteY85" fmla="*/ 212725 h 331788"/>
              <a:gd name="connsiteX86" fmla="*/ 87314 w 279400"/>
              <a:gd name="connsiteY86" fmla="*/ 222250 h 331788"/>
              <a:gd name="connsiteX87" fmla="*/ 66676 w 279400"/>
              <a:gd name="connsiteY87" fmla="*/ 222250 h 331788"/>
              <a:gd name="connsiteX88" fmla="*/ 36514 w 279400"/>
              <a:gd name="connsiteY88" fmla="*/ 212725 h 331788"/>
              <a:gd name="connsiteX89" fmla="*/ 57152 w 279400"/>
              <a:gd name="connsiteY89" fmla="*/ 212725 h 331788"/>
              <a:gd name="connsiteX90" fmla="*/ 57152 w 279400"/>
              <a:gd name="connsiteY90" fmla="*/ 222250 h 331788"/>
              <a:gd name="connsiteX91" fmla="*/ 36514 w 279400"/>
              <a:gd name="connsiteY91" fmla="*/ 222250 h 331788"/>
              <a:gd name="connsiteX92" fmla="*/ 66676 w 279400"/>
              <a:gd name="connsiteY92" fmla="*/ 192088 h 331788"/>
              <a:gd name="connsiteX93" fmla="*/ 87314 w 279400"/>
              <a:gd name="connsiteY93" fmla="*/ 192088 h 331788"/>
              <a:gd name="connsiteX94" fmla="*/ 87314 w 279400"/>
              <a:gd name="connsiteY94" fmla="*/ 201613 h 331788"/>
              <a:gd name="connsiteX95" fmla="*/ 66676 w 279400"/>
              <a:gd name="connsiteY95" fmla="*/ 201613 h 331788"/>
              <a:gd name="connsiteX96" fmla="*/ 36514 w 279400"/>
              <a:gd name="connsiteY96" fmla="*/ 192088 h 331788"/>
              <a:gd name="connsiteX97" fmla="*/ 57152 w 279400"/>
              <a:gd name="connsiteY97" fmla="*/ 192088 h 331788"/>
              <a:gd name="connsiteX98" fmla="*/ 57152 w 279400"/>
              <a:gd name="connsiteY98" fmla="*/ 201613 h 331788"/>
              <a:gd name="connsiteX99" fmla="*/ 36514 w 279400"/>
              <a:gd name="connsiteY99" fmla="*/ 201613 h 331788"/>
              <a:gd name="connsiteX100" fmla="*/ 222250 w 279400"/>
              <a:gd name="connsiteY100" fmla="*/ 192087 h 331788"/>
              <a:gd name="connsiteX101" fmla="*/ 242888 w 279400"/>
              <a:gd name="connsiteY101" fmla="*/ 192087 h 331788"/>
              <a:gd name="connsiteX102" fmla="*/ 242888 w 279400"/>
              <a:gd name="connsiteY102" fmla="*/ 201612 h 331788"/>
              <a:gd name="connsiteX103" fmla="*/ 222250 w 279400"/>
              <a:gd name="connsiteY103" fmla="*/ 201612 h 331788"/>
              <a:gd name="connsiteX104" fmla="*/ 192088 w 279400"/>
              <a:gd name="connsiteY104" fmla="*/ 192087 h 331788"/>
              <a:gd name="connsiteX105" fmla="*/ 212726 w 279400"/>
              <a:gd name="connsiteY105" fmla="*/ 192087 h 331788"/>
              <a:gd name="connsiteX106" fmla="*/ 212726 w 279400"/>
              <a:gd name="connsiteY106" fmla="*/ 201612 h 331788"/>
              <a:gd name="connsiteX107" fmla="*/ 192088 w 279400"/>
              <a:gd name="connsiteY107" fmla="*/ 201612 h 331788"/>
              <a:gd name="connsiteX108" fmla="*/ 160338 w 279400"/>
              <a:gd name="connsiteY108" fmla="*/ 192087 h 331788"/>
              <a:gd name="connsiteX109" fmla="*/ 180976 w 279400"/>
              <a:gd name="connsiteY109" fmla="*/ 192087 h 331788"/>
              <a:gd name="connsiteX110" fmla="*/ 180976 w 279400"/>
              <a:gd name="connsiteY110" fmla="*/ 201612 h 331788"/>
              <a:gd name="connsiteX111" fmla="*/ 160338 w 279400"/>
              <a:gd name="connsiteY111" fmla="*/ 201612 h 331788"/>
              <a:gd name="connsiteX112" fmla="*/ 128588 w 279400"/>
              <a:gd name="connsiteY112" fmla="*/ 192087 h 331788"/>
              <a:gd name="connsiteX113" fmla="*/ 149226 w 279400"/>
              <a:gd name="connsiteY113" fmla="*/ 192087 h 331788"/>
              <a:gd name="connsiteX114" fmla="*/ 149226 w 279400"/>
              <a:gd name="connsiteY114" fmla="*/ 201612 h 331788"/>
              <a:gd name="connsiteX115" fmla="*/ 128588 w 279400"/>
              <a:gd name="connsiteY115" fmla="*/ 201612 h 331788"/>
              <a:gd name="connsiteX116" fmla="*/ 222250 w 279400"/>
              <a:gd name="connsiteY116" fmla="*/ 171450 h 331788"/>
              <a:gd name="connsiteX117" fmla="*/ 242888 w 279400"/>
              <a:gd name="connsiteY117" fmla="*/ 171450 h 331788"/>
              <a:gd name="connsiteX118" fmla="*/ 242888 w 279400"/>
              <a:gd name="connsiteY118" fmla="*/ 180975 h 331788"/>
              <a:gd name="connsiteX119" fmla="*/ 222250 w 279400"/>
              <a:gd name="connsiteY119" fmla="*/ 180975 h 331788"/>
              <a:gd name="connsiteX120" fmla="*/ 192088 w 279400"/>
              <a:gd name="connsiteY120" fmla="*/ 171450 h 331788"/>
              <a:gd name="connsiteX121" fmla="*/ 212726 w 279400"/>
              <a:gd name="connsiteY121" fmla="*/ 171450 h 331788"/>
              <a:gd name="connsiteX122" fmla="*/ 212726 w 279400"/>
              <a:gd name="connsiteY122" fmla="*/ 180975 h 331788"/>
              <a:gd name="connsiteX123" fmla="*/ 192088 w 279400"/>
              <a:gd name="connsiteY123" fmla="*/ 180975 h 331788"/>
              <a:gd name="connsiteX124" fmla="*/ 160338 w 279400"/>
              <a:gd name="connsiteY124" fmla="*/ 171450 h 331788"/>
              <a:gd name="connsiteX125" fmla="*/ 180976 w 279400"/>
              <a:gd name="connsiteY125" fmla="*/ 171450 h 331788"/>
              <a:gd name="connsiteX126" fmla="*/ 180976 w 279400"/>
              <a:gd name="connsiteY126" fmla="*/ 180975 h 331788"/>
              <a:gd name="connsiteX127" fmla="*/ 160338 w 279400"/>
              <a:gd name="connsiteY127" fmla="*/ 180975 h 331788"/>
              <a:gd name="connsiteX128" fmla="*/ 128588 w 279400"/>
              <a:gd name="connsiteY128" fmla="*/ 171450 h 331788"/>
              <a:gd name="connsiteX129" fmla="*/ 149226 w 279400"/>
              <a:gd name="connsiteY129" fmla="*/ 171450 h 331788"/>
              <a:gd name="connsiteX130" fmla="*/ 149226 w 279400"/>
              <a:gd name="connsiteY130" fmla="*/ 180975 h 331788"/>
              <a:gd name="connsiteX131" fmla="*/ 128588 w 279400"/>
              <a:gd name="connsiteY131" fmla="*/ 180975 h 331788"/>
              <a:gd name="connsiteX132" fmla="*/ 66676 w 279400"/>
              <a:gd name="connsiteY132" fmla="*/ 171450 h 331788"/>
              <a:gd name="connsiteX133" fmla="*/ 87314 w 279400"/>
              <a:gd name="connsiteY133" fmla="*/ 171450 h 331788"/>
              <a:gd name="connsiteX134" fmla="*/ 87314 w 279400"/>
              <a:gd name="connsiteY134" fmla="*/ 180975 h 331788"/>
              <a:gd name="connsiteX135" fmla="*/ 66676 w 279400"/>
              <a:gd name="connsiteY135" fmla="*/ 180975 h 331788"/>
              <a:gd name="connsiteX136" fmla="*/ 36514 w 279400"/>
              <a:gd name="connsiteY136" fmla="*/ 171450 h 331788"/>
              <a:gd name="connsiteX137" fmla="*/ 57152 w 279400"/>
              <a:gd name="connsiteY137" fmla="*/ 171450 h 331788"/>
              <a:gd name="connsiteX138" fmla="*/ 57152 w 279400"/>
              <a:gd name="connsiteY138" fmla="*/ 180975 h 331788"/>
              <a:gd name="connsiteX139" fmla="*/ 36514 w 279400"/>
              <a:gd name="connsiteY139" fmla="*/ 180975 h 331788"/>
              <a:gd name="connsiteX140" fmla="*/ 222250 w 279400"/>
              <a:gd name="connsiteY140" fmla="*/ 149225 h 331788"/>
              <a:gd name="connsiteX141" fmla="*/ 242888 w 279400"/>
              <a:gd name="connsiteY141" fmla="*/ 149225 h 331788"/>
              <a:gd name="connsiteX142" fmla="*/ 242888 w 279400"/>
              <a:gd name="connsiteY142" fmla="*/ 160338 h 331788"/>
              <a:gd name="connsiteX143" fmla="*/ 222250 w 279400"/>
              <a:gd name="connsiteY143" fmla="*/ 160338 h 331788"/>
              <a:gd name="connsiteX144" fmla="*/ 192088 w 279400"/>
              <a:gd name="connsiteY144" fmla="*/ 149225 h 331788"/>
              <a:gd name="connsiteX145" fmla="*/ 212726 w 279400"/>
              <a:gd name="connsiteY145" fmla="*/ 149225 h 331788"/>
              <a:gd name="connsiteX146" fmla="*/ 212726 w 279400"/>
              <a:gd name="connsiteY146" fmla="*/ 160338 h 331788"/>
              <a:gd name="connsiteX147" fmla="*/ 192088 w 279400"/>
              <a:gd name="connsiteY147" fmla="*/ 160338 h 331788"/>
              <a:gd name="connsiteX148" fmla="*/ 160338 w 279400"/>
              <a:gd name="connsiteY148" fmla="*/ 149225 h 331788"/>
              <a:gd name="connsiteX149" fmla="*/ 180976 w 279400"/>
              <a:gd name="connsiteY149" fmla="*/ 149225 h 331788"/>
              <a:gd name="connsiteX150" fmla="*/ 180976 w 279400"/>
              <a:gd name="connsiteY150" fmla="*/ 160338 h 331788"/>
              <a:gd name="connsiteX151" fmla="*/ 160338 w 279400"/>
              <a:gd name="connsiteY151" fmla="*/ 160338 h 331788"/>
              <a:gd name="connsiteX152" fmla="*/ 128588 w 279400"/>
              <a:gd name="connsiteY152" fmla="*/ 149225 h 331788"/>
              <a:gd name="connsiteX153" fmla="*/ 149226 w 279400"/>
              <a:gd name="connsiteY153" fmla="*/ 149225 h 331788"/>
              <a:gd name="connsiteX154" fmla="*/ 149226 w 279400"/>
              <a:gd name="connsiteY154" fmla="*/ 160338 h 331788"/>
              <a:gd name="connsiteX155" fmla="*/ 128588 w 279400"/>
              <a:gd name="connsiteY155" fmla="*/ 160338 h 331788"/>
              <a:gd name="connsiteX156" fmla="*/ 66676 w 279400"/>
              <a:gd name="connsiteY156" fmla="*/ 149225 h 331788"/>
              <a:gd name="connsiteX157" fmla="*/ 87314 w 279400"/>
              <a:gd name="connsiteY157" fmla="*/ 149225 h 331788"/>
              <a:gd name="connsiteX158" fmla="*/ 87314 w 279400"/>
              <a:gd name="connsiteY158" fmla="*/ 160338 h 331788"/>
              <a:gd name="connsiteX159" fmla="*/ 66676 w 279400"/>
              <a:gd name="connsiteY159" fmla="*/ 160338 h 331788"/>
              <a:gd name="connsiteX160" fmla="*/ 36514 w 279400"/>
              <a:gd name="connsiteY160" fmla="*/ 149225 h 331788"/>
              <a:gd name="connsiteX161" fmla="*/ 57152 w 279400"/>
              <a:gd name="connsiteY161" fmla="*/ 149225 h 331788"/>
              <a:gd name="connsiteX162" fmla="*/ 57152 w 279400"/>
              <a:gd name="connsiteY162" fmla="*/ 160338 h 331788"/>
              <a:gd name="connsiteX163" fmla="*/ 36514 w 279400"/>
              <a:gd name="connsiteY163" fmla="*/ 160338 h 331788"/>
              <a:gd name="connsiteX164" fmla="*/ 222251 w 279400"/>
              <a:gd name="connsiteY164" fmla="*/ 128588 h 331788"/>
              <a:gd name="connsiteX165" fmla="*/ 242889 w 279400"/>
              <a:gd name="connsiteY165" fmla="*/ 128588 h 331788"/>
              <a:gd name="connsiteX166" fmla="*/ 242889 w 279400"/>
              <a:gd name="connsiteY166" fmla="*/ 139701 h 331788"/>
              <a:gd name="connsiteX167" fmla="*/ 222251 w 279400"/>
              <a:gd name="connsiteY167" fmla="*/ 139701 h 331788"/>
              <a:gd name="connsiteX168" fmla="*/ 192089 w 279400"/>
              <a:gd name="connsiteY168" fmla="*/ 128588 h 331788"/>
              <a:gd name="connsiteX169" fmla="*/ 212727 w 279400"/>
              <a:gd name="connsiteY169" fmla="*/ 128588 h 331788"/>
              <a:gd name="connsiteX170" fmla="*/ 212727 w 279400"/>
              <a:gd name="connsiteY170" fmla="*/ 139701 h 331788"/>
              <a:gd name="connsiteX171" fmla="*/ 192089 w 279400"/>
              <a:gd name="connsiteY171" fmla="*/ 139701 h 331788"/>
              <a:gd name="connsiteX172" fmla="*/ 160339 w 279400"/>
              <a:gd name="connsiteY172" fmla="*/ 128588 h 331788"/>
              <a:gd name="connsiteX173" fmla="*/ 180977 w 279400"/>
              <a:gd name="connsiteY173" fmla="*/ 128588 h 331788"/>
              <a:gd name="connsiteX174" fmla="*/ 180977 w 279400"/>
              <a:gd name="connsiteY174" fmla="*/ 139701 h 331788"/>
              <a:gd name="connsiteX175" fmla="*/ 160339 w 279400"/>
              <a:gd name="connsiteY175" fmla="*/ 139701 h 331788"/>
              <a:gd name="connsiteX176" fmla="*/ 128589 w 279400"/>
              <a:gd name="connsiteY176" fmla="*/ 128588 h 331788"/>
              <a:gd name="connsiteX177" fmla="*/ 149227 w 279400"/>
              <a:gd name="connsiteY177" fmla="*/ 128588 h 331788"/>
              <a:gd name="connsiteX178" fmla="*/ 149227 w 279400"/>
              <a:gd name="connsiteY178" fmla="*/ 139701 h 331788"/>
              <a:gd name="connsiteX179" fmla="*/ 128589 w 279400"/>
              <a:gd name="connsiteY179" fmla="*/ 139701 h 331788"/>
              <a:gd name="connsiteX180" fmla="*/ 66676 w 279400"/>
              <a:gd name="connsiteY180" fmla="*/ 128588 h 331788"/>
              <a:gd name="connsiteX181" fmla="*/ 87314 w 279400"/>
              <a:gd name="connsiteY181" fmla="*/ 128588 h 331788"/>
              <a:gd name="connsiteX182" fmla="*/ 87314 w 279400"/>
              <a:gd name="connsiteY182" fmla="*/ 139701 h 331788"/>
              <a:gd name="connsiteX183" fmla="*/ 66676 w 279400"/>
              <a:gd name="connsiteY183" fmla="*/ 139701 h 331788"/>
              <a:gd name="connsiteX184" fmla="*/ 36514 w 279400"/>
              <a:gd name="connsiteY184" fmla="*/ 128588 h 331788"/>
              <a:gd name="connsiteX185" fmla="*/ 57152 w 279400"/>
              <a:gd name="connsiteY185" fmla="*/ 128588 h 331788"/>
              <a:gd name="connsiteX186" fmla="*/ 57152 w 279400"/>
              <a:gd name="connsiteY186" fmla="*/ 139701 h 331788"/>
              <a:gd name="connsiteX187" fmla="*/ 36514 w 279400"/>
              <a:gd name="connsiteY187" fmla="*/ 139701 h 331788"/>
              <a:gd name="connsiteX188" fmla="*/ 20638 w 279400"/>
              <a:gd name="connsiteY188" fmla="*/ 114300 h 331788"/>
              <a:gd name="connsiteX189" fmla="*/ 20638 w 279400"/>
              <a:gd name="connsiteY189" fmla="*/ 279400 h 331788"/>
              <a:gd name="connsiteX190" fmla="*/ 103188 w 279400"/>
              <a:gd name="connsiteY190" fmla="*/ 279400 h 331788"/>
              <a:gd name="connsiteX191" fmla="*/ 103188 w 279400"/>
              <a:gd name="connsiteY191" fmla="*/ 114300 h 331788"/>
              <a:gd name="connsiteX192" fmla="*/ 222251 w 279400"/>
              <a:gd name="connsiteY192" fmla="*/ 107950 h 331788"/>
              <a:gd name="connsiteX193" fmla="*/ 242889 w 279400"/>
              <a:gd name="connsiteY193" fmla="*/ 107950 h 331788"/>
              <a:gd name="connsiteX194" fmla="*/ 242889 w 279400"/>
              <a:gd name="connsiteY194" fmla="*/ 119063 h 331788"/>
              <a:gd name="connsiteX195" fmla="*/ 222251 w 279400"/>
              <a:gd name="connsiteY195" fmla="*/ 119063 h 331788"/>
              <a:gd name="connsiteX196" fmla="*/ 192089 w 279400"/>
              <a:gd name="connsiteY196" fmla="*/ 107950 h 331788"/>
              <a:gd name="connsiteX197" fmla="*/ 212727 w 279400"/>
              <a:gd name="connsiteY197" fmla="*/ 107950 h 331788"/>
              <a:gd name="connsiteX198" fmla="*/ 212727 w 279400"/>
              <a:gd name="connsiteY198" fmla="*/ 119063 h 331788"/>
              <a:gd name="connsiteX199" fmla="*/ 192089 w 279400"/>
              <a:gd name="connsiteY199" fmla="*/ 119063 h 331788"/>
              <a:gd name="connsiteX200" fmla="*/ 160339 w 279400"/>
              <a:gd name="connsiteY200" fmla="*/ 107950 h 331788"/>
              <a:gd name="connsiteX201" fmla="*/ 180977 w 279400"/>
              <a:gd name="connsiteY201" fmla="*/ 107950 h 331788"/>
              <a:gd name="connsiteX202" fmla="*/ 180977 w 279400"/>
              <a:gd name="connsiteY202" fmla="*/ 119063 h 331788"/>
              <a:gd name="connsiteX203" fmla="*/ 160339 w 279400"/>
              <a:gd name="connsiteY203" fmla="*/ 119063 h 331788"/>
              <a:gd name="connsiteX204" fmla="*/ 128589 w 279400"/>
              <a:gd name="connsiteY204" fmla="*/ 107950 h 331788"/>
              <a:gd name="connsiteX205" fmla="*/ 149227 w 279400"/>
              <a:gd name="connsiteY205" fmla="*/ 107950 h 331788"/>
              <a:gd name="connsiteX206" fmla="*/ 149227 w 279400"/>
              <a:gd name="connsiteY206" fmla="*/ 119063 h 331788"/>
              <a:gd name="connsiteX207" fmla="*/ 128589 w 279400"/>
              <a:gd name="connsiteY207" fmla="*/ 119063 h 331788"/>
              <a:gd name="connsiteX208" fmla="*/ 222251 w 279400"/>
              <a:gd name="connsiteY208" fmla="*/ 87313 h 331788"/>
              <a:gd name="connsiteX209" fmla="*/ 242889 w 279400"/>
              <a:gd name="connsiteY209" fmla="*/ 87313 h 331788"/>
              <a:gd name="connsiteX210" fmla="*/ 242889 w 279400"/>
              <a:gd name="connsiteY210" fmla="*/ 98426 h 331788"/>
              <a:gd name="connsiteX211" fmla="*/ 222251 w 279400"/>
              <a:gd name="connsiteY211" fmla="*/ 98426 h 331788"/>
              <a:gd name="connsiteX212" fmla="*/ 192089 w 279400"/>
              <a:gd name="connsiteY212" fmla="*/ 87313 h 331788"/>
              <a:gd name="connsiteX213" fmla="*/ 212727 w 279400"/>
              <a:gd name="connsiteY213" fmla="*/ 87313 h 331788"/>
              <a:gd name="connsiteX214" fmla="*/ 212727 w 279400"/>
              <a:gd name="connsiteY214" fmla="*/ 98426 h 331788"/>
              <a:gd name="connsiteX215" fmla="*/ 192089 w 279400"/>
              <a:gd name="connsiteY215" fmla="*/ 98426 h 331788"/>
              <a:gd name="connsiteX216" fmla="*/ 160339 w 279400"/>
              <a:gd name="connsiteY216" fmla="*/ 87313 h 331788"/>
              <a:gd name="connsiteX217" fmla="*/ 180977 w 279400"/>
              <a:gd name="connsiteY217" fmla="*/ 87313 h 331788"/>
              <a:gd name="connsiteX218" fmla="*/ 180977 w 279400"/>
              <a:gd name="connsiteY218" fmla="*/ 98426 h 331788"/>
              <a:gd name="connsiteX219" fmla="*/ 160339 w 279400"/>
              <a:gd name="connsiteY219" fmla="*/ 98426 h 331788"/>
              <a:gd name="connsiteX220" fmla="*/ 128589 w 279400"/>
              <a:gd name="connsiteY220" fmla="*/ 87313 h 331788"/>
              <a:gd name="connsiteX221" fmla="*/ 149227 w 279400"/>
              <a:gd name="connsiteY221" fmla="*/ 87313 h 331788"/>
              <a:gd name="connsiteX222" fmla="*/ 149227 w 279400"/>
              <a:gd name="connsiteY222" fmla="*/ 98426 h 331788"/>
              <a:gd name="connsiteX223" fmla="*/ 128589 w 279400"/>
              <a:gd name="connsiteY223" fmla="*/ 98426 h 331788"/>
              <a:gd name="connsiteX224" fmla="*/ 222251 w 279400"/>
              <a:gd name="connsiteY224" fmla="*/ 66675 h 331788"/>
              <a:gd name="connsiteX225" fmla="*/ 242889 w 279400"/>
              <a:gd name="connsiteY225" fmla="*/ 66675 h 331788"/>
              <a:gd name="connsiteX226" fmla="*/ 242889 w 279400"/>
              <a:gd name="connsiteY226" fmla="*/ 77788 h 331788"/>
              <a:gd name="connsiteX227" fmla="*/ 222251 w 279400"/>
              <a:gd name="connsiteY227" fmla="*/ 77788 h 331788"/>
              <a:gd name="connsiteX228" fmla="*/ 192089 w 279400"/>
              <a:gd name="connsiteY228" fmla="*/ 66675 h 331788"/>
              <a:gd name="connsiteX229" fmla="*/ 212727 w 279400"/>
              <a:gd name="connsiteY229" fmla="*/ 66675 h 331788"/>
              <a:gd name="connsiteX230" fmla="*/ 212727 w 279400"/>
              <a:gd name="connsiteY230" fmla="*/ 77788 h 331788"/>
              <a:gd name="connsiteX231" fmla="*/ 192089 w 279400"/>
              <a:gd name="connsiteY231" fmla="*/ 77788 h 331788"/>
              <a:gd name="connsiteX232" fmla="*/ 160339 w 279400"/>
              <a:gd name="connsiteY232" fmla="*/ 66675 h 331788"/>
              <a:gd name="connsiteX233" fmla="*/ 180977 w 279400"/>
              <a:gd name="connsiteY233" fmla="*/ 66675 h 331788"/>
              <a:gd name="connsiteX234" fmla="*/ 180977 w 279400"/>
              <a:gd name="connsiteY234" fmla="*/ 77788 h 331788"/>
              <a:gd name="connsiteX235" fmla="*/ 160339 w 279400"/>
              <a:gd name="connsiteY235" fmla="*/ 77788 h 331788"/>
              <a:gd name="connsiteX236" fmla="*/ 128589 w 279400"/>
              <a:gd name="connsiteY236" fmla="*/ 66675 h 331788"/>
              <a:gd name="connsiteX237" fmla="*/ 149227 w 279400"/>
              <a:gd name="connsiteY237" fmla="*/ 66675 h 331788"/>
              <a:gd name="connsiteX238" fmla="*/ 149227 w 279400"/>
              <a:gd name="connsiteY238" fmla="*/ 77788 h 331788"/>
              <a:gd name="connsiteX239" fmla="*/ 128589 w 279400"/>
              <a:gd name="connsiteY239" fmla="*/ 77788 h 331788"/>
              <a:gd name="connsiteX240" fmla="*/ 222251 w 279400"/>
              <a:gd name="connsiteY240" fmla="*/ 46038 h 331788"/>
              <a:gd name="connsiteX241" fmla="*/ 242889 w 279400"/>
              <a:gd name="connsiteY241" fmla="*/ 46038 h 331788"/>
              <a:gd name="connsiteX242" fmla="*/ 242889 w 279400"/>
              <a:gd name="connsiteY242" fmla="*/ 57151 h 331788"/>
              <a:gd name="connsiteX243" fmla="*/ 222251 w 279400"/>
              <a:gd name="connsiteY243" fmla="*/ 57151 h 331788"/>
              <a:gd name="connsiteX244" fmla="*/ 192089 w 279400"/>
              <a:gd name="connsiteY244" fmla="*/ 46038 h 331788"/>
              <a:gd name="connsiteX245" fmla="*/ 212727 w 279400"/>
              <a:gd name="connsiteY245" fmla="*/ 46038 h 331788"/>
              <a:gd name="connsiteX246" fmla="*/ 212727 w 279400"/>
              <a:gd name="connsiteY246" fmla="*/ 57151 h 331788"/>
              <a:gd name="connsiteX247" fmla="*/ 192089 w 279400"/>
              <a:gd name="connsiteY247" fmla="*/ 57151 h 331788"/>
              <a:gd name="connsiteX248" fmla="*/ 160339 w 279400"/>
              <a:gd name="connsiteY248" fmla="*/ 46038 h 331788"/>
              <a:gd name="connsiteX249" fmla="*/ 180977 w 279400"/>
              <a:gd name="connsiteY249" fmla="*/ 46038 h 331788"/>
              <a:gd name="connsiteX250" fmla="*/ 180977 w 279400"/>
              <a:gd name="connsiteY250" fmla="*/ 57151 h 331788"/>
              <a:gd name="connsiteX251" fmla="*/ 160339 w 279400"/>
              <a:gd name="connsiteY251" fmla="*/ 57151 h 331788"/>
              <a:gd name="connsiteX252" fmla="*/ 128589 w 279400"/>
              <a:gd name="connsiteY252" fmla="*/ 46038 h 331788"/>
              <a:gd name="connsiteX253" fmla="*/ 149227 w 279400"/>
              <a:gd name="connsiteY253" fmla="*/ 46038 h 331788"/>
              <a:gd name="connsiteX254" fmla="*/ 149227 w 279400"/>
              <a:gd name="connsiteY254" fmla="*/ 57151 h 331788"/>
              <a:gd name="connsiteX255" fmla="*/ 128589 w 279400"/>
              <a:gd name="connsiteY255" fmla="*/ 57151 h 331788"/>
              <a:gd name="connsiteX256" fmla="*/ 222251 w 279400"/>
              <a:gd name="connsiteY256" fmla="*/ 25400 h 331788"/>
              <a:gd name="connsiteX257" fmla="*/ 242889 w 279400"/>
              <a:gd name="connsiteY257" fmla="*/ 25400 h 331788"/>
              <a:gd name="connsiteX258" fmla="*/ 242889 w 279400"/>
              <a:gd name="connsiteY258" fmla="*/ 36513 h 331788"/>
              <a:gd name="connsiteX259" fmla="*/ 222251 w 279400"/>
              <a:gd name="connsiteY259" fmla="*/ 36513 h 331788"/>
              <a:gd name="connsiteX260" fmla="*/ 192089 w 279400"/>
              <a:gd name="connsiteY260" fmla="*/ 25400 h 331788"/>
              <a:gd name="connsiteX261" fmla="*/ 212727 w 279400"/>
              <a:gd name="connsiteY261" fmla="*/ 25400 h 331788"/>
              <a:gd name="connsiteX262" fmla="*/ 212727 w 279400"/>
              <a:gd name="connsiteY262" fmla="*/ 36513 h 331788"/>
              <a:gd name="connsiteX263" fmla="*/ 192089 w 279400"/>
              <a:gd name="connsiteY263" fmla="*/ 36513 h 331788"/>
              <a:gd name="connsiteX264" fmla="*/ 160339 w 279400"/>
              <a:gd name="connsiteY264" fmla="*/ 25400 h 331788"/>
              <a:gd name="connsiteX265" fmla="*/ 180977 w 279400"/>
              <a:gd name="connsiteY265" fmla="*/ 25400 h 331788"/>
              <a:gd name="connsiteX266" fmla="*/ 180977 w 279400"/>
              <a:gd name="connsiteY266" fmla="*/ 36513 h 331788"/>
              <a:gd name="connsiteX267" fmla="*/ 160339 w 279400"/>
              <a:gd name="connsiteY267" fmla="*/ 36513 h 331788"/>
              <a:gd name="connsiteX268" fmla="*/ 128589 w 279400"/>
              <a:gd name="connsiteY268" fmla="*/ 25400 h 331788"/>
              <a:gd name="connsiteX269" fmla="*/ 149227 w 279400"/>
              <a:gd name="connsiteY269" fmla="*/ 25400 h 331788"/>
              <a:gd name="connsiteX270" fmla="*/ 149227 w 279400"/>
              <a:gd name="connsiteY270" fmla="*/ 36513 h 331788"/>
              <a:gd name="connsiteX271" fmla="*/ 128589 w 279400"/>
              <a:gd name="connsiteY271" fmla="*/ 36513 h 331788"/>
              <a:gd name="connsiteX272" fmla="*/ 114300 w 279400"/>
              <a:gd name="connsiteY272" fmla="*/ 9525 h 331788"/>
              <a:gd name="connsiteX273" fmla="*/ 114300 w 279400"/>
              <a:gd name="connsiteY273" fmla="*/ 279400 h 331788"/>
              <a:gd name="connsiteX274" fmla="*/ 258763 w 279400"/>
              <a:gd name="connsiteY274" fmla="*/ 279400 h 331788"/>
              <a:gd name="connsiteX275" fmla="*/ 258763 w 279400"/>
              <a:gd name="connsiteY275" fmla="*/ 9525 h 331788"/>
              <a:gd name="connsiteX276" fmla="*/ 103187 w 279400"/>
              <a:gd name="connsiteY276" fmla="*/ 0 h 331788"/>
              <a:gd name="connsiteX277" fmla="*/ 268288 w 279400"/>
              <a:gd name="connsiteY277" fmla="*/ 0 h 331788"/>
              <a:gd name="connsiteX278" fmla="*/ 268288 w 279400"/>
              <a:gd name="connsiteY278" fmla="*/ 320676 h 331788"/>
              <a:gd name="connsiteX279" fmla="*/ 279400 w 279400"/>
              <a:gd name="connsiteY279" fmla="*/ 320676 h 331788"/>
              <a:gd name="connsiteX280" fmla="*/ 279400 w 279400"/>
              <a:gd name="connsiteY280" fmla="*/ 331788 h 331788"/>
              <a:gd name="connsiteX281" fmla="*/ 0 w 279400"/>
              <a:gd name="connsiteY281" fmla="*/ 331788 h 331788"/>
              <a:gd name="connsiteX282" fmla="*/ 0 w 279400"/>
              <a:gd name="connsiteY282" fmla="*/ 320676 h 331788"/>
              <a:gd name="connsiteX283" fmla="*/ 9525 w 279400"/>
              <a:gd name="connsiteY283" fmla="*/ 320676 h 331788"/>
              <a:gd name="connsiteX284" fmla="*/ 9525 w 279400"/>
              <a:gd name="connsiteY284" fmla="*/ 103188 h 331788"/>
              <a:gd name="connsiteX285" fmla="*/ 103187 w 279400"/>
              <a:gd name="connsiteY285" fmla="*/ 103188 h 33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</a:cxnLst>
            <a:rect l="l" t="t" r="r" b="b"/>
            <a:pathLst>
              <a:path w="279400" h="331788">
                <a:moveTo>
                  <a:pt x="192089" y="300038"/>
                </a:moveTo>
                <a:lnTo>
                  <a:pt x="242889" y="300038"/>
                </a:lnTo>
                <a:lnTo>
                  <a:pt x="242889" y="311151"/>
                </a:lnTo>
                <a:lnTo>
                  <a:pt x="192089" y="311151"/>
                </a:lnTo>
                <a:close/>
                <a:moveTo>
                  <a:pt x="128589" y="300038"/>
                </a:moveTo>
                <a:lnTo>
                  <a:pt x="180977" y="300038"/>
                </a:lnTo>
                <a:lnTo>
                  <a:pt x="180977" y="311151"/>
                </a:lnTo>
                <a:lnTo>
                  <a:pt x="128589" y="311151"/>
                </a:lnTo>
                <a:close/>
                <a:moveTo>
                  <a:pt x="36514" y="300038"/>
                </a:moveTo>
                <a:lnTo>
                  <a:pt x="87314" y="300038"/>
                </a:lnTo>
                <a:lnTo>
                  <a:pt x="87314" y="311151"/>
                </a:lnTo>
                <a:lnTo>
                  <a:pt x="36514" y="311151"/>
                </a:lnTo>
                <a:close/>
                <a:moveTo>
                  <a:pt x="114300" y="290512"/>
                </a:moveTo>
                <a:lnTo>
                  <a:pt x="114300" y="320675"/>
                </a:lnTo>
                <a:lnTo>
                  <a:pt x="258763" y="320675"/>
                </a:lnTo>
                <a:lnTo>
                  <a:pt x="258763" y="290512"/>
                </a:lnTo>
                <a:close/>
                <a:moveTo>
                  <a:pt x="20638" y="290512"/>
                </a:moveTo>
                <a:lnTo>
                  <a:pt x="20638" y="320675"/>
                </a:lnTo>
                <a:lnTo>
                  <a:pt x="103188" y="320675"/>
                </a:lnTo>
                <a:lnTo>
                  <a:pt x="103188" y="290512"/>
                </a:lnTo>
                <a:close/>
                <a:moveTo>
                  <a:pt x="222250" y="254000"/>
                </a:moveTo>
                <a:lnTo>
                  <a:pt x="242888" y="254000"/>
                </a:lnTo>
                <a:lnTo>
                  <a:pt x="242888" y="263525"/>
                </a:lnTo>
                <a:lnTo>
                  <a:pt x="222250" y="263525"/>
                </a:lnTo>
                <a:close/>
                <a:moveTo>
                  <a:pt x="192088" y="254000"/>
                </a:moveTo>
                <a:lnTo>
                  <a:pt x="212726" y="254000"/>
                </a:lnTo>
                <a:lnTo>
                  <a:pt x="212726" y="263525"/>
                </a:lnTo>
                <a:lnTo>
                  <a:pt x="192088" y="263525"/>
                </a:lnTo>
                <a:close/>
                <a:moveTo>
                  <a:pt x="160338" y="254000"/>
                </a:moveTo>
                <a:lnTo>
                  <a:pt x="180976" y="254000"/>
                </a:lnTo>
                <a:lnTo>
                  <a:pt x="180976" y="263525"/>
                </a:lnTo>
                <a:lnTo>
                  <a:pt x="160338" y="263525"/>
                </a:lnTo>
                <a:close/>
                <a:moveTo>
                  <a:pt x="128588" y="254000"/>
                </a:moveTo>
                <a:lnTo>
                  <a:pt x="149226" y="254000"/>
                </a:lnTo>
                <a:lnTo>
                  <a:pt x="149226" y="263525"/>
                </a:lnTo>
                <a:lnTo>
                  <a:pt x="128588" y="263525"/>
                </a:lnTo>
                <a:close/>
                <a:moveTo>
                  <a:pt x="66676" y="254000"/>
                </a:moveTo>
                <a:lnTo>
                  <a:pt x="87314" y="254000"/>
                </a:lnTo>
                <a:lnTo>
                  <a:pt x="87314" y="263525"/>
                </a:lnTo>
                <a:lnTo>
                  <a:pt x="66676" y="263525"/>
                </a:lnTo>
                <a:close/>
                <a:moveTo>
                  <a:pt x="36514" y="254000"/>
                </a:moveTo>
                <a:lnTo>
                  <a:pt x="57152" y="254000"/>
                </a:lnTo>
                <a:lnTo>
                  <a:pt x="57152" y="263525"/>
                </a:lnTo>
                <a:lnTo>
                  <a:pt x="36514" y="263525"/>
                </a:lnTo>
                <a:close/>
                <a:moveTo>
                  <a:pt x="66676" y="233363"/>
                </a:moveTo>
                <a:lnTo>
                  <a:pt x="87314" y="233363"/>
                </a:lnTo>
                <a:lnTo>
                  <a:pt x="87314" y="242888"/>
                </a:lnTo>
                <a:lnTo>
                  <a:pt x="66676" y="242888"/>
                </a:lnTo>
                <a:close/>
                <a:moveTo>
                  <a:pt x="36514" y="233363"/>
                </a:moveTo>
                <a:lnTo>
                  <a:pt x="57152" y="233363"/>
                </a:lnTo>
                <a:lnTo>
                  <a:pt x="57152" y="242888"/>
                </a:lnTo>
                <a:lnTo>
                  <a:pt x="36514" y="242888"/>
                </a:lnTo>
                <a:close/>
                <a:moveTo>
                  <a:pt x="222250" y="233362"/>
                </a:moveTo>
                <a:lnTo>
                  <a:pt x="242888" y="233362"/>
                </a:lnTo>
                <a:lnTo>
                  <a:pt x="242888" y="242887"/>
                </a:lnTo>
                <a:lnTo>
                  <a:pt x="222250" y="242887"/>
                </a:lnTo>
                <a:close/>
                <a:moveTo>
                  <a:pt x="192088" y="233362"/>
                </a:moveTo>
                <a:lnTo>
                  <a:pt x="212726" y="233362"/>
                </a:lnTo>
                <a:lnTo>
                  <a:pt x="212726" y="242887"/>
                </a:lnTo>
                <a:lnTo>
                  <a:pt x="192088" y="242887"/>
                </a:lnTo>
                <a:close/>
                <a:moveTo>
                  <a:pt x="160338" y="233362"/>
                </a:moveTo>
                <a:lnTo>
                  <a:pt x="180976" y="233362"/>
                </a:lnTo>
                <a:lnTo>
                  <a:pt x="180976" y="242887"/>
                </a:lnTo>
                <a:lnTo>
                  <a:pt x="160338" y="242887"/>
                </a:lnTo>
                <a:close/>
                <a:moveTo>
                  <a:pt x="128588" y="233362"/>
                </a:moveTo>
                <a:lnTo>
                  <a:pt x="149226" y="233362"/>
                </a:lnTo>
                <a:lnTo>
                  <a:pt x="149226" y="242887"/>
                </a:lnTo>
                <a:lnTo>
                  <a:pt x="128588" y="242887"/>
                </a:lnTo>
                <a:close/>
                <a:moveTo>
                  <a:pt x="222250" y="212725"/>
                </a:moveTo>
                <a:lnTo>
                  <a:pt x="242888" y="212725"/>
                </a:lnTo>
                <a:lnTo>
                  <a:pt x="242888" y="222250"/>
                </a:lnTo>
                <a:lnTo>
                  <a:pt x="222250" y="222250"/>
                </a:lnTo>
                <a:close/>
                <a:moveTo>
                  <a:pt x="192088" y="212725"/>
                </a:moveTo>
                <a:lnTo>
                  <a:pt x="212726" y="212725"/>
                </a:lnTo>
                <a:lnTo>
                  <a:pt x="212726" y="222250"/>
                </a:lnTo>
                <a:lnTo>
                  <a:pt x="192088" y="222250"/>
                </a:lnTo>
                <a:close/>
                <a:moveTo>
                  <a:pt x="160338" y="212725"/>
                </a:moveTo>
                <a:lnTo>
                  <a:pt x="180976" y="212725"/>
                </a:lnTo>
                <a:lnTo>
                  <a:pt x="180976" y="222250"/>
                </a:lnTo>
                <a:lnTo>
                  <a:pt x="160338" y="222250"/>
                </a:lnTo>
                <a:close/>
                <a:moveTo>
                  <a:pt x="128588" y="212725"/>
                </a:moveTo>
                <a:lnTo>
                  <a:pt x="149226" y="212725"/>
                </a:lnTo>
                <a:lnTo>
                  <a:pt x="149226" y="222250"/>
                </a:lnTo>
                <a:lnTo>
                  <a:pt x="128588" y="222250"/>
                </a:lnTo>
                <a:close/>
                <a:moveTo>
                  <a:pt x="66676" y="212725"/>
                </a:moveTo>
                <a:lnTo>
                  <a:pt x="87314" y="212725"/>
                </a:lnTo>
                <a:lnTo>
                  <a:pt x="87314" y="222250"/>
                </a:lnTo>
                <a:lnTo>
                  <a:pt x="66676" y="222250"/>
                </a:lnTo>
                <a:close/>
                <a:moveTo>
                  <a:pt x="36514" y="212725"/>
                </a:moveTo>
                <a:lnTo>
                  <a:pt x="57152" y="212725"/>
                </a:lnTo>
                <a:lnTo>
                  <a:pt x="57152" y="222250"/>
                </a:lnTo>
                <a:lnTo>
                  <a:pt x="36514" y="222250"/>
                </a:lnTo>
                <a:close/>
                <a:moveTo>
                  <a:pt x="66676" y="192088"/>
                </a:moveTo>
                <a:lnTo>
                  <a:pt x="87314" y="192088"/>
                </a:lnTo>
                <a:lnTo>
                  <a:pt x="87314" y="201613"/>
                </a:lnTo>
                <a:lnTo>
                  <a:pt x="66676" y="201613"/>
                </a:lnTo>
                <a:close/>
                <a:moveTo>
                  <a:pt x="36514" y="192088"/>
                </a:moveTo>
                <a:lnTo>
                  <a:pt x="57152" y="192088"/>
                </a:lnTo>
                <a:lnTo>
                  <a:pt x="57152" y="201613"/>
                </a:lnTo>
                <a:lnTo>
                  <a:pt x="36514" y="201613"/>
                </a:lnTo>
                <a:close/>
                <a:moveTo>
                  <a:pt x="222250" y="192087"/>
                </a:moveTo>
                <a:lnTo>
                  <a:pt x="242888" y="192087"/>
                </a:lnTo>
                <a:lnTo>
                  <a:pt x="242888" y="201612"/>
                </a:lnTo>
                <a:lnTo>
                  <a:pt x="222250" y="201612"/>
                </a:lnTo>
                <a:close/>
                <a:moveTo>
                  <a:pt x="192088" y="192087"/>
                </a:moveTo>
                <a:lnTo>
                  <a:pt x="212726" y="192087"/>
                </a:lnTo>
                <a:lnTo>
                  <a:pt x="212726" y="201612"/>
                </a:lnTo>
                <a:lnTo>
                  <a:pt x="192088" y="201612"/>
                </a:lnTo>
                <a:close/>
                <a:moveTo>
                  <a:pt x="160338" y="192087"/>
                </a:moveTo>
                <a:lnTo>
                  <a:pt x="180976" y="192087"/>
                </a:lnTo>
                <a:lnTo>
                  <a:pt x="180976" y="201612"/>
                </a:lnTo>
                <a:lnTo>
                  <a:pt x="160338" y="201612"/>
                </a:lnTo>
                <a:close/>
                <a:moveTo>
                  <a:pt x="128588" y="192087"/>
                </a:moveTo>
                <a:lnTo>
                  <a:pt x="149226" y="192087"/>
                </a:lnTo>
                <a:lnTo>
                  <a:pt x="149226" y="201612"/>
                </a:lnTo>
                <a:lnTo>
                  <a:pt x="128588" y="201612"/>
                </a:lnTo>
                <a:close/>
                <a:moveTo>
                  <a:pt x="222250" y="171450"/>
                </a:moveTo>
                <a:lnTo>
                  <a:pt x="242888" y="171450"/>
                </a:lnTo>
                <a:lnTo>
                  <a:pt x="242888" y="180975"/>
                </a:lnTo>
                <a:lnTo>
                  <a:pt x="222250" y="180975"/>
                </a:lnTo>
                <a:close/>
                <a:moveTo>
                  <a:pt x="192088" y="171450"/>
                </a:moveTo>
                <a:lnTo>
                  <a:pt x="212726" y="171450"/>
                </a:lnTo>
                <a:lnTo>
                  <a:pt x="212726" y="180975"/>
                </a:lnTo>
                <a:lnTo>
                  <a:pt x="192088" y="180975"/>
                </a:lnTo>
                <a:close/>
                <a:moveTo>
                  <a:pt x="160338" y="171450"/>
                </a:moveTo>
                <a:lnTo>
                  <a:pt x="180976" y="171450"/>
                </a:lnTo>
                <a:lnTo>
                  <a:pt x="180976" y="180975"/>
                </a:lnTo>
                <a:lnTo>
                  <a:pt x="160338" y="180975"/>
                </a:lnTo>
                <a:close/>
                <a:moveTo>
                  <a:pt x="128588" y="171450"/>
                </a:moveTo>
                <a:lnTo>
                  <a:pt x="149226" y="171450"/>
                </a:lnTo>
                <a:lnTo>
                  <a:pt x="149226" y="180975"/>
                </a:lnTo>
                <a:lnTo>
                  <a:pt x="128588" y="180975"/>
                </a:lnTo>
                <a:close/>
                <a:moveTo>
                  <a:pt x="66676" y="171450"/>
                </a:moveTo>
                <a:lnTo>
                  <a:pt x="87314" y="171450"/>
                </a:lnTo>
                <a:lnTo>
                  <a:pt x="87314" y="180975"/>
                </a:lnTo>
                <a:lnTo>
                  <a:pt x="66676" y="180975"/>
                </a:lnTo>
                <a:close/>
                <a:moveTo>
                  <a:pt x="36514" y="171450"/>
                </a:moveTo>
                <a:lnTo>
                  <a:pt x="57152" y="171450"/>
                </a:lnTo>
                <a:lnTo>
                  <a:pt x="57152" y="180975"/>
                </a:lnTo>
                <a:lnTo>
                  <a:pt x="36514" y="180975"/>
                </a:lnTo>
                <a:close/>
                <a:moveTo>
                  <a:pt x="222250" y="149225"/>
                </a:moveTo>
                <a:lnTo>
                  <a:pt x="242888" y="149225"/>
                </a:lnTo>
                <a:lnTo>
                  <a:pt x="242888" y="160338"/>
                </a:lnTo>
                <a:lnTo>
                  <a:pt x="222250" y="160338"/>
                </a:lnTo>
                <a:close/>
                <a:moveTo>
                  <a:pt x="192088" y="149225"/>
                </a:moveTo>
                <a:lnTo>
                  <a:pt x="212726" y="149225"/>
                </a:lnTo>
                <a:lnTo>
                  <a:pt x="212726" y="160338"/>
                </a:lnTo>
                <a:lnTo>
                  <a:pt x="192088" y="160338"/>
                </a:lnTo>
                <a:close/>
                <a:moveTo>
                  <a:pt x="160338" y="149225"/>
                </a:moveTo>
                <a:lnTo>
                  <a:pt x="180976" y="149225"/>
                </a:lnTo>
                <a:lnTo>
                  <a:pt x="180976" y="160338"/>
                </a:lnTo>
                <a:lnTo>
                  <a:pt x="160338" y="160338"/>
                </a:lnTo>
                <a:close/>
                <a:moveTo>
                  <a:pt x="128588" y="149225"/>
                </a:moveTo>
                <a:lnTo>
                  <a:pt x="149226" y="149225"/>
                </a:lnTo>
                <a:lnTo>
                  <a:pt x="149226" y="160338"/>
                </a:lnTo>
                <a:lnTo>
                  <a:pt x="128588" y="160338"/>
                </a:lnTo>
                <a:close/>
                <a:moveTo>
                  <a:pt x="66676" y="149225"/>
                </a:moveTo>
                <a:lnTo>
                  <a:pt x="87314" y="149225"/>
                </a:lnTo>
                <a:lnTo>
                  <a:pt x="87314" y="160338"/>
                </a:lnTo>
                <a:lnTo>
                  <a:pt x="66676" y="160338"/>
                </a:lnTo>
                <a:close/>
                <a:moveTo>
                  <a:pt x="36514" y="149225"/>
                </a:moveTo>
                <a:lnTo>
                  <a:pt x="57152" y="149225"/>
                </a:lnTo>
                <a:lnTo>
                  <a:pt x="57152" y="160338"/>
                </a:lnTo>
                <a:lnTo>
                  <a:pt x="36514" y="160338"/>
                </a:lnTo>
                <a:close/>
                <a:moveTo>
                  <a:pt x="222251" y="128588"/>
                </a:moveTo>
                <a:lnTo>
                  <a:pt x="242889" y="128588"/>
                </a:lnTo>
                <a:lnTo>
                  <a:pt x="242889" y="139701"/>
                </a:lnTo>
                <a:lnTo>
                  <a:pt x="222251" y="139701"/>
                </a:lnTo>
                <a:close/>
                <a:moveTo>
                  <a:pt x="192089" y="128588"/>
                </a:moveTo>
                <a:lnTo>
                  <a:pt x="212727" y="128588"/>
                </a:lnTo>
                <a:lnTo>
                  <a:pt x="212727" y="139701"/>
                </a:lnTo>
                <a:lnTo>
                  <a:pt x="192089" y="139701"/>
                </a:lnTo>
                <a:close/>
                <a:moveTo>
                  <a:pt x="160339" y="128588"/>
                </a:moveTo>
                <a:lnTo>
                  <a:pt x="180977" y="128588"/>
                </a:lnTo>
                <a:lnTo>
                  <a:pt x="180977" y="139701"/>
                </a:lnTo>
                <a:lnTo>
                  <a:pt x="160339" y="139701"/>
                </a:lnTo>
                <a:close/>
                <a:moveTo>
                  <a:pt x="128589" y="128588"/>
                </a:moveTo>
                <a:lnTo>
                  <a:pt x="149227" y="128588"/>
                </a:lnTo>
                <a:lnTo>
                  <a:pt x="149227" y="139701"/>
                </a:lnTo>
                <a:lnTo>
                  <a:pt x="128589" y="139701"/>
                </a:lnTo>
                <a:close/>
                <a:moveTo>
                  <a:pt x="66676" y="128588"/>
                </a:moveTo>
                <a:lnTo>
                  <a:pt x="87314" y="128588"/>
                </a:lnTo>
                <a:lnTo>
                  <a:pt x="87314" y="139701"/>
                </a:lnTo>
                <a:lnTo>
                  <a:pt x="66676" y="139701"/>
                </a:lnTo>
                <a:close/>
                <a:moveTo>
                  <a:pt x="36514" y="128588"/>
                </a:moveTo>
                <a:lnTo>
                  <a:pt x="57152" y="128588"/>
                </a:lnTo>
                <a:lnTo>
                  <a:pt x="57152" y="139701"/>
                </a:lnTo>
                <a:lnTo>
                  <a:pt x="36514" y="139701"/>
                </a:lnTo>
                <a:close/>
                <a:moveTo>
                  <a:pt x="20638" y="114300"/>
                </a:moveTo>
                <a:lnTo>
                  <a:pt x="20638" y="279400"/>
                </a:lnTo>
                <a:lnTo>
                  <a:pt x="103188" y="279400"/>
                </a:lnTo>
                <a:lnTo>
                  <a:pt x="103188" y="114300"/>
                </a:lnTo>
                <a:close/>
                <a:moveTo>
                  <a:pt x="222251" y="107950"/>
                </a:moveTo>
                <a:lnTo>
                  <a:pt x="242889" y="107950"/>
                </a:lnTo>
                <a:lnTo>
                  <a:pt x="242889" y="119063"/>
                </a:lnTo>
                <a:lnTo>
                  <a:pt x="222251" y="119063"/>
                </a:lnTo>
                <a:close/>
                <a:moveTo>
                  <a:pt x="192089" y="107950"/>
                </a:moveTo>
                <a:lnTo>
                  <a:pt x="212727" y="107950"/>
                </a:lnTo>
                <a:lnTo>
                  <a:pt x="212727" y="119063"/>
                </a:lnTo>
                <a:lnTo>
                  <a:pt x="192089" y="119063"/>
                </a:lnTo>
                <a:close/>
                <a:moveTo>
                  <a:pt x="160339" y="107950"/>
                </a:moveTo>
                <a:lnTo>
                  <a:pt x="180977" y="107950"/>
                </a:lnTo>
                <a:lnTo>
                  <a:pt x="180977" y="119063"/>
                </a:lnTo>
                <a:lnTo>
                  <a:pt x="160339" y="119063"/>
                </a:lnTo>
                <a:close/>
                <a:moveTo>
                  <a:pt x="128589" y="107950"/>
                </a:moveTo>
                <a:lnTo>
                  <a:pt x="149227" y="107950"/>
                </a:lnTo>
                <a:lnTo>
                  <a:pt x="149227" y="119063"/>
                </a:lnTo>
                <a:lnTo>
                  <a:pt x="128589" y="119063"/>
                </a:lnTo>
                <a:close/>
                <a:moveTo>
                  <a:pt x="222251" y="87313"/>
                </a:moveTo>
                <a:lnTo>
                  <a:pt x="242889" y="87313"/>
                </a:lnTo>
                <a:lnTo>
                  <a:pt x="242889" y="98426"/>
                </a:lnTo>
                <a:lnTo>
                  <a:pt x="222251" y="98426"/>
                </a:lnTo>
                <a:close/>
                <a:moveTo>
                  <a:pt x="192089" y="87313"/>
                </a:moveTo>
                <a:lnTo>
                  <a:pt x="212727" y="87313"/>
                </a:lnTo>
                <a:lnTo>
                  <a:pt x="212727" y="98426"/>
                </a:lnTo>
                <a:lnTo>
                  <a:pt x="192089" y="98426"/>
                </a:lnTo>
                <a:close/>
                <a:moveTo>
                  <a:pt x="160339" y="87313"/>
                </a:moveTo>
                <a:lnTo>
                  <a:pt x="180977" y="87313"/>
                </a:lnTo>
                <a:lnTo>
                  <a:pt x="180977" y="98426"/>
                </a:lnTo>
                <a:lnTo>
                  <a:pt x="160339" y="98426"/>
                </a:lnTo>
                <a:close/>
                <a:moveTo>
                  <a:pt x="128589" y="87313"/>
                </a:moveTo>
                <a:lnTo>
                  <a:pt x="149227" y="87313"/>
                </a:lnTo>
                <a:lnTo>
                  <a:pt x="149227" y="98426"/>
                </a:lnTo>
                <a:lnTo>
                  <a:pt x="128589" y="98426"/>
                </a:lnTo>
                <a:close/>
                <a:moveTo>
                  <a:pt x="222251" y="66675"/>
                </a:moveTo>
                <a:lnTo>
                  <a:pt x="242889" y="66675"/>
                </a:lnTo>
                <a:lnTo>
                  <a:pt x="242889" y="77788"/>
                </a:lnTo>
                <a:lnTo>
                  <a:pt x="222251" y="77788"/>
                </a:lnTo>
                <a:close/>
                <a:moveTo>
                  <a:pt x="192089" y="66675"/>
                </a:moveTo>
                <a:lnTo>
                  <a:pt x="212727" y="66675"/>
                </a:lnTo>
                <a:lnTo>
                  <a:pt x="212727" y="77788"/>
                </a:lnTo>
                <a:lnTo>
                  <a:pt x="192089" y="77788"/>
                </a:lnTo>
                <a:close/>
                <a:moveTo>
                  <a:pt x="160339" y="66675"/>
                </a:moveTo>
                <a:lnTo>
                  <a:pt x="180977" y="66675"/>
                </a:lnTo>
                <a:lnTo>
                  <a:pt x="180977" y="77788"/>
                </a:lnTo>
                <a:lnTo>
                  <a:pt x="160339" y="77788"/>
                </a:lnTo>
                <a:close/>
                <a:moveTo>
                  <a:pt x="128589" y="66675"/>
                </a:moveTo>
                <a:lnTo>
                  <a:pt x="149227" y="66675"/>
                </a:lnTo>
                <a:lnTo>
                  <a:pt x="149227" y="77788"/>
                </a:lnTo>
                <a:lnTo>
                  <a:pt x="128589" y="77788"/>
                </a:lnTo>
                <a:close/>
                <a:moveTo>
                  <a:pt x="222251" y="46038"/>
                </a:moveTo>
                <a:lnTo>
                  <a:pt x="242889" y="46038"/>
                </a:lnTo>
                <a:lnTo>
                  <a:pt x="242889" y="57151"/>
                </a:lnTo>
                <a:lnTo>
                  <a:pt x="222251" y="57151"/>
                </a:lnTo>
                <a:close/>
                <a:moveTo>
                  <a:pt x="192089" y="46038"/>
                </a:moveTo>
                <a:lnTo>
                  <a:pt x="212727" y="46038"/>
                </a:lnTo>
                <a:lnTo>
                  <a:pt x="212727" y="57151"/>
                </a:lnTo>
                <a:lnTo>
                  <a:pt x="192089" y="57151"/>
                </a:lnTo>
                <a:close/>
                <a:moveTo>
                  <a:pt x="160339" y="46038"/>
                </a:moveTo>
                <a:lnTo>
                  <a:pt x="180977" y="46038"/>
                </a:lnTo>
                <a:lnTo>
                  <a:pt x="180977" y="57151"/>
                </a:lnTo>
                <a:lnTo>
                  <a:pt x="160339" y="57151"/>
                </a:lnTo>
                <a:close/>
                <a:moveTo>
                  <a:pt x="128589" y="46038"/>
                </a:moveTo>
                <a:lnTo>
                  <a:pt x="149227" y="46038"/>
                </a:lnTo>
                <a:lnTo>
                  <a:pt x="149227" y="57151"/>
                </a:lnTo>
                <a:lnTo>
                  <a:pt x="128589" y="57151"/>
                </a:lnTo>
                <a:close/>
                <a:moveTo>
                  <a:pt x="222251" y="25400"/>
                </a:moveTo>
                <a:lnTo>
                  <a:pt x="242889" y="25400"/>
                </a:lnTo>
                <a:lnTo>
                  <a:pt x="242889" y="36513"/>
                </a:lnTo>
                <a:lnTo>
                  <a:pt x="222251" y="36513"/>
                </a:lnTo>
                <a:close/>
                <a:moveTo>
                  <a:pt x="192089" y="25400"/>
                </a:moveTo>
                <a:lnTo>
                  <a:pt x="212727" y="25400"/>
                </a:lnTo>
                <a:lnTo>
                  <a:pt x="212727" y="36513"/>
                </a:lnTo>
                <a:lnTo>
                  <a:pt x="192089" y="36513"/>
                </a:lnTo>
                <a:close/>
                <a:moveTo>
                  <a:pt x="160339" y="25400"/>
                </a:moveTo>
                <a:lnTo>
                  <a:pt x="180977" y="25400"/>
                </a:lnTo>
                <a:lnTo>
                  <a:pt x="180977" y="36513"/>
                </a:lnTo>
                <a:lnTo>
                  <a:pt x="160339" y="36513"/>
                </a:lnTo>
                <a:close/>
                <a:moveTo>
                  <a:pt x="128589" y="25400"/>
                </a:moveTo>
                <a:lnTo>
                  <a:pt x="149227" y="25400"/>
                </a:lnTo>
                <a:lnTo>
                  <a:pt x="149227" y="36513"/>
                </a:lnTo>
                <a:lnTo>
                  <a:pt x="128589" y="36513"/>
                </a:lnTo>
                <a:close/>
                <a:moveTo>
                  <a:pt x="114300" y="9525"/>
                </a:moveTo>
                <a:lnTo>
                  <a:pt x="114300" y="279400"/>
                </a:lnTo>
                <a:lnTo>
                  <a:pt x="258763" y="279400"/>
                </a:lnTo>
                <a:lnTo>
                  <a:pt x="258763" y="9525"/>
                </a:lnTo>
                <a:close/>
                <a:moveTo>
                  <a:pt x="103187" y="0"/>
                </a:moveTo>
                <a:lnTo>
                  <a:pt x="268288" y="0"/>
                </a:lnTo>
                <a:lnTo>
                  <a:pt x="268288" y="320676"/>
                </a:lnTo>
                <a:lnTo>
                  <a:pt x="279400" y="320676"/>
                </a:lnTo>
                <a:lnTo>
                  <a:pt x="279400" y="331788"/>
                </a:lnTo>
                <a:lnTo>
                  <a:pt x="0" y="331788"/>
                </a:lnTo>
                <a:lnTo>
                  <a:pt x="0" y="320676"/>
                </a:lnTo>
                <a:lnTo>
                  <a:pt x="9525" y="320676"/>
                </a:lnTo>
                <a:lnTo>
                  <a:pt x="9525" y="103188"/>
                </a:lnTo>
                <a:lnTo>
                  <a:pt x="103187" y="1031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FDEA1EC8-D7ED-4409-A447-C22755A4A1A6}"/>
              </a:ext>
            </a:extLst>
          </p:cNvPr>
          <p:cNvSpPr/>
          <p:nvPr/>
        </p:nvSpPr>
        <p:spPr>
          <a:xfrm>
            <a:off x="4540304" y="4944451"/>
            <a:ext cx="845671" cy="1202347"/>
          </a:xfrm>
          <a:custGeom>
            <a:avLst/>
            <a:gdLst>
              <a:gd name="connsiteX0" fmla="*/ 166687 w 233363"/>
              <a:gd name="connsiteY0" fmla="*/ 282575 h 331788"/>
              <a:gd name="connsiteX1" fmla="*/ 166687 w 233363"/>
              <a:gd name="connsiteY1" fmla="*/ 293688 h 331788"/>
              <a:gd name="connsiteX2" fmla="*/ 190500 w 233363"/>
              <a:gd name="connsiteY2" fmla="*/ 293688 h 331788"/>
              <a:gd name="connsiteX3" fmla="*/ 190500 w 233363"/>
              <a:gd name="connsiteY3" fmla="*/ 282575 h 331788"/>
              <a:gd name="connsiteX4" fmla="*/ 104775 w 233363"/>
              <a:gd name="connsiteY4" fmla="*/ 282575 h 331788"/>
              <a:gd name="connsiteX5" fmla="*/ 104775 w 233363"/>
              <a:gd name="connsiteY5" fmla="*/ 319088 h 331788"/>
              <a:gd name="connsiteX6" fmla="*/ 130175 w 233363"/>
              <a:gd name="connsiteY6" fmla="*/ 319088 h 331788"/>
              <a:gd name="connsiteX7" fmla="*/ 130175 w 233363"/>
              <a:gd name="connsiteY7" fmla="*/ 282575 h 331788"/>
              <a:gd name="connsiteX8" fmla="*/ 42862 w 233363"/>
              <a:gd name="connsiteY8" fmla="*/ 282575 h 331788"/>
              <a:gd name="connsiteX9" fmla="*/ 42862 w 233363"/>
              <a:gd name="connsiteY9" fmla="*/ 293688 h 331788"/>
              <a:gd name="connsiteX10" fmla="*/ 68262 w 233363"/>
              <a:gd name="connsiteY10" fmla="*/ 293688 h 331788"/>
              <a:gd name="connsiteX11" fmla="*/ 68262 w 233363"/>
              <a:gd name="connsiteY11" fmla="*/ 282575 h 331788"/>
              <a:gd name="connsiteX12" fmla="*/ 159167 w 233363"/>
              <a:gd name="connsiteY12" fmla="*/ 269875 h 331788"/>
              <a:gd name="connsiteX13" fmla="*/ 196725 w 233363"/>
              <a:gd name="connsiteY13" fmla="*/ 269875 h 331788"/>
              <a:gd name="connsiteX14" fmla="*/ 203200 w 233363"/>
              <a:gd name="connsiteY14" fmla="*/ 275091 h 331788"/>
              <a:gd name="connsiteX15" fmla="*/ 203200 w 233363"/>
              <a:gd name="connsiteY15" fmla="*/ 299868 h 331788"/>
              <a:gd name="connsiteX16" fmla="*/ 196725 w 233363"/>
              <a:gd name="connsiteY16" fmla="*/ 306388 h 331788"/>
              <a:gd name="connsiteX17" fmla="*/ 159167 w 233363"/>
              <a:gd name="connsiteY17" fmla="*/ 306388 h 331788"/>
              <a:gd name="connsiteX18" fmla="*/ 153987 w 233363"/>
              <a:gd name="connsiteY18" fmla="*/ 299868 h 331788"/>
              <a:gd name="connsiteX19" fmla="*/ 153987 w 233363"/>
              <a:gd name="connsiteY19" fmla="*/ 275091 h 331788"/>
              <a:gd name="connsiteX20" fmla="*/ 159167 w 233363"/>
              <a:gd name="connsiteY20" fmla="*/ 269875 h 331788"/>
              <a:gd name="connsiteX21" fmla="*/ 38225 w 233363"/>
              <a:gd name="connsiteY21" fmla="*/ 269875 h 331788"/>
              <a:gd name="connsiteX22" fmla="*/ 74487 w 233363"/>
              <a:gd name="connsiteY22" fmla="*/ 269875 h 331788"/>
              <a:gd name="connsiteX23" fmla="*/ 80963 w 233363"/>
              <a:gd name="connsiteY23" fmla="*/ 275091 h 331788"/>
              <a:gd name="connsiteX24" fmla="*/ 80963 w 233363"/>
              <a:gd name="connsiteY24" fmla="*/ 299868 h 331788"/>
              <a:gd name="connsiteX25" fmla="*/ 74487 w 233363"/>
              <a:gd name="connsiteY25" fmla="*/ 306388 h 331788"/>
              <a:gd name="connsiteX26" fmla="*/ 38225 w 233363"/>
              <a:gd name="connsiteY26" fmla="*/ 306388 h 331788"/>
              <a:gd name="connsiteX27" fmla="*/ 31750 w 233363"/>
              <a:gd name="connsiteY27" fmla="*/ 299868 h 331788"/>
              <a:gd name="connsiteX28" fmla="*/ 31750 w 233363"/>
              <a:gd name="connsiteY28" fmla="*/ 275091 h 331788"/>
              <a:gd name="connsiteX29" fmla="*/ 38225 w 233363"/>
              <a:gd name="connsiteY29" fmla="*/ 269875 h 331788"/>
              <a:gd name="connsiteX30" fmla="*/ 166687 w 233363"/>
              <a:gd name="connsiteY30" fmla="*/ 233362 h 331788"/>
              <a:gd name="connsiteX31" fmla="*/ 166687 w 233363"/>
              <a:gd name="connsiteY31" fmla="*/ 246062 h 331788"/>
              <a:gd name="connsiteX32" fmla="*/ 190500 w 233363"/>
              <a:gd name="connsiteY32" fmla="*/ 246062 h 331788"/>
              <a:gd name="connsiteX33" fmla="*/ 190500 w 233363"/>
              <a:gd name="connsiteY33" fmla="*/ 233362 h 331788"/>
              <a:gd name="connsiteX34" fmla="*/ 104775 w 233363"/>
              <a:gd name="connsiteY34" fmla="*/ 233362 h 331788"/>
              <a:gd name="connsiteX35" fmla="*/ 104775 w 233363"/>
              <a:gd name="connsiteY35" fmla="*/ 246062 h 331788"/>
              <a:gd name="connsiteX36" fmla="*/ 130175 w 233363"/>
              <a:gd name="connsiteY36" fmla="*/ 246062 h 331788"/>
              <a:gd name="connsiteX37" fmla="*/ 130175 w 233363"/>
              <a:gd name="connsiteY37" fmla="*/ 233362 h 331788"/>
              <a:gd name="connsiteX38" fmla="*/ 42862 w 233363"/>
              <a:gd name="connsiteY38" fmla="*/ 233362 h 331788"/>
              <a:gd name="connsiteX39" fmla="*/ 42862 w 233363"/>
              <a:gd name="connsiteY39" fmla="*/ 246062 h 331788"/>
              <a:gd name="connsiteX40" fmla="*/ 68262 w 233363"/>
              <a:gd name="connsiteY40" fmla="*/ 246062 h 331788"/>
              <a:gd name="connsiteX41" fmla="*/ 68262 w 233363"/>
              <a:gd name="connsiteY41" fmla="*/ 233362 h 331788"/>
              <a:gd name="connsiteX42" fmla="*/ 159167 w 233363"/>
              <a:gd name="connsiteY42" fmla="*/ 220662 h 331788"/>
              <a:gd name="connsiteX43" fmla="*/ 196725 w 233363"/>
              <a:gd name="connsiteY43" fmla="*/ 220662 h 331788"/>
              <a:gd name="connsiteX44" fmla="*/ 203200 w 233363"/>
              <a:gd name="connsiteY44" fmla="*/ 227182 h 331788"/>
              <a:gd name="connsiteX45" fmla="*/ 203200 w 233363"/>
              <a:gd name="connsiteY45" fmla="*/ 250655 h 331788"/>
              <a:gd name="connsiteX46" fmla="*/ 196725 w 233363"/>
              <a:gd name="connsiteY46" fmla="*/ 257175 h 331788"/>
              <a:gd name="connsiteX47" fmla="*/ 159167 w 233363"/>
              <a:gd name="connsiteY47" fmla="*/ 257175 h 331788"/>
              <a:gd name="connsiteX48" fmla="*/ 153987 w 233363"/>
              <a:gd name="connsiteY48" fmla="*/ 250655 h 331788"/>
              <a:gd name="connsiteX49" fmla="*/ 153987 w 233363"/>
              <a:gd name="connsiteY49" fmla="*/ 227182 h 331788"/>
              <a:gd name="connsiteX50" fmla="*/ 159167 w 233363"/>
              <a:gd name="connsiteY50" fmla="*/ 220662 h 331788"/>
              <a:gd name="connsiteX51" fmla="*/ 98550 w 233363"/>
              <a:gd name="connsiteY51" fmla="*/ 220662 h 331788"/>
              <a:gd name="connsiteX52" fmla="*/ 134812 w 233363"/>
              <a:gd name="connsiteY52" fmla="*/ 220662 h 331788"/>
              <a:gd name="connsiteX53" fmla="*/ 141288 w 233363"/>
              <a:gd name="connsiteY53" fmla="*/ 227182 h 331788"/>
              <a:gd name="connsiteX54" fmla="*/ 141288 w 233363"/>
              <a:gd name="connsiteY54" fmla="*/ 250655 h 331788"/>
              <a:gd name="connsiteX55" fmla="*/ 134812 w 233363"/>
              <a:gd name="connsiteY55" fmla="*/ 257175 h 331788"/>
              <a:gd name="connsiteX56" fmla="*/ 98550 w 233363"/>
              <a:gd name="connsiteY56" fmla="*/ 257175 h 331788"/>
              <a:gd name="connsiteX57" fmla="*/ 92075 w 233363"/>
              <a:gd name="connsiteY57" fmla="*/ 250655 h 331788"/>
              <a:gd name="connsiteX58" fmla="*/ 92075 w 233363"/>
              <a:gd name="connsiteY58" fmla="*/ 227182 h 331788"/>
              <a:gd name="connsiteX59" fmla="*/ 98550 w 233363"/>
              <a:gd name="connsiteY59" fmla="*/ 220662 h 331788"/>
              <a:gd name="connsiteX60" fmla="*/ 38225 w 233363"/>
              <a:gd name="connsiteY60" fmla="*/ 220662 h 331788"/>
              <a:gd name="connsiteX61" fmla="*/ 74487 w 233363"/>
              <a:gd name="connsiteY61" fmla="*/ 220662 h 331788"/>
              <a:gd name="connsiteX62" fmla="*/ 80963 w 233363"/>
              <a:gd name="connsiteY62" fmla="*/ 227182 h 331788"/>
              <a:gd name="connsiteX63" fmla="*/ 80963 w 233363"/>
              <a:gd name="connsiteY63" fmla="*/ 250655 h 331788"/>
              <a:gd name="connsiteX64" fmla="*/ 74487 w 233363"/>
              <a:gd name="connsiteY64" fmla="*/ 257175 h 331788"/>
              <a:gd name="connsiteX65" fmla="*/ 38225 w 233363"/>
              <a:gd name="connsiteY65" fmla="*/ 257175 h 331788"/>
              <a:gd name="connsiteX66" fmla="*/ 31750 w 233363"/>
              <a:gd name="connsiteY66" fmla="*/ 250655 h 331788"/>
              <a:gd name="connsiteX67" fmla="*/ 31750 w 233363"/>
              <a:gd name="connsiteY67" fmla="*/ 227182 h 331788"/>
              <a:gd name="connsiteX68" fmla="*/ 38225 w 233363"/>
              <a:gd name="connsiteY68" fmla="*/ 220662 h 331788"/>
              <a:gd name="connsiteX69" fmla="*/ 166687 w 233363"/>
              <a:gd name="connsiteY69" fmla="*/ 184149 h 331788"/>
              <a:gd name="connsiteX70" fmla="*/ 166687 w 233363"/>
              <a:gd name="connsiteY70" fmla="*/ 196849 h 331788"/>
              <a:gd name="connsiteX71" fmla="*/ 190500 w 233363"/>
              <a:gd name="connsiteY71" fmla="*/ 196849 h 331788"/>
              <a:gd name="connsiteX72" fmla="*/ 190500 w 233363"/>
              <a:gd name="connsiteY72" fmla="*/ 184149 h 331788"/>
              <a:gd name="connsiteX73" fmla="*/ 104775 w 233363"/>
              <a:gd name="connsiteY73" fmla="*/ 184149 h 331788"/>
              <a:gd name="connsiteX74" fmla="*/ 104775 w 233363"/>
              <a:gd name="connsiteY74" fmla="*/ 196849 h 331788"/>
              <a:gd name="connsiteX75" fmla="*/ 130175 w 233363"/>
              <a:gd name="connsiteY75" fmla="*/ 196849 h 331788"/>
              <a:gd name="connsiteX76" fmla="*/ 130175 w 233363"/>
              <a:gd name="connsiteY76" fmla="*/ 184149 h 331788"/>
              <a:gd name="connsiteX77" fmla="*/ 42862 w 233363"/>
              <a:gd name="connsiteY77" fmla="*/ 184149 h 331788"/>
              <a:gd name="connsiteX78" fmla="*/ 42862 w 233363"/>
              <a:gd name="connsiteY78" fmla="*/ 196849 h 331788"/>
              <a:gd name="connsiteX79" fmla="*/ 68262 w 233363"/>
              <a:gd name="connsiteY79" fmla="*/ 196849 h 331788"/>
              <a:gd name="connsiteX80" fmla="*/ 68262 w 233363"/>
              <a:gd name="connsiteY80" fmla="*/ 184149 h 331788"/>
              <a:gd name="connsiteX81" fmla="*/ 38225 w 233363"/>
              <a:gd name="connsiteY81" fmla="*/ 171450 h 331788"/>
              <a:gd name="connsiteX82" fmla="*/ 74487 w 233363"/>
              <a:gd name="connsiteY82" fmla="*/ 171450 h 331788"/>
              <a:gd name="connsiteX83" fmla="*/ 80963 w 233363"/>
              <a:gd name="connsiteY83" fmla="*/ 177970 h 331788"/>
              <a:gd name="connsiteX84" fmla="*/ 80963 w 233363"/>
              <a:gd name="connsiteY84" fmla="*/ 201443 h 331788"/>
              <a:gd name="connsiteX85" fmla="*/ 74487 w 233363"/>
              <a:gd name="connsiteY85" fmla="*/ 207963 h 331788"/>
              <a:gd name="connsiteX86" fmla="*/ 38225 w 233363"/>
              <a:gd name="connsiteY86" fmla="*/ 207963 h 331788"/>
              <a:gd name="connsiteX87" fmla="*/ 31750 w 233363"/>
              <a:gd name="connsiteY87" fmla="*/ 201443 h 331788"/>
              <a:gd name="connsiteX88" fmla="*/ 31750 w 233363"/>
              <a:gd name="connsiteY88" fmla="*/ 177970 h 331788"/>
              <a:gd name="connsiteX89" fmla="*/ 38225 w 233363"/>
              <a:gd name="connsiteY89" fmla="*/ 171450 h 331788"/>
              <a:gd name="connsiteX90" fmla="*/ 159167 w 233363"/>
              <a:gd name="connsiteY90" fmla="*/ 171449 h 331788"/>
              <a:gd name="connsiteX91" fmla="*/ 196725 w 233363"/>
              <a:gd name="connsiteY91" fmla="*/ 171449 h 331788"/>
              <a:gd name="connsiteX92" fmla="*/ 203200 w 233363"/>
              <a:gd name="connsiteY92" fmla="*/ 177969 h 331788"/>
              <a:gd name="connsiteX93" fmla="*/ 203200 w 233363"/>
              <a:gd name="connsiteY93" fmla="*/ 201442 h 331788"/>
              <a:gd name="connsiteX94" fmla="*/ 196725 w 233363"/>
              <a:gd name="connsiteY94" fmla="*/ 207962 h 331788"/>
              <a:gd name="connsiteX95" fmla="*/ 159167 w 233363"/>
              <a:gd name="connsiteY95" fmla="*/ 207962 h 331788"/>
              <a:gd name="connsiteX96" fmla="*/ 153987 w 233363"/>
              <a:gd name="connsiteY96" fmla="*/ 201442 h 331788"/>
              <a:gd name="connsiteX97" fmla="*/ 153987 w 233363"/>
              <a:gd name="connsiteY97" fmla="*/ 177969 h 331788"/>
              <a:gd name="connsiteX98" fmla="*/ 159167 w 233363"/>
              <a:gd name="connsiteY98" fmla="*/ 171449 h 331788"/>
              <a:gd name="connsiteX99" fmla="*/ 98550 w 233363"/>
              <a:gd name="connsiteY99" fmla="*/ 171449 h 331788"/>
              <a:gd name="connsiteX100" fmla="*/ 134812 w 233363"/>
              <a:gd name="connsiteY100" fmla="*/ 171449 h 331788"/>
              <a:gd name="connsiteX101" fmla="*/ 141288 w 233363"/>
              <a:gd name="connsiteY101" fmla="*/ 177969 h 331788"/>
              <a:gd name="connsiteX102" fmla="*/ 141288 w 233363"/>
              <a:gd name="connsiteY102" fmla="*/ 201442 h 331788"/>
              <a:gd name="connsiteX103" fmla="*/ 134812 w 233363"/>
              <a:gd name="connsiteY103" fmla="*/ 207962 h 331788"/>
              <a:gd name="connsiteX104" fmla="*/ 98550 w 233363"/>
              <a:gd name="connsiteY104" fmla="*/ 207962 h 331788"/>
              <a:gd name="connsiteX105" fmla="*/ 92075 w 233363"/>
              <a:gd name="connsiteY105" fmla="*/ 201442 h 331788"/>
              <a:gd name="connsiteX106" fmla="*/ 92075 w 233363"/>
              <a:gd name="connsiteY106" fmla="*/ 177969 h 331788"/>
              <a:gd name="connsiteX107" fmla="*/ 98550 w 233363"/>
              <a:gd name="connsiteY107" fmla="*/ 171449 h 331788"/>
              <a:gd name="connsiteX108" fmla="*/ 166687 w 233363"/>
              <a:gd name="connsiteY108" fmla="*/ 134937 h 331788"/>
              <a:gd name="connsiteX109" fmla="*/ 166687 w 233363"/>
              <a:gd name="connsiteY109" fmla="*/ 147637 h 331788"/>
              <a:gd name="connsiteX110" fmla="*/ 190500 w 233363"/>
              <a:gd name="connsiteY110" fmla="*/ 147637 h 331788"/>
              <a:gd name="connsiteX111" fmla="*/ 190500 w 233363"/>
              <a:gd name="connsiteY111" fmla="*/ 134937 h 331788"/>
              <a:gd name="connsiteX112" fmla="*/ 104775 w 233363"/>
              <a:gd name="connsiteY112" fmla="*/ 134937 h 331788"/>
              <a:gd name="connsiteX113" fmla="*/ 104775 w 233363"/>
              <a:gd name="connsiteY113" fmla="*/ 147637 h 331788"/>
              <a:gd name="connsiteX114" fmla="*/ 130175 w 233363"/>
              <a:gd name="connsiteY114" fmla="*/ 147637 h 331788"/>
              <a:gd name="connsiteX115" fmla="*/ 130175 w 233363"/>
              <a:gd name="connsiteY115" fmla="*/ 134937 h 331788"/>
              <a:gd name="connsiteX116" fmla="*/ 42862 w 233363"/>
              <a:gd name="connsiteY116" fmla="*/ 134937 h 331788"/>
              <a:gd name="connsiteX117" fmla="*/ 42862 w 233363"/>
              <a:gd name="connsiteY117" fmla="*/ 147637 h 331788"/>
              <a:gd name="connsiteX118" fmla="*/ 68262 w 233363"/>
              <a:gd name="connsiteY118" fmla="*/ 147637 h 331788"/>
              <a:gd name="connsiteX119" fmla="*/ 68262 w 233363"/>
              <a:gd name="connsiteY119" fmla="*/ 134937 h 331788"/>
              <a:gd name="connsiteX120" fmla="*/ 159167 w 233363"/>
              <a:gd name="connsiteY120" fmla="*/ 122237 h 331788"/>
              <a:gd name="connsiteX121" fmla="*/ 196725 w 233363"/>
              <a:gd name="connsiteY121" fmla="*/ 122237 h 331788"/>
              <a:gd name="connsiteX122" fmla="*/ 203200 w 233363"/>
              <a:gd name="connsiteY122" fmla="*/ 128757 h 331788"/>
              <a:gd name="connsiteX123" fmla="*/ 203200 w 233363"/>
              <a:gd name="connsiteY123" fmla="*/ 153534 h 331788"/>
              <a:gd name="connsiteX124" fmla="*/ 196725 w 233363"/>
              <a:gd name="connsiteY124" fmla="*/ 158750 h 331788"/>
              <a:gd name="connsiteX125" fmla="*/ 159167 w 233363"/>
              <a:gd name="connsiteY125" fmla="*/ 158750 h 331788"/>
              <a:gd name="connsiteX126" fmla="*/ 153987 w 233363"/>
              <a:gd name="connsiteY126" fmla="*/ 153534 h 331788"/>
              <a:gd name="connsiteX127" fmla="*/ 153987 w 233363"/>
              <a:gd name="connsiteY127" fmla="*/ 128757 h 331788"/>
              <a:gd name="connsiteX128" fmla="*/ 159167 w 233363"/>
              <a:gd name="connsiteY128" fmla="*/ 122237 h 331788"/>
              <a:gd name="connsiteX129" fmla="*/ 98550 w 233363"/>
              <a:gd name="connsiteY129" fmla="*/ 122237 h 331788"/>
              <a:gd name="connsiteX130" fmla="*/ 134812 w 233363"/>
              <a:gd name="connsiteY130" fmla="*/ 122237 h 331788"/>
              <a:gd name="connsiteX131" fmla="*/ 141288 w 233363"/>
              <a:gd name="connsiteY131" fmla="*/ 128757 h 331788"/>
              <a:gd name="connsiteX132" fmla="*/ 141288 w 233363"/>
              <a:gd name="connsiteY132" fmla="*/ 153534 h 331788"/>
              <a:gd name="connsiteX133" fmla="*/ 134812 w 233363"/>
              <a:gd name="connsiteY133" fmla="*/ 158750 h 331788"/>
              <a:gd name="connsiteX134" fmla="*/ 98550 w 233363"/>
              <a:gd name="connsiteY134" fmla="*/ 158750 h 331788"/>
              <a:gd name="connsiteX135" fmla="*/ 92075 w 233363"/>
              <a:gd name="connsiteY135" fmla="*/ 153534 h 331788"/>
              <a:gd name="connsiteX136" fmla="*/ 92075 w 233363"/>
              <a:gd name="connsiteY136" fmla="*/ 128757 h 331788"/>
              <a:gd name="connsiteX137" fmla="*/ 98550 w 233363"/>
              <a:gd name="connsiteY137" fmla="*/ 122237 h 331788"/>
              <a:gd name="connsiteX138" fmla="*/ 38225 w 233363"/>
              <a:gd name="connsiteY138" fmla="*/ 122237 h 331788"/>
              <a:gd name="connsiteX139" fmla="*/ 74487 w 233363"/>
              <a:gd name="connsiteY139" fmla="*/ 122237 h 331788"/>
              <a:gd name="connsiteX140" fmla="*/ 80963 w 233363"/>
              <a:gd name="connsiteY140" fmla="*/ 128757 h 331788"/>
              <a:gd name="connsiteX141" fmla="*/ 80963 w 233363"/>
              <a:gd name="connsiteY141" fmla="*/ 153534 h 331788"/>
              <a:gd name="connsiteX142" fmla="*/ 74487 w 233363"/>
              <a:gd name="connsiteY142" fmla="*/ 158750 h 331788"/>
              <a:gd name="connsiteX143" fmla="*/ 38225 w 233363"/>
              <a:gd name="connsiteY143" fmla="*/ 158750 h 331788"/>
              <a:gd name="connsiteX144" fmla="*/ 31750 w 233363"/>
              <a:gd name="connsiteY144" fmla="*/ 153534 h 331788"/>
              <a:gd name="connsiteX145" fmla="*/ 31750 w 233363"/>
              <a:gd name="connsiteY145" fmla="*/ 128757 h 331788"/>
              <a:gd name="connsiteX146" fmla="*/ 38225 w 233363"/>
              <a:gd name="connsiteY146" fmla="*/ 122237 h 331788"/>
              <a:gd name="connsiteX147" fmla="*/ 166687 w 233363"/>
              <a:gd name="connsiteY147" fmla="*/ 85724 h 331788"/>
              <a:gd name="connsiteX148" fmla="*/ 166687 w 233363"/>
              <a:gd name="connsiteY148" fmla="*/ 98424 h 331788"/>
              <a:gd name="connsiteX149" fmla="*/ 190500 w 233363"/>
              <a:gd name="connsiteY149" fmla="*/ 98424 h 331788"/>
              <a:gd name="connsiteX150" fmla="*/ 190500 w 233363"/>
              <a:gd name="connsiteY150" fmla="*/ 85724 h 331788"/>
              <a:gd name="connsiteX151" fmla="*/ 104775 w 233363"/>
              <a:gd name="connsiteY151" fmla="*/ 85724 h 331788"/>
              <a:gd name="connsiteX152" fmla="*/ 104775 w 233363"/>
              <a:gd name="connsiteY152" fmla="*/ 98424 h 331788"/>
              <a:gd name="connsiteX153" fmla="*/ 130175 w 233363"/>
              <a:gd name="connsiteY153" fmla="*/ 98424 h 331788"/>
              <a:gd name="connsiteX154" fmla="*/ 130175 w 233363"/>
              <a:gd name="connsiteY154" fmla="*/ 85724 h 331788"/>
              <a:gd name="connsiteX155" fmla="*/ 42862 w 233363"/>
              <a:gd name="connsiteY155" fmla="*/ 85724 h 331788"/>
              <a:gd name="connsiteX156" fmla="*/ 42862 w 233363"/>
              <a:gd name="connsiteY156" fmla="*/ 98424 h 331788"/>
              <a:gd name="connsiteX157" fmla="*/ 68262 w 233363"/>
              <a:gd name="connsiteY157" fmla="*/ 98424 h 331788"/>
              <a:gd name="connsiteX158" fmla="*/ 68262 w 233363"/>
              <a:gd name="connsiteY158" fmla="*/ 85724 h 331788"/>
              <a:gd name="connsiteX159" fmla="*/ 159167 w 233363"/>
              <a:gd name="connsiteY159" fmla="*/ 73024 h 331788"/>
              <a:gd name="connsiteX160" fmla="*/ 196725 w 233363"/>
              <a:gd name="connsiteY160" fmla="*/ 73024 h 331788"/>
              <a:gd name="connsiteX161" fmla="*/ 203200 w 233363"/>
              <a:gd name="connsiteY161" fmla="*/ 79544 h 331788"/>
              <a:gd name="connsiteX162" fmla="*/ 203200 w 233363"/>
              <a:gd name="connsiteY162" fmla="*/ 104321 h 331788"/>
              <a:gd name="connsiteX163" fmla="*/ 196725 w 233363"/>
              <a:gd name="connsiteY163" fmla="*/ 109537 h 331788"/>
              <a:gd name="connsiteX164" fmla="*/ 159167 w 233363"/>
              <a:gd name="connsiteY164" fmla="*/ 109537 h 331788"/>
              <a:gd name="connsiteX165" fmla="*/ 153987 w 233363"/>
              <a:gd name="connsiteY165" fmla="*/ 104321 h 331788"/>
              <a:gd name="connsiteX166" fmla="*/ 153987 w 233363"/>
              <a:gd name="connsiteY166" fmla="*/ 79544 h 331788"/>
              <a:gd name="connsiteX167" fmla="*/ 159167 w 233363"/>
              <a:gd name="connsiteY167" fmla="*/ 73024 h 331788"/>
              <a:gd name="connsiteX168" fmla="*/ 98550 w 233363"/>
              <a:gd name="connsiteY168" fmla="*/ 73024 h 331788"/>
              <a:gd name="connsiteX169" fmla="*/ 134812 w 233363"/>
              <a:gd name="connsiteY169" fmla="*/ 73024 h 331788"/>
              <a:gd name="connsiteX170" fmla="*/ 141288 w 233363"/>
              <a:gd name="connsiteY170" fmla="*/ 79544 h 331788"/>
              <a:gd name="connsiteX171" fmla="*/ 141288 w 233363"/>
              <a:gd name="connsiteY171" fmla="*/ 104321 h 331788"/>
              <a:gd name="connsiteX172" fmla="*/ 134812 w 233363"/>
              <a:gd name="connsiteY172" fmla="*/ 109537 h 331788"/>
              <a:gd name="connsiteX173" fmla="*/ 98550 w 233363"/>
              <a:gd name="connsiteY173" fmla="*/ 109537 h 331788"/>
              <a:gd name="connsiteX174" fmla="*/ 92075 w 233363"/>
              <a:gd name="connsiteY174" fmla="*/ 104321 h 331788"/>
              <a:gd name="connsiteX175" fmla="*/ 92075 w 233363"/>
              <a:gd name="connsiteY175" fmla="*/ 79544 h 331788"/>
              <a:gd name="connsiteX176" fmla="*/ 98550 w 233363"/>
              <a:gd name="connsiteY176" fmla="*/ 73024 h 331788"/>
              <a:gd name="connsiteX177" fmla="*/ 38225 w 233363"/>
              <a:gd name="connsiteY177" fmla="*/ 73024 h 331788"/>
              <a:gd name="connsiteX178" fmla="*/ 74487 w 233363"/>
              <a:gd name="connsiteY178" fmla="*/ 73024 h 331788"/>
              <a:gd name="connsiteX179" fmla="*/ 80963 w 233363"/>
              <a:gd name="connsiteY179" fmla="*/ 79544 h 331788"/>
              <a:gd name="connsiteX180" fmla="*/ 80963 w 233363"/>
              <a:gd name="connsiteY180" fmla="*/ 104321 h 331788"/>
              <a:gd name="connsiteX181" fmla="*/ 74487 w 233363"/>
              <a:gd name="connsiteY181" fmla="*/ 109537 h 331788"/>
              <a:gd name="connsiteX182" fmla="*/ 38225 w 233363"/>
              <a:gd name="connsiteY182" fmla="*/ 109537 h 331788"/>
              <a:gd name="connsiteX183" fmla="*/ 31750 w 233363"/>
              <a:gd name="connsiteY183" fmla="*/ 104321 h 331788"/>
              <a:gd name="connsiteX184" fmla="*/ 31750 w 233363"/>
              <a:gd name="connsiteY184" fmla="*/ 79544 h 331788"/>
              <a:gd name="connsiteX185" fmla="*/ 38225 w 233363"/>
              <a:gd name="connsiteY185" fmla="*/ 73024 h 331788"/>
              <a:gd name="connsiteX186" fmla="*/ 166687 w 233363"/>
              <a:gd name="connsiteY186" fmla="*/ 36512 h 331788"/>
              <a:gd name="connsiteX187" fmla="*/ 166687 w 233363"/>
              <a:gd name="connsiteY187" fmla="*/ 49212 h 331788"/>
              <a:gd name="connsiteX188" fmla="*/ 190500 w 233363"/>
              <a:gd name="connsiteY188" fmla="*/ 49212 h 331788"/>
              <a:gd name="connsiteX189" fmla="*/ 190500 w 233363"/>
              <a:gd name="connsiteY189" fmla="*/ 36512 h 331788"/>
              <a:gd name="connsiteX190" fmla="*/ 104775 w 233363"/>
              <a:gd name="connsiteY190" fmla="*/ 36512 h 331788"/>
              <a:gd name="connsiteX191" fmla="*/ 104775 w 233363"/>
              <a:gd name="connsiteY191" fmla="*/ 49212 h 331788"/>
              <a:gd name="connsiteX192" fmla="*/ 130175 w 233363"/>
              <a:gd name="connsiteY192" fmla="*/ 49212 h 331788"/>
              <a:gd name="connsiteX193" fmla="*/ 130175 w 233363"/>
              <a:gd name="connsiteY193" fmla="*/ 36512 h 331788"/>
              <a:gd name="connsiteX194" fmla="*/ 42862 w 233363"/>
              <a:gd name="connsiteY194" fmla="*/ 36512 h 331788"/>
              <a:gd name="connsiteX195" fmla="*/ 42862 w 233363"/>
              <a:gd name="connsiteY195" fmla="*/ 49212 h 331788"/>
              <a:gd name="connsiteX196" fmla="*/ 68262 w 233363"/>
              <a:gd name="connsiteY196" fmla="*/ 49212 h 331788"/>
              <a:gd name="connsiteX197" fmla="*/ 68262 w 233363"/>
              <a:gd name="connsiteY197" fmla="*/ 36512 h 331788"/>
              <a:gd name="connsiteX198" fmla="*/ 159167 w 233363"/>
              <a:gd name="connsiteY198" fmla="*/ 23812 h 331788"/>
              <a:gd name="connsiteX199" fmla="*/ 196725 w 233363"/>
              <a:gd name="connsiteY199" fmla="*/ 23812 h 331788"/>
              <a:gd name="connsiteX200" fmla="*/ 203200 w 233363"/>
              <a:gd name="connsiteY200" fmla="*/ 30332 h 331788"/>
              <a:gd name="connsiteX201" fmla="*/ 203200 w 233363"/>
              <a:gd name="connsiteY201" fmla="*/ 55109 h 331788"/>
              <a:gd name="connsiteX202" fmla="*/ 196725 w 233363"/>
              <a:gd name="connsiteY202" fmla="*/ 60325 h 331788"/>
              <a:gd name="connsiteX203" fmla="*/ 159167 w 233363"/>
              <a:gd name="connsiteY203" fmla="*/ 60325 h 331788"/>
              <a:gd name="connsiteX204" fmla="*/ 153987 w 233363"/>
              <a:gd name="connsiteY204" fmla="*/ 55109 h 331788"/>
              <a:gd name="connsiteX205" fmla="*/ 153987 w 233363"/>
              <a:gd name="connsiteY205" fmla="*/ 30332 h 331788"/>
              <a:gd name="connsiteX206" fmla="*/ 159167 w 233363"/>
              <a:gd name="connsiteY206" fmla="*/ 23812 h 331788"/>
              <a:gd name="connsiteX207" fmla="*/ 98550 w 233363"/>
              <a:gd name="connsiteY207" fmla="*/ 23812 h 331788"/>
              <a:gd name="connsiteX208" fmla="*/ 134812 w 233363"/>
              <a:gd name="connsiteY208" fmla="*/ 23812 h 331788"/>
              <a:gd name="connsiteX209" fmla="*/ 141288 w 233363"/>
              <a:gd name="connsiteY209" fmla="*/ 30332 h 331788"/>
              <a:gd name="connsiteX210" fmla="*/ 141288 w 233363"/>
              <a:gd name="connsiteY210" fmla="*/ 55109 h 331788"/>
              <a:gd name="connsiteX211" fmla="*/ 134812 w 233363"/>
              <a:gd name="connsiteY211" fmla="*/ 60325 h 331788"/>
              <a:gd name="connsiteX212" fmla="*/ 98550 w 233363"/>
              <a:gd name="connsiteY212" fmla="*/ 60325 h 331788"/>
              <a:gd name="connsiteX213" fmla="*/ 92075 w 233363"/>
              <a:gd name="connsiteY213" fmla="*/ 55109 h 331788"/>
              <a:gd name="connsiteX214" fmla="*/ 92075 w 233363"/>
              <a:gd name="connsiteY214" fmla="*/ 30332 h 331788"/>
              <a:gd name="connsiteX215" fmla="*/ 98550 w 233363"/>
              <a:gd name="connsiteY215" fmla="*/ 23812 h 331788"/>
              <a:gd name="connsiteX216" fmla="*/ 38225 w 233363"/>
              <a:gd name="connsiteY216" fmla="*/ 23812 h 331788"/>
              <a:gd name="connsiteX217" fmla="*/ 74487 w 233363"/>
              <a:gd name="connsiteY217" fmla="*/ 23812 h 331788"/>
              <a:gd name="connsiteX218" fmla="*/ 80963 w 233363"/>
              <a:gd name="connsiteY218" fmla="*/ 30332 h 331788"/>
              <a:gd name="connsiteX219" fmla="*/ 80963 w 233363"/>
              <a:gd name="connsiteY219" fmla="*/ 55109 h 331788"/>
              <a:gd name="connsiteX220" fmla="*/ 74487 w 233363"/>
              <a:gd name="connsiteY220" fmla="*/ 60325 h 331788"/>
              <a:gd name="connsiteX221" fmla="*/ 38225 w 233363"/>
              <a:gd name="connsiteY221" fmla="*/ 60325 h 331788"/>
              <a:gd name="connsiteX222" fmla="*/ 31750 w 233363"/>
              <a:gd name="connsiteY222" fmla="*/ 55109 h 331788"/>
              <a:gd name="connsiteX223" fmla="*/ 31750 w 233363"/>
              <a:gd name="connsiteY223" fmla="*/ 30332 h 331788"/>
              <a:gd name="connsiteX224" fmla="*/ 38225 w 233363"/>
              <a:gd name="connsiteY224" fmla="*/ 23812 h 331788"/>
              <a:gd name="connsiteX225" fmla="*/ 19050 w 233363"/>
              <a:gd name="connsiteY225" fmla="*/ 11112 h 331788"/>
              <a:gd name="connsiteX226" fmla="*/ 19050 w 233363"/>
              <a:gd name="connsiteY226" fmla="*/ 319087 h 331788"/>
              <a:gd name="connsiteX227" fmla="*/ 92054 w 233363"/>
              <a:gd name="connsiteY227" fmla="*/ 319087 h 331788"/>
              <a:gd name="connsiteX228" fmla="*/ 92054 w 233363"/>
              <a:gd name="connsiteY228" fmla="*/ 275091 h 331788"/>
              <a:gd name="connsiteX229" fmla="*/ 98572 w 233363"/>
              <a:gd name="connsiteY229" fmla="*/ 269915 h 331788"/>
              <a:gd name="connsiteX230" fmla="*/ 135074 w 233363"/>
              <a:gd name="connsiteY230" fmla="*/ 269915 h 331788"/>
              <a:gd name="connsiteX231" fmla="*/ 141592 w 233363"/>
              <a:gd name="connsiteY231" fmla="*/ 275091 h 331788"/>
              <a:gd name="connsiteX232" fmla="*/ 141592 w 233363"/>
              <a:gd name="connsiteY232" fmla="*/ 319087 h 331788"/>
              <a:gd name="connsiteX233" fmla="*/ 215900 w 233363"/>
              <a:gd name="connsiteY233" fmla="*/ 319087 h 331788"/>
              <a:gd name="connsiteX234" fmla="*/ 215900 w 233363"/>
              <a:gd name="connsiteY234" fmla="*/ 11112 h 331788"/>
              <a:gd name="connsiteX235" fmla="*/ 19050 w 233363"/>
              <a:gd name="connsiteY235" fmla="*/ 11112 h 331788"/>
              <a:gd name="connsiteX236" fmla="*/ 12964 w 233363"/>
              <a:gd name="connsiteY236" fmla="*/ 0 h 331788"/>
              <a:gd name="connsiteX237" fmla="*/ 220399 w 233363"/>
              <a:gd name="connsiteY237" fmla="*/ 0 h 331788"/>
              <a:gd name="connsiteX238" fmla="*/ 221695 w 233363"/>
              <a:gd name="connsiteY238" fmla="*/ 0 h 331788"/>
              <a:gd name="connsiteX239" fmla="*/ 226881 w 233363"/>
              <a:gd name="connsiteY239" fmla="*/ 6480 h 331788"/>
              <a:gd name="connsiteX240" fmla="*/ 226881 w 233363"/>
              <a:gd name="connsiteY240" fmla="*/ 320124 h 331788"/>
              <a:gd name="connsiteX241" fmla="*/ 233363 w 233363"/>
              <a:gd name="connsiteY241" fmla="*/ 325308 h 331788"/>
              <a:gd name="connsiteX242" fmla="*/ 226881 w 233363"/>
              <a:gd name="connsiteY242" fmla="*/ 331788 h 331788"/>
              <a:gd name="connsiteX243" fmla="*/ 6482 w 233363"/>
              <a:gd name="connsiteY243" fmla="*/ 331788 h 331788"/>
              <a:gd name="connsiteX244" fmla="*/ 0 w 233363"/>
              <a:gd name="connsiteY244" fmla="*/ 325308 h 331788"/>
              <a:gd name="connsiteX245" fmla="*/ 6482 w 233363"/>
              <a:gd name="connsiteY245" fmla="*/ 320124 h 331788"/>
              <a:gd name="connsiteX246" fmla="*/ 6482 w 233363"/>
              <a:gd name="connsiteY246" fmla="*/ 6480 h 331788"/>
              <a:gd name="connsiteX247" fmla="*/ 12964 w 233363"/>
              <a:gd name="connsiteY247" fmla="*/ 0 h 33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233363" h="331788">
                <a:moveTo>
                  <a:pt x="166687" y="282575"/>
                </a:moveTo>
                <a:lnTo>
                  <a:pt x="166687" y="293688"/>
                </a:lnTo>
                <a:lnTo>
                  <a:pt x="190500" y="293688"/>
                </a:lnTo>
                <a:lnTo>
                  <a:pt x="190500" y="282575"/>
                </a:lnTo>
                <a:close/>
                <a:moveTo>
                  <a:pt x="104775" y="282575"/>
                </a:moveTo>
                <a:lnTo>
                  <a:pt x="104775" y="319088"/>
                </a:lnTo>
                <a:lnTo>
                  <a:pt x="130175" y="319088"/>
                </a:lnTo>
                <a:lnTo>
                  <a:pt x="130175" y="282575"/>
                </a:lnTo>
                <a:close/>
                <a:moveTo>
                  <a:pt x="42862" y="282575"/>
                </a:moveTo>
                <a:lnTo>
                  <a:pt x="42862" y="293688"/>
                </a:lnTo>
                <a:lnTo>
                  <a:pt x="68262" y="293688"/>
                </a:lnTo>
                <a:lnTo>
                  <a:pt x="68262" y="282575"/>
                </a:lnTo>
                <a:close/>
                <a:moveTo>
                  <a:pt x="159167" y="269875"/>
                </a:moveTo>
                <a:cubicBezTo>
                  <a:pt x="159167" y="269875"/>
                  <a:pt x="159167" y="269875"/>
                  <a:pt x="196725" y="269875"/>
                </a:cubicBezTo>
                <a:cubicBezTo>
                  <a:pt x="199315" y="269875"/>
                  <a:pt x="203200" y="272483"/>
                  <a:pt x="203200" y="275091"/>
                </a:cubicBezTo>
                <a:cubicBezTo>
                  <a:pt x="203200" y="275091"/>
                  <a:pt x="203200" y="275091"/>
                  <a:pt x="203200" y="299868"/>
                </a:cubicBezTo>
                <a:cubicBezTo>
                  <a:pt x="203200" y="303780"/>
                  <a:pt x="199315" y="306388"/>
                  <a:pt x="196725" y="306388"/>
                </a:cubicBezTo>
                <a:cubicBezTo>
                  <a:pt x="196725" y="306388"/>
                  <a:pt x="196725" y="306388"/>
                  <a:pt x="159167" y="306388"/>
                </a:cubicBezTo>
                <a:cubicBezTo>
                  <a:pt x="156577" y="306388"/>
                  <a:pt x="153987" y="303780"/>
                  <a:pt x="153987" y="299868"/>
                </a:cubicBezTo>
                <a:cubicBezTo>
                  <a:pt x="153987" y="299868"/>
                  <a:pt x="153987" y="299868"/>
                  <a:pt x="153987" y="275091"/>
                </a:cubicBezTo>
                <a:cubicBezTo>
                  <a:pt x="153987" y="272483"/>
                  <a:pt x="156577" y="269875"/>
                  <a:pt x="159167" y="269875"/>
                </a:cubicBezTo>
                <a:close/>
                <a:moveTo>
                  <a:pt x="38225" y="269875"/>
                </a:moveTo>
                <a:cubicBezTo>
                  <a:pt x="38225" y="269875"/>
                  <a:pt x="38225" y="269875"/>
                  <a:pt x="74487" y="269875"/>
                </a:cubicBezTo>
                <a:cubicBezTo>
                  <a:pt x="78373" y="269875"/>
                  <a:pt x="80963" y="272483"/>
                  <a:pt x="80963" y="275091"/>
                </a:cubicBezTo>
                <a:cubicBezTo>
                  <a:pt x="80963" y="275091"/>
                  <a:pt x="80963" y="275091"/>
                  <a:pt x="80963" y="299868"/>
                </a:cubicBezTo>
                <a:cubicBezTo>
                  <a:pt x="80963" y="303780"/>
                  <a:pt x="78373" y="306388"/>
                  <a:pt x="74487" y="306388"/>
                </a:cubicBezTo>
                <a:cubicBezTo>
                  <a:pt x="74487" y="306388"/>
                  <a:pt x="74487" y="306388"/>
                  <a:pt x="38225" y="306388"/>
                </a:cubicBezTo>
                <a:cubicBezTo>
                  <a:pt x="34340" y="306388"/>
                  <a:pt x="31750" y="303780"/>
                  <a:pt x="31750" y="299868"/>
                </a:cubicBezTo>
                <a:cubicBezTo>
                  <a:pt x="31750" y="299868"/>
                  <a:pt x="31750" y="299868"/>
                  <a:pt x="31750" y="275091"/>
                </a:cubicBezTo>
                <a:cubicBezTo>
                  <a:pt x="31750" y="272483"/>
                  <a:pt x="34340" y="269875"/>
                  <a:pt x="38225" y="269875"/>
                </a:cubicBezTo>
                <a:close/>
                <a:moveTo>
                  <a:pt x="166687" y="233362"/>
                </a:moveTo>
                <a:lnTo>
                  <a:pt x="166687" y="246062"/>
                </a:lnTo>
                <a:lnTo>
                  <a:pt x="190500" y="246062"/>
                </a:lnTo>
                <a:lnTo>
                  <a:pt x="190500" y="233362"/>
                </a:lnTo>
                <a:close/>
                <a:moveTo>
                  <a:pt x="104775" y="233362"/>
                </a:moveTo>
                <a:lnTo>
                  <a:pt x="104775" y="246062"/>
                </a:lnTo>
                <a:lnTo>
                  <a:pt x="130175" y="246062"/>
                </a:lnTo>
                <a:lnTo>
                  <a:pt x="130175" y="233362"/>
                </a:lnTo>
                <a:close/>
                <a:moveTo>
                  <a:pt x="42862" y="233362"/>
                </a:moveTo>
                <a:lnTo>
                  <a:pt x="42862" y="246062"/>
                </a:lnTo>
                <a:lnTo>
                  <a:pt x="68262" y="246062"/>
                </a:lnTo>
                <a:lnTo>
                  <a:pt x="68262" y="233362"/>
                </a:lnTo>
                <a:close/>
                <a:moveTo>
                  <a:pt x="159167" y="220662"/>
                </a:moveTo>
                <a:cubicBezTo>
                  <a:pt x="159167" y="220662"/>
                  <a:pt x="159167" y="220662"/>
                  <a:pt x="196725" y="220662"/>
                </a:cubicBezTo>
                <a:cubicBezTo>
                  <a:pt x="199315" y="220662"/>
                  <a:pt x="203200" y="223270"/>
                  <a:pt x="203200" y="227182"/>
                </a:cubicBezTo>
                <a:cubicBezTo>
                  <a:pt x="203200" y="227182"/>
                  <a:pt x="203200" y="227182"/>
                  <a:pt x="203200" y="250655"/>
                </a:cubicBezTo>
                <a:cubicBezTo>
                  <a:pt x="203200" y="254567"/>
                  <a:pt x="199315" y="257175"/>
                  <a:pt x="196725" y="257175"/>
                </a:cubicBezTo>
                <a:cubicBezTo>
                  <a:pt x="196725" y="257175"/>
                  <a:pt x="196725" y="257175"/>
                  <a:pt x="159167" y="257175"/>
                </a:cubicBezTo>
                <a:cubicBezTo>
                  <a:pt x="156577" y="257175"/>
                  <a:pt x="153987" y="254567"/>
                  <a:pt x="153987" y="250655"/>
                </a:cubicBezTo>
                <a:cubicBezTo>
                  <a:pt x="153987" y="250655"/>
                  <a:pt x="153987" y="250655"/>
                  <a:pt x="153987" y="227182"/>
                </a:cubicBezTo>
                <a:cubicBezTo>
                  <a:pt x="153987" y="223270"/>
                  <a:pt x="156577" y="220662"/>
                  <a:pt x="159167" y="220662"/>
                </a:cubicBezTo>
                <a:close/>
                <a:moveTo>
                  <a:pt x="98550" y="220662"/>
                </a:moveTo>
                <a:cubicBezTo>
                  <a:pt x="98550" y="220662"/>
                  <a:pt x="98550" y="220662"/>
                  <a:pt x="134812" y="220662"/>
                </a:cubicBezTo>
                <a:cubicBezTo>
                  <a:pt x="138698" y="220662"/>
                  <a:pt x="141288" y="223270"/>
                  <a:pt x="141288" y="227182"/>
                </a:cubicBezTo>
                <a:cubicBezTo>
                  <a:pt x="141288" y="227182"/>
                  <a:pt x="141288" y="227182"/>
                  <a:pt x="141288" y="250655"/>
                </a:cubicBezTo>
                <a:cubicBezTo>
                  <a:pt x="141288" y="254567"/>
                  <a:pt x="138698" y="257175"/>
                  <a:pt x="134812" y="257175"/>
                </a:cubicBezTo>
                <a:cubicBezTo>
                  <a:pt x="134812" y="257175"/>
                  <a:pt x="134812" y="257175"/>
                  <a:pt x="98550" y="257175"/>
                </a:cubicBezTo>
                <a:cubicBezTo>
                  <a:pt x="94665" y="257175"/>
                  <a:pt x="92075" y="254567"/>
                  <a:pt x="92075" y="250655"/>
                </a:cubicBezTo>
                <a:cubicBezTo>
                  <a:pt x="92075" y="250655"/>
                  <a:pt x="92075" y="250655"/>
                  <a:pt x="92075" y="227182"/>
                </a:cubicBezTo>
                <a:cubicBezTo>
                  <a:pt x="92075" y="223270"/>
                  <a:pt x="94665" y="220662"/>
                  <a:pt x="98550" y="220662"/>
                </a:cubicBezTo>
                <a:close/>
                <a:moveTo>
                  <a:pt x="38225" y="220662"/>
                </a:moveTo>
                <a:cubicBezTo>
                  <a:pt x="38225" y="220662"/>
                  <a:pt x="38225" y="220662"/>
                  <a:pt x="74487" y="220662"/>
                </a:cubicBezTo>
                <a:cubicBezTo>
                  <a:pt x="78373" y="220662"/>
                  <a:pt x="80963" y="223270"/>
                  <a:pt x="80963" y="227182"/>
                </a:cubicBezTo>
                <a:cubicBezTo>
                  <a:pt x="80963" y="227182"/>
                  <a:pt x="80963" y="227182"/>
                  <a:pt x="80963" y="250655"/>
                </a:cubicBezTo>
                <a:cubicBezTo>
                  <a:pt x="80963" y="254567"/>
                  <a:pt x="78373" y="257175"/>
                  <a:pt x="74487" y="257175"/>
                </a:cubicBezTo>
                <a:cubicBezTo>
                  <a:pt x="74487" y="257175"/>
                  <a:pt x="74487" y="257175"/>
                  <a:pt x="38225" y="257175"/>
                </a:cubicBezTo>
                <a:cubicBezTo>
                  <a:pt x="34340" y="257175"/>
                  <a:pt x="31750" y="254567"/>
                  <a:pt x="31750" y="250655"/>
                </a:cubicBezTo>
                <a:cubicBezTo>
                  <a:pt x="31750" y="250655"/>
                  <a:pt x="31750" y="250655"/>
                  <a:pt x="31750" y="227182"/>
                </a:cubicBezTo>
                <a:cubicBezTo>
                  <a:pt x="31750" y="223270"/>
                  <a:pt x="34340" y="220662"/>
                  <a:pt x="38225" y="220662"/>
                </a:cubicBezTo>
                <a:close/>
                <a:moveTo>
                  <a:pt x="166687" y="184149"/>
                </a:moveTo>
                <a:lnTo>
                  <a:pt x="166687" y="196849"/>
                </a:lnTo>
                <a:lnTo>
                  <a:pt x="190500" y="196849"/>
                </a:lnTo>
                <a:lnTo>
                  <a:pt x="190500" y="184149"/>
                </a:lnTo>
                <a:close/>
                <a:moveTo>
                  <a:pt x="104775" y="184149"/>
                </a:moveTo>
                <a:lnTo>
                  <a:pt x="104775" y="196849"/>
                </a:lnTo>
                <a:lnTo>
                  <a:pt x="130175" y="196849"/>
                </a:lnTo>
                <a:lnTo>
                  <a:pt x="130175" y="184149"/>
                </a:lnTo>
                <a:close/>
                <a:moveTo>
                  <a:pt x="42862" y="184149"/>
                </a:moveTo>
                <a:lnTo>
                  <a:pt x="42862" y="196849"/>
                </a:lnTo>
                <a:lnTo>
                  <a:pt x="68262" y="196849"/>
                </a:lnTo>
                <a:lnTo>
                  <a:pt x="68262" y="184149"/>
                </a:lnTo>
                <a:close/>
                <a:moveTo>
                  <a:pt x="38225" y="171450"/>
                </a:moveTo>
                <a:cubicBezTo>
                  <a:pt x="38225" y="171450"/>
                  <a:pt x="38225" y="171450"/>
                  <a:pt x="74487" y="171450"/>
                </a:cubicBezTo>
                <a:cubicBezTo>
                  <a:pt x="78373" y="171450"/>
                  <a:pt x="80963" y="174058"/>
                  <a:pt x="80963" y="177970"/>
                </a:cubicBezTo>
                <a:cubicBezTo>
                  <a:pt x="80963" y="177970"/>
                  <a:pt x="80963" y="177970"/>
                  <a:pt x="80963" y="201443"/>
                </a:cubicBezTo>
                <a:cubicBezTo>
                  <a:pt x="80963" y="205355"/>
                  <a:pt x="78373" y="207963"/>
                  <a:pt x="74487" y="207963"/>
                </a:cubicBezTo>
                <a:cubicBezTo>
                  <a:pt x="74487" y="207963"/>
                  <a:pt x="74487" y="207963"/>
                  <a:pt x="38225" y="207963"/>
                </a:cubicBezTo>
                <a:cubicBezTo>
                  <a:pt x="34340" y="207963"/>
                  <a:pt x="31750" y="205355"/>
                  <a:pt x="31750" y="201443"/>
                </a:cubicBezTo>
                <a:cubicBezTo>
                  <a:pt x="31750" y="201443"/>
                  <a:pt x="31750" y="201443"/>
                  <a:pt x="31750" y="177970"/>
                </a:cubicBezTo>
                <a:cubicBezTo>
                  <a:pt x="31750" y="174058"/>
                  <a:pt x="34340" y="171450"/>
                  <a:pt x="38225" y="171450"/>
                </a:cubicBezTo>
                <a:close/>
                <a:moveTo>
                  <a:pt x="159167" y="171449"/>
                </a:moveTo>
                <a:cubicBezTo>
                  <a:pt x="159167" y="171449"/>
                  <a:pt x="159167" y="171449"/>
                  <a:pt x="196725" y="171449"/>
                </a:cubicBezTo>
                <a:cubicBezTo>
                  <a:pt x="199315" y="171449"/>
                  <a:pt x="203200" y="174057"/>
                  <a:pt x="203200" y="177969"/>
                </a:cubicBezTo>
                <a:cubicBezTo>
                  <a:pt x="203200" y="177969"/>
                  <a:pt x="203200" y="177969"/>
                  <a:pt x="203200" y="201442"/>
                </a:cubicBezTo>
                <a:cubicBezTo>
                  <a:pt x="203200" y="205354"/>
                  <a:pt x="199315" y="207962"/>
                  <a:pt x="196725" y="207962"/>
                </a:cubicBezTo>
                <a:cubicBezTo>
                  <a:pt x="196725" y="207962"/>
                  <a:pt x="196725" y="207962"/>
                  <a:pt x="159167" y="207962"/>
                </a:cubicBezTo>
                <a:cubicBezTo>
                  <a:pt x="156577" y="207962"/>
                  <a:pt x="153987" y="205354"/>
                  <a:pt x="153987" y="201442"/>
                </a:cubicBezTo>
                <a:cubicBezTo>
                  <a:pt x="153987" y="201442"/>
                  <a:pt x="153987" y="201442"/>
                  <a:pt x="153987" y="177969"/>
                </a:cubicBezTo>
                <a:cubicBezTo>
                  <a:pt x="153987" y="174057"/>
                  <a:pt x="156577" y="171449"/>
                  <a:pt x="159167" y="171449"/>
                </a:cubicBezTo>
                <a:close/>
                <a:moveTo>
                  <a:pt x="98550" y="171449"/>
                </a:moveTo>
                <a:cubicBezTo>
                  <a:pt x="98550" y="171449"/>
                  <a:pt x="98550" y="171449"/>
                  <a:pt x="134812" y="171449"/>
                </a:cubicBezTo>
                <a:cubicBezTo>
                  <a:pt x="138698" y="171449"/>
                  <a:pt x="141288" y="174057"/>
                  <a:pt x="141288" y="177969"/>
                </a:cubicBezTo>
                <a:cubicBezTo>
                  <a:pt x="141288" y="177969"/>
                  <a:pt x="141288" y="177969"/>
                  <a:pt x="141288" y="201442"/>
                </a:cubicBezTo>
                <a:cubicBezTo>
                  <a:pt x="141288" y="205354"/>
                  <a:pt x="138698" y="207962"/>
                  <a:pt x="134812" y="207962"/>
                </a:cubicBezTo>
                <a:cubicBezTo>
                  <a:pt x="134812" y="207962"/>
                  <a:pt x="134812" y="207962"/>
                  <a:pt x="98550" y="207962"/>
                </a:cubicBezTo>
                <a:cubicBezTo>
                  <a:pt x="94665" y="207962"/>
                  <a:pt x="92075" y="205354"/>
                  <a:pt x="92075" y="201442"/>
                </a:cubicBezTo>
                <a:cubicBezTo>
                  <a:pt x="92075" y="201442"/>
                  <a:pt x="92075" y="201442"/>
                  <a:pt x="92075" y="177969"/>
                </a:cubicBezTo>
                <a:cubicBezTo>
                  <a:pt x="92075" y="174057"/>
                  <a:pt x="94665" y="171449"/>
                  <a:pt x="98550" y="171449"/>
                </a:cubicBezTo>
                <a:close/>
                <a:moveTo>
                  <a:pt x="166687" y="134937"/>
                </a:moveTo>
                <a:lnTo>
                  <a:pt x="166687" y="147637"/>
                </a:lnTo>
                <a:lnTo>
                  <a:pt x="190500" y="147637"/>
                </a:lnTo>
                <a:lnTo>
                  <a:pt x="190500" y="134937"/>
                </a:lnTo>
                <a:close/>
                <a:moveTo>
                  <a:pt x="104775" y="134937"/>
                </a:moveTo>
                <a:lnTo>
                  <a:pt x="104775" y="147637"/>
                </a:lnTo>
                <a:lnTo>
                  <a:pt x="130175" y="147637"/>
                </a:lnTo>
                <a:lnTo>
                  <a:pt x="130175" y="134937"/>
                </a:lnTo>
                <a:close/>
                <a:moveTo>
                  <a:pt x="42862" y="134937"/>
                </a:moveTo>
                <a:lnTo>
                  <a:pt x="42862" y="147637"/>
                </a:lnTo>
                <a:lnTo>
                  <a:pt x="68262" y="147637"/>
                </a:lnTo>
                <a:lnTo>
                  <a:pt x="68262" y="134937"/>
                </a:lnTo>
                <a:close/>
                <a:moveTo>
                  <a:pt x="159167" y="122237"/>
                </a:moveTo>
                <a:cubicBezTo>
                  <a:pt x="159167" y="122237"/>
                  <a:pt x="159167" y="122237"/>
                  <a:pt x="196725" y="122237"/>
                </a:cubicBezTo>
                <a:cubicBezTo>
                  <a:pt x="199315" y="122237"/>
                  <a:pt x="203200" y="124845"/>
                  <a:pt x="203200" y="128757"/>
                </a:cubicBezTo>
                <a:cubicBezTo>
                  <a:pt x="203200" y="128757"/>
                  <a:pt x="203200" y="128757"/>
                  <a:pt x="203200" y="153534"/>
                </a:cubicBezTo>
                <a:cubicBezTo>
                  <a:pt x="203200" y="156142"/>
                  <a:pt x="199315" y="158750"/>
                  <a:pt x="196725" y="158750"/>
                </a:cubicBezTo>
                <a:cubicBezTo>
                  <a:pt x="196725" y="158750"/>
                  <a:pt x="196725" y="158750"/>
                  <a:pt x="159167" y="158750"/>
                </a:cubicBezTo>
                <a:cubicBezTo>
                  <a:pt x="156577" y="158750"/>
                  <a:pt x="153987" y="156142"/>
                  <a:pt x="153987" y="153534"/>
                </a:cubicBezTo>
                <a:cubicBezTo>
                  <a:pt x="153987" y="153534"/>
                  <a:pt x="153987" y="153534"/>
                  <a:pt x="153987" y="128757"/>
                </a:cubicBezTo>
                <a:cubicBezTo>
                  <a:pt x="153987" y="124845"/>
                  <a:pt x="156577" y="122237"/>
                  <a:pt x="159167" y="122237"/>
                </a:cubicBezTo>
                <a:close/>
                <a:moveTo>
                  <a:pt x="98550" y="122237"/>
                </a:moveTo>
                <a:cubicBezTo>
                  <a:pt x="98550" y="122237"/>
                  <a:pt x="98550" y="122237"/>
                  <a:pt x="134812" y="122237"/>
                </a:cubicBezTo>
                <a:cubicBezTo>
                  <a:pt x="138698" y="122237"/>
                  <a:pt x="141288" y="124845"/>
                  <a:pt x="141288" y="128757"/>
                </a:cubicBezTo>
                <a:cubicBezTo>
                  <a:pt x="141288" y="128757"/>
                  <a:pt x="141288" y="128757"/>
                  <a:pt x="141288" y="153534"/>
                </a:cubicBezTo>
                <a:cubicBezTo>
                  <a:pt x="141288" y="156142"/>
                  <a:pt x="138698" y="158750"/>
                  <a:pt x="134812" y="158750"/>
                </a:cubicBezTo>
                <a:cubicBezTo>
                  <a:pt x="134812" y="158750"/>
                  <a:pt x="134812" y="158750"/>
                  <a:pt x="98550" y="158750"/>
                </a:cubicBezTo>
                <a:cubicBezTo>
                  <a:pt x="94665" y="158750"/>
                  <a:pt x="92075" y="156142"/>
                  <a:pt x="92075" y="153534"/>
                </a:cubicBezTo>
                <a:cubicBezTo>
                  <a:pt x="92075" y="153534"/>
                  <a:pt x="92075" y="153534"/>
                  <a:pt x="92075" y="128757"/>
                </a:cubicBezTo>
                <a:cubicBezTo>
                  <a:pt x="92075" y="124845"/>
                  <a:pt x="94665" y="122237"/>
                  <a:pt x="98550" y="122237"/>
                </a:cubicBezTo>
                <a:close/>
                <a:moveTo>
                  <a:pt x="38225" y="122237"/>
                </a:moveTo>
                <a:cubicBezTo>
                  <a:pt x="38225" y="122237"/>
                  <a:pt x="38225" y="122237"/>
                  <a:pt x="74487" y="122237"/>
                </a:cubicBezTo>
                <a:cubicBezTo>
                  <a:pt x="78373" y="122237"/>
                  <a:pt x="80963" y="124845"/>
                  <a:pt x="80963" y="128757"/>
                </a:cubicBezTo>
                <a:cubicBezTo>
                  <a:pt x="80963" y="128757"/>
                  <a:pt x="80963" y="128757"/>
                  <a:pt x="80963" y="153534"/>
                </a:cubicBezTo>
                <a:cubicBezTo>
                  <a:pt x="80963" y="156142"/>
                  <a:pt x="78373" y="158750"/>
                  <a:pt x="74487" y="158750"/>
                </a:cubicBezTo>
                <a:cubicBezTo>
                  <a:pt x="74487" y="158750"/>
                  <a:pt x="74487" y="158750"/>
                  <a:pt x="38225" y="158750"/>
                </a:cubicBezTo>
                <a:cubicBezTo>
                  <a:pt x="34340" y="158750"/>
                  <a:pt x="31750" y="156142"/>
                  <a:pt x="31750" y="153534"/>
                </a:cubicBezTo>
                <a:cubicBezTo>
                  <a:pt x="31750" y="153534"/>
                  <a:pt x="31750" y="153534"/>
                  <a:pt x="31750" y="128757"/>
                </a:cubicBezTo>
                <a:cubicBezTo>
                  <a:pt x="31750" y="124845"/>
                  <a:pt x="34340" y="122237"/>
                  <a:pt x="38225" y="122237"/>
                </a:cubicBezTo>
                <a:close/>
                <a:moveTo>
                  <a:pt x="166687" y="85724"/>
                </a:moveTo>
                <a:lnTo>
                  <a:pt x="166687" y="98424"/>
                </a:lnTo>
                <a:lnTo>
                  <a:pt x="190500" y="98424"/>
                </a:lnTo>
                <a:lnTo>
                  <a:pt x="190500" y="85724"/>
                </a:lnTo>
                <a:close/>
                <a:moveTo>
                  <a:pt x="104775" y="85724"/>
                </a:moveTo>
                <a:lnTo>
                  <a:pt x="104775" y="98424"/>
                </a:lnTo>
                <a:lnTo>
                  <a:pt x="130175" y="98424"/>
                </a:lnTo>
                <a:lnTo>
                  <a:pt x="130175" y="85724"/>
                </a:lnTo>
                <a:close/>
                <a:moveTo>
                  <a:pt x="42862" y="85724"/>
                </a:moveTo>
                <a:lnTo>
                  <a:pt x="42862" y="98424"/>
                </a:lnTo>
                <a:lnTo>
                  <a:pt x="68262" y="98424"/>
                </a:lnTo>
                <a:lnTo>
                  <a:pt x="68262" y="85724"/>
                </a:lnTo>
                <a:close/>
                <a:moveTo>
                  <a:pt x="159167" y="73024"/>
                </a:moveTo>
                <a:cubicBezTo>
                  <a:pt x="159167" y="73024"/>
                  <a:pt x="159167" y="73024"/>
                  <a:pt x="196725" y="73024"/>
                </a:cubicBezTo>
                <a:cubicBezTo>
                  <a:pt x="199315" y="73024"/>
                  <a:pt x="203200" y="75632"/>
                  <a:pt x="203200" y="79544"/>
                </a:cubicBezTo>
                <a:cubicBezTo>
                  <a:pt x="203200" y="79544"/>
                  <a:pt x="203200" y="79544"/>
                  <a:pt x="203200" y="104321"/>
                </a:cubicBezTo>
                <a:cubicBezTo>
                  <a:pt x="203200" y="106929"/>
                  <a:pt x="199315" y="109537"/>
                  <a:pt x="196725" y="109537"/>
                </a:cubicBezTo>
                <a:cubicBezTo>
                  <a:pt x="196725" y="109537"/>
                  <a:pt x="196725" y="109537"/>
                  <a:pt x="159167" y="109537"/>
                </a:cubicBezTo>
                <a:cubicBezTo>
                  <a:pt x="156577" y="109537"/>
                  <a:pt x="153987" y="106929"/>
                  <a:pt x="153987" y="104321"/>
                </a:cubicBezTo>
                <a:cubicBezTo>
                  <a:pt x="153987" y="104321"/>
                  <a:pt x="153987" y="104321"/>
                  <a:pt x="153987" y="79544"/>
                </a:cubicBezTo>
                <a:cubicBezTo>
                  <a:pt x="153987" y="75632"/>
                  <a:pt x="156577" y="73024"/>
                  <a:pt x="159167" y="73024"/>
                </a:cubicBezTo>
                <a:close/>
                <a:moveTo>
                  <a:pt x="98550" y="73024"/>
                </a:moveTo>
                <a:cubicBezTo>
                  <a:pt x="98550" y="73024"/>
                  <a:pt x="98550" y="73024"/>
                  <a:pt x="134812" y="73024"/>
                </a:cubicBezTo>
                <a:cubicBezTo>
                  <a:pt x="138698" y="73024"/>
                  <a:pt x="141288" y="75632"/>
                  <a:pt x="141288" y="79544"/>
                </a:cubicBezTo>
                <a:cubicBezTo>
                  <a:pt x="141288" y="79544"/>
                  <a:pt x="141288" y="79544"/>
                  <a:pt x="141288" y="104321"/>
                </a:cubicBezTo>
                <a:cubicBezTo>
                  <a:pt x="141288" y="106929"/>
                  <a:pt x="138698" y="109537"/>
                  <a:pt x="134812" y="109537"/>
                </a:cubicBezTo>
                <a:cubicBezTo>
                  <a:pt x="134812" y="109537"/>
                  <a:pt x="134812" y="109537"/>
                  <a:pt x="98550" y="109537"/>
                </a:cubicBezTo>
                <a:cubicBezTo>
                  <a:pt x="94665" y="109537"/>
                  <a:pt x="92075" y="106929"/>
                  <a:pt x="92075" y="104321"/>
                </a:cubicBezTo>
                <a:cubicBezTo>
                  <a:pt x="92075" y="104321"/>
                  <a:pt x="92075" y="104321"/>
                  <a:pt x="92075" y="79544"/>
                </a:cubicBezTo>
                <a:cubicBezTo>
                  <a:pt x="92075" y="75632"/>
                  <a:pt x="94665" y="73024"/>
                  <a:pt x="98550" y="73024"/>
                </a:cubicBezTo>
                <a:close/>
                <a:moveTo>
                  <a:pt x="38225" y="73024"/>
                </a:moveTo>
                <a:cubicBezTo>
                  <a:pt x="38225" y="73024"/>
                  <a:pt x="38225" y="73024"/>
                  <a:pt x="74487" y="73024"/>
                </a:cubicBezTo>
                <a:cubicBezTo>
                  <a:pt x="78373" y="73024"/>
                  <a:pt x="80963" y="75632"/>
                  <a:pt x="80963" y="79544"/>
                </a:cubicBezTo>
                <a:cubicBezTo>
                  <a:pt x="80963" y="79544"/>
                  <a:pt x="80963" y="79544"/>
                  <a:pt x="80963" y="104321"/>
                </a:cubicBezTo>
                <a:cubicBezTo>
                  <a:pt x="80963" y="106929"/>
                  <a:pt x="78373" y="109537"/>
                  <a:pt x="74487" y="109537"/>
                </a:cubicBezTo>
                <a:cubicBezTo>
                  <a:pt x="74487" y="109537"/>
                  <a:pt x="74487" y="109537"/>
                  <a:pt x="38225" y="109537"/>
                </a:cubicBezTo>
                <a:cubicBezTo>
                  <a:pt x="34340" y="109537"/>
                  <a:pt x="31750" y="106929"/>
                  <a:pt x="31750" y="104321"/>
                </a:cubicBezTo>
                <a:cubicBezTo>
                  <a:pt x="31750" y="104321"/>
                  <a:pt x="31750" y="104321"/>
                  <a:pt x="31750" y="79544"/>
                </a:cubicBezTo>
                <a:cubicBezTo>
                  <a:pt x="31750" y="75632"/>
                  <a:pt x="34340" y="73024"/>
                  <a:pt x="38225" y="73024"/>
                </a:cubicBezTo>
                <a:close/>
                <a:moveTo>
                  <a:pt x="166687" y="36512"/>
                </a:moveTo>
                <a:lnTo>
                  <a:pt x="166687" y="49212"/>
                </a:lnTo>
                <a:lnTo>
                  <a:pt x="190500" y="49212"/>
                </a:lnTo>
                <a:lnTo>
                  <a:pt x="190500" y="36512"/>
                </a:lnTo>
                <a:close/>
                <a:moveTo>
                  <a:pt x="104775" y="36512"/>
                </a:moveTo>
                <a:lnTo>
                  <a:pt x="104775" y="49212"/>
                </a:lnTo>
                <a:lnTo>
                  <a:pt x="130175" y="49212"/>
                </a:lnTo>
                <a:lnTo>
                  <a:pt x="130175" y="36512"/>
                </a:lnTo>
                <a:close/>
                <a:moveTo>
                  <a:pt x="42862" y="36512"/>
                </a:moveTo>
                <a:lnTo>
                  <a:pt x="42862" y="49212"/>
                </a:lnTo>
                <a:lnTo>
                  <a:pt x="68262" y="49212"/>
                </a:lnTo>
                <a:lnTo>
                  <a:pt x="68262" y="36512"/>
                </a:lnTo>
                <a:close/>
                <a:moveTo>
                  <a:pt x="159167" y="23812"/>
                </a:moveTo>
                <a:cubicBezTo>
                  <a:pt x="159167" y="23812"/>
                  <a:pt x="159167" y="23812"/>
                  <a:pt x="196725" y="23812"/>
                </a:cubicBezTo>
                <a:cubicBezTo>
                  <a:pt x="199315" y="23812"/>
                  <a:pt x="203200" y="26420"/>
                  <a:pt x="203200" y="30332"/>
                </a:cubicBezTo>
                <a:cubicBezTo>
                  <a:pt x="203200" y="30332"/>
                  <a:pt x="203200" y="30332"/>
                  <a:pt x="203200" y="55109"/>
                </a:cubicBezTo>
                <a:cubicBezTo>
                  <a:pt x="203200" y="57717"/>
                  <a:pt x="199315" y="60325"/>
                  <a:pt x="196725" y="60325"/>
                </a:cubicBezTo>
                <a:cubicBezTo>
                  <a:pt x="196725" y="60325"/>
                  <a:pt x="196725" y="60325"/>
                  <a:pt x="159167" y="60325"/>
                </a:cubicBezTo>
                <a:cubicBezTo>
                  <a:pt x="156577" y="60325"/>
                  <a:pt x="153987" y="57717"/>
                  <a:pt x="153987" y="55109"/>
                </a:cubicBezTo>
                <a:cubicBezTo>
                  <a:pt x="153987" y="55109"/>
                  <a:pt x="153987" y="55109"/>
                  <a:pt x="153987" y="30332"/>
                </a:cubicBezTo>
                <a:cubicBezTo>
                  <a:pt x="153987" y="26420"/>
                  <a:pt x="156577" y="23812"/>
                  <a:pt x="159167" y="23812"/>
                </a:cubicBezTo>
                <a:close/>
                <a:moveTo>
                  <a:pt x="98550" y="23812"/>
                </a:moveTo>
                <a:cubicBezTo>
                  <a:pt x="98550" y="23812"/>
                  <a:pt x="98550" y="23812"/>
                  <a:pt x="134812" y="23812"/>
                </a:cubicBezTo>
                <a:cubicBezTo>
                  <a:pt x="138698" y="23812"/>
                  <a:pt x="141288" y="26420"/>
                  <a:pt x="141288" y="30332"/>
                </a:cubicBezTo>
                <a:cubicBezTo>
                  <a:pt x="141288" y="30332"/>
                  <a:pt x="141288" y="30332"/>
                  <a:pt x="141288" y="55109"/>
                </a:cubicBezTo>
                <a:cubicBezTo>
                  <a:pt x="141288" y="57717"/>
                  <a:pt x="138698" y="60325"/>
                  <a:pt x="134812" y="60325"/>
                </a:cubicBezTo>
                <a:cubicBezTo>
                  <a:pt x="134812" y="60325"/>
                  <a:pt x="134812" y="60325"/>
                  <a:pt x="98550" y="60325"/>
                </a:cubicBezTo>
                <a:cubicBezTo>
                  <a:pt x="94665" y="60325"/>
                  <a:pt x="92075" y="57717"/>
                  <a:pt x="92075" y="55109"/>
                </a:cubicBezTo>
                <a:cubicBezTo>
                  <a:pt x="92075" y="55109"/>
                  <a:pt x="92075" y="55109"/>
                  <a:pt x="92075" y="30332"/>
                </a:cubicBezTo>
                <a:cubicBezTo>
                  <a:pt x="92075" y="26420"/>
                  <a:pt x="94665" y="23812"/>
                  <a:pt x="98550" y="23812"/>
                </a:cubicBezTo>
                <a:close/>
                <a:moveTo>
                  <a:pt x="38225" y="23812"/>
                </a:moveTo>
                <a:cubicBezTo>
                  <a:pt x="38225" y="23812"/>
                  <a:pt x="38225" y="23812"/>
                  <a:pt x="74487" y="23812"/>
                </a:cubicBezTo>
                <a:cubicBezTo>
                  <a:pt x="78373" y="23812"/>
                  <a:pt x="80963" y="26420"/>
                  <a:pt x="80963" y="30332"/>
                </a:cubicBezTo>
                <a:cubicBezTo>
                  <a:pt x="80963" y="30332"/>
                  <a:pt x="80963" y="30332"/>
                  <a:pt x="80963" y="55109"/>
                </a:cubicBezTo>
                <a:cubicBezTo>
                  <a:pt x="80963" y="57717"/>
                  <a:pt x="78373" y="60325"/>
                  <a:pt x="74487" y="60325"/>
                </a:cubicBezTo>
                <a:cubicBezTo>
                  <a:pt x="74487" y="60325"/>
                  <a:pt x="74487" y="60325"/>
                  <a:pt x="38225" y="60325"/>
                </a:cubicBezTo>
                <a:cubicBezTo>
                  <a:pt x="34340" y="60325"/>
                  <a:pt x="31750" y="57717"/>
                  <a:pt x="31750" y="55109"/>
                </a:cubicBezTo>
                <a:cubicBezTo>
                  <a:pt x="31750" y="55109"/>
                  <a:pt x="31750" y="55109"/>
                  <a:pt x="31750" y="30332"/>
                </a:cubicBezTo>
                <a:cubicBezTo>
                  <a:pt x="31750" y="26420"/>
                  <a:pt x="34340" y="23812"/>
                  <a:pt x="38225" y="23812"/>
                </a:cubicBezTo>
                <a:close/>
                <a:moveTo>
                  <a:pt x="19050" y="11112"/>
                </a:moveTo>
                <a:lnTo>
                  <a:pt x="19050" y="319087"/>
                </a:lnTo>
                <a:cubicBezTo>
                  <a:pt x="19050" y="319087"/>
                  <a:pt x="19050" y="319087"/>
                  <a:pt x="92054" y="319087"/>
                </a:cubicBezTo>
                <a:cubicBezTo>
                  <a:pt x="92054" y="319087"/>
                  <a:pt x="92054" y="319087"/>
                  <a:pt x="92054" y="275091"/>
                </a:cubicBezTo>
                <a:cubicBezTo>
                  <a:pt x="92054" y="272503"/>
                  <a:pt x="94661" y="269915"/>
                  <a:pt x="98572" y="269915"/>
                </a:cubicBezTo>
                <a:cubicBezTo>
                  <a:pt x="98572" y="269915"/>
                  <a:pt x="98572" y="269915"/>
                  <a:pt x="135074" y="269915"/>
                </a:cubicBezTo>
                <a:cubicBezTo>
                  <a:pt x="138985" y="269915"/>
                  <a:pt x="141592" y="272503"/>
                  <a:pt x="141592" y="275091"/>
                </a:cubicBezTo>
                <a:cubicBezTo>
                  <a:pt x="141592" y="275091"/>
                  <a:pt x="141592" y="275091"/>
                  <a:pt x="141592" y="319087"/>
                </a:cubicBezTo>
                <a:cubicBezTo>
                  <a:pt x="141592" y="319087"/>
                  <a:pt x="141592" y="319087"/>
                  <a:pt x="215900" y="319087"/>
                </a:cubicBezTo>
                <a:cubicBezTo>
                  <a:pt x="215900" y="319087"/>
                  <a:pt x="215900" y="319087"/>
                  <a:pt x="215900" y="11112"/>
                </a:cubicBezTo>
                <a:cubicBezTo>
                  <a:pt x="215900" y="11112"/>
                  <a:pt x="215900" y="11112"/>
                  <a:pt x="19050" y="11112"/>
                </a:cubicBezTo>
                <a:close/>
                <a:moveTo>
                  <a:pt x="12964" y="0"/>
                </a:moveTo>
                <a:cubicBezTo>
                  <a:pt x="12964" y="0"/>
                  <a:pt x="12964" y="0"/>
                  <a:pt x="220399" y="0"/>
                </a:cubicBezTo>
                <a:cubicBezTo>
                  <a:pt x="220399" y="0"/>
                  <a:pt x="221695" y="0"/>
                  <a:pt x="221695" y="0"/>
                </a:cubicBezTo>
                <a:cubicBezTo>
                  <a:pt x="224288" y="0"/>
                  <a:pt x="226881" y="2592"/>
                  <a:pt x="226881" y="6480"/>
                </a:cubicBezTo>
                <a:cubicBezTo>
                  <a:pt x="226881" y="6480"/>
                  <a:pt x="226881" y="6480"/>
                  <a:pt x="226881" y="320124"/>
                </a:cubicBezTo>
                <a:cubicBezTo>
                  <a:pt x="230770" y="320124"/>
                  <a:pt x="233363" y="322716"/>
                  <a:pt x="233363" y="325308"/>
                </a:cubicBezTo>
                <a:cubicBezTo>
                  <a:pt x="233363" y="329196"/>
                  <a:pt x="230770" y="331788"/>
                  <a:pt x="226881" y="331788"/>
                </a:cubicBezTo>
                <a:cubicBezTo>
                  <a:pt x="226881" y="331788"/>
                  <a:pt x="226881" y="331788"/>
                  <a:pt x="6482" y="331788"/>
                </a:cubicBezTo>
                <a:cubicBezTo>
                  <a:pt x="2593" y="331788"/>
                  <a:pt x="0" y="329196"/>
                  <a:pt x="0" y="325308"/>
                </a:cubicBezTo>
                <a:cubicBezTo>
                  <a:pt x="0" y="322716"/>
                  <a:pt x="2593" y="320124"/>
                  <a:pt x="6482" y="320124"/>
                </a:cubicBezTo>
                <a:cubicBezTo>
                  <a:pt x="6482" y="320124"/>
                  <a:pt x="6482" y="320124"/>
                  <a:pt x="6482" y="6480"/>
                </a:cubicBezTo>
                <a:cubicBezTo>
                  <a:pt x="6482" y="2592"/>
                  <a:pt x="9075" y="0"/>
                  <a:pt x="1296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6AAA48B7-0576-4678-9EB0-E6597C01E694}"/>
              </a:ext>
            </a:extLst>
          </p:cNvPr>
          <p:cNvSpPr/>
          <p:nvPr/>
        </p:nvSpPr>
        <p:spPr>
          <a:xfrm>
            <a:off x="3059681" y="3437562"/>
            <a:ext cx="1784450" cy="2709235"/>
          </a:xfrm>
          <a:custGeom>
            <a:avLst/>
            <a:gdLst>
              <a:gd name="connsiteX0" fmla="*/ 153811 w 217488"/>
              <a:gd name="connsiteY0" fmla="*/ 134937 h 330200"/>
              <a:gd name="connsiteX1" fmla="*/ 158750 w 217488"/>
              <a:gd name="connsiteY1" fmla="*/ 140091 h 330200"/>
              <a:gd name="connsiteX2" fmla="*/ 158750 w 217488"/>
              <a:gd name="connsiteY2" fmla="*/ 307584 h 330200"/>
              <a:gd name="connsiteX3" fmla="*/ 153811 w 217488"/>
              <a:gd name="connsiteY3" fmla="*/ 312737 h 330200"/>
              <a:gd name="connsiteX4" fmla="*/ 147637 w 217488"/>
              <a:gd name="connsiteY4" fmla="*/ 307584 h 330200"/>
              <a:gd name="connsiteX5" fmla="*/ 147637 w 217488"/>
              <a:gd name="connsiteY5" fmla="*/ 140091 h 330200"/>
              <a:gd name="connsiteX6" fmla="*/ 153811 w 217488"/>
              <a:gd name="connsiteY6" fmla="*/ 134937 h 330200"/>
              <a:gd name="connsiteX7" fmla="*/ 135732 w 217488"/>
              <a:gd name="connsiteY7" fmla="*/ 134937 h 330200"/>
              <a:gd name="connsiteX8" fmla="*/ 141288 w 217488"/>
              <a:gd name="connsiteY8" fmla="*/ 140091 h 330200"/>
              <a:gd name="connsiteX9" fmla="*/ 141288 w 217488"/>
              <a:gd name="connsiteY9" fmla="*/ 307584 h 330200"/>
              <a:gd name="connsiteX10" fmla="*/ 135732 w 217488"/>
              <a:gd name="connsiteY10" fmla="*/ 312737 h 330200"/>
              <a:gd name="connsiteX11" fmla="*/ 130175 w 217488"/>
              <a:gd name="connsiteY11" fmla="*/ 307584 h 330200"/>
              <a:gd name="connsiteX12" fmla="*/ 130175 w 217488"/>
              <a:gd name="connsiteY12" fmla="*/ 140091 h 330200"/>
              <a:gd name="connsiteX13" fmla="*/ 135732 w 217488"/>
              <a:gd name="connsiteY13" fmla="*/ 134937 h 330200"/>
              <a:gd name="connsiteX14" fmla="*/ 118269 w 217488"/>
              <a:gd name="connsiteY14" fmla="*/ 134937 h 330200"/>
              <a:gd name="connsiteX15" fmla="*/ 123825 w 217488"/>
              <a:gd name="connsiteY15" fmla="*/ 140091 h 330200"/>
              <a:gd name="connsiteX16" fmla="*/ 123825 w 217488"/>
              <a:gd name="connsiteY16" fmla="*/ 307584 h 330200"/>
              <a:gd name="connsiteX17" fmla="*/ 118269 w 217488"/>
              <a:gd name="connsiteY17" fmla="*/ 312737 h 330200"/>
              <a:gd name="connsiteX18" fmla="*/ 112712 w 217488"/>
              <a:gd name="connsiteY18" fmla="*/ 307584 h 330200"/>
              <a:gd name="connsiteX19" fmla="*/ 112712 w 217488"/>
              <a:gd name="connsiteY19" fmla="*/ 140091 h 330200"/>
              <a:gd name="connsiteX20" fmla="*/ 118269 w 217488"/>
              <a:gd name="connsiteY20" fmla="*/ 134937 h 330200"/>
              <a:gd name="connsiteX21" fmla="*/ 100013 w 217488"/>
              <a:gd name="connsiteY21" fmla="*/ 134937 h 330200"/>
              <a:gd name="connsiteX22" fmla="*/ 104775 w 217488"/>
              <a:gd name="connsiteY22" fmla="*/ 140091 h 330200"/>
              <a:gd name="connsiteX23" fmla="*/ 104775 w 217488"/>
              <a:gd name="connsiteY23" fmla="*/ 307584 h 330200"/>
              <a:gd name="connsiteX24" fmla="*/ 100013 w 217488"/>
              <a:gd name="connsiteY24" fmla="*/ 312737 h 330200"/>
              <a:gd name="connsiteX25" fmla="*/ 95250 w 217488"/>
              <a:gd name="connsiteY25" fmla="*/ 307584 h 330200"/>
              <a:gd name="connsiteX26" fmla="*/ 95250 w 217488"/>
              <a:gd name="connsiteY26" fmla="*/ 140091 h 330200"/>
              <a:gd name="connsiteX27" fmla="*/ 100013 w 217488"/>
              <a:gd name="connsiteY27" fmla="*/ 134937 h 330200"/>
              <a:gd name="connsiteX28" fmla="*/ 81757 w 217488"/>
              <a:gd name="connsiteY28" fmla="*/ 134937 h 330200"/>
              <a:gd name="connsiteX29" fmla="*/ 87313 w 217488"/>
              <a:gd name="connsiteY29" fmla="*/ 140091 h 330200"/>
              <a:gd name="connsiteX30" fmla="*/ 87313 w 217488"/>
              <a:gd name="connsiteY30" fmla="*/ 307584 h 330200"/>
              <a:gd name="connsiteX31" fmla="*/ 81757 w 217488"/>
              <a:gd name="connsiteY31" fmla="*/ 312737 h 330200"/>
              <a:gd name="connsiteX32" fmla="*/ 76200 w 217488"/>
              <a:gd name="connsiteY32" fmla="*/ 307584 h 330200"/>
              <a:gd name="connsiteX33" fmla="*/ 76200 w 217488"/>
              <a:gd name="connsiteY33" fmla="*/ 140091 h 330200"/>
              <a:gd name="connsiteX34" fmla="*/ 81757 w 217488"/>
              <a:gd name="connsiteY34" fmla="*/ 134937 h 330200"/>
              <a:gd name="connsiteX35" fmla="*/ 63676 w 217488"/>
              <a:gd name="connsiteY35" fmla="*/ 134937 h 330200"/>
              <a:gd name="connsiteX36" fmla="*/ 69850 w 217488"/>
              <a:gd name="connsiteY36" fmla="*/ 140091 h 330200"/>
              <a:gd name="connsiteX37" fmla="*/ 69850 w 217488"/>
              <a:gd name="connsiteY37" fmla="*/ 307584 h 330200"/>
              <a:gd name="connsiteX38" fmla="*/ 63676 w 217488"/>
              <a:gd name="connsiteY38" fmla="*/ 312737 h 330200"/>
              <a:gd name="connsiteX39" fmla="*/ 58737 w 217488"/>
              <a:gd name="connsiteY39" fmla="*/ 307584 h 330200"/>
              <a:gd name="connsiteX40" fmla="*/ 58737 w 217488"/>
              <a:gd name="connsiteY40" fmla="*/ 140091 h 330200"/>
              <a:gd name="connsiteX41" fmla="*/ 63676 w 217488"/>
              <a:gd name="connsiteY41" fmla="*/ 134937 h 330200"/>
              <a:gd name="connsiteX42" fmla="*/ 50800 w 217488"/>
              <a:gd name="connsiteY42" fmla="*/ 127000 h 330200"/>
              <a:gd name="connsiteX43" fmla="*/ 50800 w 217488"/>
              <a:gd name="connsiteY43" fmla="*/ 319088 h 330200"/>
              <a:gd name="connsiteX44" fmla="*/ 166688 w 217488"/>
              <a:gd name="connsiteY44" fmla="*/ 319088 h 330200"/>
              <a:gd name="connsiteX45" fmla="*/ 166688 w 217488"/>
              <a:gd name="connsiteY45" fmla="*/ 127000 h 330200"/>
              <a:gd name="connsiteX46" fmla="*/ 61912 w 217488"/>
              <a:gd name="connsiteY46" fmla="*/ 71437 h 330200"/>
              <a:gd name="connsiteX47" fmla="*/ 61912 w 217488"/>
              <a:gd name="connsiteY47" fmla="*/ 115887 h 330200"/>
              <a:gd name="connsiteX48" fmla="*/ 72319 w 217488"/>
              <a:gd name="connsiteY48" fmla="*/ 115887 h 330200"/>
              <a:gd name="connsiteX49" fmla="*/ 72319 w 217488"/>
              <a:gd name="connsiteY49" fmla="*/ 79281 h 330200"/>
              <a:gd name="connsiteX50" fmla="*/ 77523 w 217488"/>
              <a:gd name="connsiteY50" fmla="*/ 74051 h 330200"/>
              <a:gd name="connsiteX51" fmla="*/ 84027 w 217488"/>
              <a:gd name="connsiteY51" fmla="*/ 79281 h 330200"/>
              <a:gd name="connsiteX52" fmla="*/ 84027 w 217488"/>
              <a:gd name="connsiteY52" fmla="*/ 115887 h 330200"/>
              <a:gd name="connsiteX53" fmla="*/ 93133 w 217488"/>
              <a:gd name="connsiteY53" fmla="*/ 115887 h 330200"/>
              <a:gd name="connsiteX54" fmla="*/ 93133 w 217488"/>
              <a:gd name="connsiteY54" fmla="*/ 79281 h 330200"/>
              <a:gd name="connsiteX55" fmla="*/ 98337 w 217488"/>
              <a:gd name="connsiteY55" fmla="*/ 74051 h 330200"/>
              <a:gd name="connsiteX56" fmla="*/ 103540 w 217488"/>
              <a:gd name="connsiteY56" fmla="*/ 79281 h 330200"/>
              <a:gd name="connsiteX57" fmla="*/ 103540 w 217488"/>
              <a:gd name="connsiteY57" fmla="*/ 115887 h 330200"/>
              <a:gd name="connsiteX58" fmla="*/ 113947 w 217488"/>
              <a:gd name="connsiteY58" fmla="*/ 115887 h 330200"/>
              <a:gd name="connsiteX59" fmla="*/ 113947 w 217488"/>
              <a:gd name="connsiteY59" fmla="*/ 79281 h 330200"/>
              <a:gd name="connsiteX60" fmla="*/ 119151 w 217488"/>
              <a:gd name="connsiteY60" fmla="*/ 74051 h 330200"/>
              <a:gd name="connsiteX61" fmla="*/ 124354 w 217488"/>
              <a:gd name="connsiteY61" fmla="*/ 79281 h 330200"/>
              <a:gd name="connsiteX62" fmla="*/ 124354 w 217488"/>
              <a:gd name="connsiteY62" fmla="*/ 115887 h 330200"/>
              <a:gd name="connsiteX63" fmla="*/ 133460 w 217488"/>
              <a:gd name="connsiteY63" fmla="*/ 115887 h 330200"/>
              <a:gd name="connsiteX64" fmla="*/ 133460 w 217488"/>
              <a:gd name="connsiteY64" fmla="*/ 79281 h 330200"/>
              <a:gd name="connsiteX65" fmla="*/ 139965 w 217488"/>
              <a:gd name="connsiteY65" fmla="*/ 74051 h 330200"/>
              <a:gd name="connsiteX66" fmla="*/ 145168 w 217488"/>
              <a:gd name="connsiteY66" fmla="*/ 79281 h 330200"/>
              <a:gd name="connsiteX67" fmla="*/ 145168 w 217488"/>
              <a:gd name="connsiteY67" fmla="*/ 115887 h 330200"/>
              <a:gd name="connsiteX68" fmla="*/ 155575 w 217488"/>
              <a:gd name="connsiteY68" fmla="*/ 115887 h 330200"/>
              <a:gd name="connsiteX69" fmla="*/ 155575 w 217488"/>
              <a:gd name="connsiteY69" fmla="*/ 71437 h 330200"/>
              <a:gd name="connsiteX70" fmla="*/ 61912 w 217488"/>
              <a:gd name="connsiteY70" fmla="*/ 71437 h 330200"/>
              <a:gd name="connsiteX71" fmla="*/ 77787 w 217488"/>
              <a:gd name="connsiteY71" fmla="*/ 26987 h 330200"/>
              <a:gd name="connsiteX72" fmla="*/ 77787 w 217488"/>
              <a:gd name="connsiteY72" fmla="*/ 60325 h 330200"/>
              <a:gd name="connsiteX73" fmla="*/ 82947 w 217488"/>
              <a:gd name="connsiteY73" fmla="*/ 60325 h 330200"/>
              <a:gd name="connsiteX74" fmla="*/ 82947 w 217488"/>
              <a:gd name="connsiteY74" fmla="*/ 39809 h 330200"/>
              <a:gd name="connsiteX75" fmla="*/ 88106 w 217488"/>
              <a:gd name="connsiteY75" fmla="*/ 34680 h 330200"/>
              <a:gd name="connsiteX76" fmla="*/ 94555 w 217488"/>
              <a:gd name="connsiteY76" fmla="*/ 39809 h 330200"/>
              <a:gd name="connsiteX77" fmla="*/ 94555 w 217488"/>
              <a:gd name="connsiteY77" fmla="*/ 60325 h 330200"/>
              <a:gd name="connsiteX78" fmla="*/ 103584 w 217488"/>
              <a:gd name="connsiteY78" fmla="*/ 60325 h 330200"/>
              <a:gd name="connsiteX79" fmla="*/ 103584 w 217488"/>
              <a:gd name="connsiteY79" fmla="*/ 39809 h 330200"/>
              <a:gd name="connsiteX80" fmla="*/ 108744 w 217488"/>
              <a:gd name="connsiteY80" fmla="*/ 34680 h 330200"/>
              <a:gd name="connsiteX81" fmla="*/ 113903 w 217488"/>
              <a:gd name="connsiteY81" fmla="*/ 39809 h 330200"/>
              <a:gd name="connsiteX82" fmla="*/ 113903 w 217488"/>
              <a:gd name="connsiteY82" fmla="*/ 60325 h 330200"/>
              <a:gd name="connsiteX83" fmla="*/ 122932 w 217488"/>
              <a:gd name="connsiteY83" fmla="*/ 60325 h 330200"/>
              <a:gd name="connsiteX84" fmla="*/ 122932 w 217488"/>
              <a:gd name="connsiteY84" fmla="*/ 39809 h 330200"/>
              <a:gd name="connsiteX85" fmla="*/ 129381 w 217488"/>
              <a:gd name="connsiteY85" fmla="*/ 34680 h 330200"/>
              <a:gd name="connsiteX86" fmla="*/ 134541 w 217488"/>
              <a:gd name="connsiteY86" fmla="*/ 39809 h 330200"/>
              <a:gd name="connsiteX87" fmla="*/ 134541 w 217488"/>
              <a:gd name="connsiteY87" fmla="*/ 60325 h 330200"/>
              <a:gd name="connsiteX88" fmla="*/ 139700 w 217488"/>
              <a:gd name="connsiteY88" fmla="*/ 60325 h 330200"/>
              <a:gd name="connsiteX89" fmla="*/ 139700 w 217488"/>
              <a:gd name="connsiteY89" fmla="*/ 26987 h 330200"/>
              <a:gd name="connsiteX90" fmla="*/ 77787 w 217488"/>
              <a:gd name="connsiteY90" fmla="*/ 26987 h 330200"/>
              <a:gd name="connsiteX91" fmla="*/ 108744 w 217488"/>
              <a:gd name="connsiteY91" fmla="*/ 0 h 330200"/>
              <a:gd name="connsiteX92" fmla="*/ 113923 w 217488"/>
              <a:gd name="connsiteY92" fmla="*/ 5159 h 330200"/>
              <a:gd name="connsiteX93" fmla="*/ 113923 w 217488"/>
              <a:gd name="connsiteY93" fmla="*/ 16768 h 330200"/>
              <a:gd name="connsiteX94" fmla="*/ 144992 w 217488"/>
              <a:gd name="connsiteY94" fmla="*/ 16768 h 330200"/>
              <a:gd name="connsiteX95" fmla="*/ 151465 w 217488"/>
              <a:gd name="connsiteY95" fmla="*/ 21927 h 330200"/>
              <a:gd name="connsiteX96" fmla="*/ 151465 w 217488"/>
              <a:gd name="connsiteY96" fmla="*/ 60622 h 330200"/>
              <a:gd name="connsiteX97" fmla="*/ 160527 w 217488"/>
              <a:gd name="connsiteY97" fmla="*/ 60622 h 330200"/>
              <a:gd name="connsiteX98" fmla="*/ 165705 w 217488"/>
              <a:gd name="connsiteY98" fmla="*/ 65782 h 330200"/>
              <a:gd name="connsiteX99" fmla="*/ 165705 w 217488"/>
              <a:gd name="connsiteY99" fmla="*/ 116086 h 330200"/>
              <a:gd name="connsiteX100" fmla="*/ 172178 w 217488"/>
              <a:gd name="connsiteY100" fmla="*/ 116086 h 330200"/>
              <a:gd name="connsiteX101" fmla="*/ 178651 w 217488"/>
              <a:gd name="connsiteY101" fmla="*/ 122535 h 330200"/>
              <a:gd name="connsiteX102" fmla="*/ 178651 w 217488"/>
              <a:gd name="connsiteY102" fmla="*/ 318592 h 330200"/>
              <a:gd name="connsiteX103" fmla="*/ 212310 w 217488"/>
              <a:gd name="connsiteY103" fmla="*/ 318592 h 330200"/>
              <a:gd name="connsiteX104" fmla="*/ 217488 w 217488"/>
              <a:gd name="connsiteY104" fmla="*/ 325041 h 330200"/>
              <a:gd name="connsiteX105" fmla="*/ 212310 w 217488"/>
              <a:gd name="connsiteY105" fmla="*/ 330200 h 330200"/>
              <a:gd name="connsiteX106" fmla="*/ 5178 w 217488"/>
              <a:gd name="connsiteY106" fmla="*/ 330200 h 330200"/>
              <a:gd name="connsiteX107" fmla="*/ 0 w 217488"/>
              <a:gd name="connsiteY107" fmla="*/ 325041 h 330200"/>
              <a:gd name="connsiteX108" fmla="*/ 5178 w 217488"/>
              <a:gd name="connsiteY108" fmla="*/ 318592 h 330200"/>
              <a:gd name="connsiteX109" fmla="*/ 38837 w 217488"/>
              <a:gd name="connsiteY109" fmla="*/ 318592 h 330200"/>
              <a:gd name="connsiteX110" fmla="*/ 38837 w 217488"/>
              <a:gd name="connsiteY110" fmla="*/ 122535 h 330200"/>
              <a:gd name="connsiteX111" fmla="*/ 45310 w 217488"/>
              <a:gd name="connsiteY111" fmla="*/ 116086 h 330200"/>
              <a:gd name="connsiteX112" fmla="*/ 51783 w 217488"/>
              <a:gd name="connsiteY112" fmla="*/ 116086 h 330200"/>
              <a:gd name="connsiteX113" fmla="*/ 51783 w 217488"/>
              <a:gd name="connsiteY113" fmla="*/ 65782 h 330200"/>
              <a:gd name="connsiteX114" fmla="*/ 56961 w 217488"/>
              <a:gd name="connsiteY114" fmla="*/ 60622 h 330200"/>
              <a:gd name="connsiteX115" fmla="*/ 66023 w 217488"/>
              <a:gd name="connsiteY115" fmla="*/ 60622 h 330200"/>
              <a:gd name="connsiteX116" fmla="*/ 66023 w 217488"/>
              <a:gd name="connsiteY116" fmla="*/ 21927 h 330200"/>
              <a:gd name="connsiteX117" fmla="*/ 72496 w 217488"/>
              <a:gd name="connsiteY117" fmla="*/ 16768 h 330200"/>
              <a:gd name="connsiteX118" fmla="*/ 103566 w 217488"/>
              <a:gd name="connsiteY118" fmla="*/ 16768 h 330200"/>
              <a:gd name="connsiteX119" fmla="*/ 103566 w 217488"/>
              <a:gd name="connsiteY119" fmla="*/ 5159 h 330200"/>
              <a:gd name="connsiteX120" fmla="*/ 108744 w 217488"/>
              <a:gd name="connsiteY120" fmla="*/ 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217488" h="330200">
                <a:moveTo>
                  <a:pt x="153811" y="134937"/>
                </a:moveTo>
                <a:cubicBezTo>
                  <a:pt x="156281" y="134937"/>
                  <a:pt x="158750" y="137514"/>
                  <a:pt x="158750" y="140091"/>
                </a:cubicBezTo>
                <a:cubicBezTo>
                  <a:pt x="158750" y="140091"/>
                  <a:pt x="158750" y="140091"/>
                  <a:pt x="158750" y="307584"/>
                </a:cubicBezTo>
                <a:cubicBezTo>
                  <a:pt x="158750" y="310160"/>
                  <a:pt x="156281" y="312737"/>
                  <a:pt x="153811" y="312737"/>
                </a:cubicBezTo>
                <a:cubicBezTo>
                  <a:pt x="150107" y="312737"/>
                  <a:pt x="147637" y="310160"/>
                  <a:pt x="147637" y="307584"/>
                </a:cubicBezTo>
                <a:cubicBezTo>
                  <a:pt x="147637" y="307584"/>
                  <a:pt x="147637" y="307584"/>
                  <a:pt x="147637" y="140091"/>
                </a:cubicBezTo>
                <a:cubicBezTo>
                  <a:pt x="147637" y="137514"/>
                  <a:pt x="150107" y="134937"/>
                  <a:pt x="153811" y="134937"/>
                </a:cubicBezTo>
                <a:close/>
                <a:moveTo>
                  <a:pt x="135732" y="134937"/>
                </a:moveTo>
                <a:cubicBezTo>
                  <a:pt x="138510" y="134937"/>
                  <a:pt x="141288" y="137514"/>
                  <a:pt x="141288" y="140091"/>
                </a:cubicBezTo>
                <a:cubicBezTo>
                  <a:pt x="141288" y="140091"/>
                  <a:pt x="141288" y="140091"/>
                  <a:pt x="141288" y="307584"/>
                </a:cubicBezTo>
                <a:cubicBezTo>
                  <a:pt x="141288" y="310160"/>
                  <a:pt x="138510" y="312737"/>
                  <a:pt x="135732" y="312737"/>
                </a:cubicBezTo>
                <a:cubicBezTo>
                  <a:pt x="131564" y="312737"/>
                  <a:pt x="130175" y="310160"/>
                  <a:pt x="130175" y="307584"/>
                </a:cubicBezTo>
                <a:cubicBezTo>
                  <a:pt x="130175" y="307584"/>
                  <a:pt x="130175" y="307584"/>
                  <a:pt x="130175" y="140091"/>
                </a:cubicBezTo>
                <a:cubicBezTo>
                  <a:pt x="130175" y="137514"/>
                  <a:pt x="131564" y="134937"/>
                  <a:pt x="135732" y="134937"/>
                </a:cubicBezTo>
                <a:close/>
                <a:moveTo>
                  <a:pt x="118269" y="134937"/>
                </a:moveTo>
                <a:cubicBezTo>
                  <a:pt x="121047" y="134937"/>
                  <a:pt x="123825" y="137514"/>
                  <a:pt x="123825" y="140091"/>
                </a:cubicBezTo>
                <a:cubicBezTo>
                  <a:pt x="123825" y="140091"/>
                  <a:pt x="123825" y="140091"/>
                  <a:pt x="123825" y="307584"/>
                </a:cubicBezTo>
                <a:cubicBezTo>
                  <a:pt x="123825" y="310160"/>
                  <a:pt x="121047" y="312737"/>
                  <a:pt x="118269" y="312737"/>
                </a:cubicBezTo>
                <a:cubicBezTo>
                  <a:pt x="115490" y="312737"/>
                  <a:pt x="112712" y="310160"/>
                  <a:pt x="112712" y="307584"/>
                </a:cubicBezTo>
                <a:cubicBezTo>
                  <a:pt x="112712" y="307584"/>
                  <a:pt x="112712" y="307584"/>
                  <a:pt x="112712" y="140091"/>
                </a:cubicBezTo>
                <a:cubicBezTo>
                  <a:pt x="112712" y="137514"/>
                  <a:pt x="115490" y="134937"/>
                  <a:pt x="118269" y="134937"/>
                </a:cubicBezTo>
                <a:close/>
                <a:moveTo>
                  <a:pt x="100013" y="134937"/>
                </a:moveTo>
                <a:cubicBezTo>
                  <a:pt x="102394" y="134937"/>
                  <a:pt x="104775" y="137514"/>
                  <a:pt x="104775" y="140091"/>
                </a:cubicBezTo>
                <a:cubicBezTo>
                  <a:pt x="104775" y="140091"/>
                  <a:pt x="104775" y="140091"/>
                  <a:pt x="104775" y="307584"/>
                </a:cubicBezTo>
                <a:cubicBezTo>
                  <a:pt x="104775" y="310160"/>
                  <a:pt x="102394" y="312737"/>
                  <a:pt x="100013" y="312737"/>
                </a:cubicBezTo>
                <a:cubicBezTo>
                  <a:pt x="97631" y="312737"/>
                  <a:pt x="95250" y="310160"/>
                  <a:pt x="95250" y="307584"/>
                </a:cubicBezTo>
                <a:cubicBezTo>
                  <a:pt x="95250" y="307584"/>
                  <a:pt x="95250" y="307584"/>
                  <a:pt x="95250" y="140091"/>
                </a:cubicBezTo>
                <a:cubicBezTo>
                  <a:pt x="95250" y="137514"/>
                  <a:pt x="97631" y="134937"/>
                  <a:pt x="100013" y="134937"/>
                </a:cubicBezTo>
                <a:close/>
                <a:moveTo>
                  <a:pt x="81757" y="134937"/>
                </a:moveTo>
                <a:cubicBezTo>
                  <a:pt x="85924" y="134937"/>
                  <a:pt x="87313" y="137514"/>
                  <a:pt x="87313" y="140091"/>
                </a:cubicBezTo>
                <a:cubicBezTo>
                  <a:pt x="87313" y="140091"/>
                  <a:pt x="87313" y="140091"/>
                  <a:pt x="87313" y="307584"/>
                </a:cubicBezTo>
                <a:cubicBezTo>
                  <a:pt x="87313" y="310160"/>
                  <a:pt x="85924" y="312737"/>
                  <a:pt x="81757" y="312737"/>
                </a:cubicBezTo>
                <a:cubicBezTo>
                  <a:pt x="78978" y="312737"/>
                  <a:pt x="76200" y="310160"/>
                  <a:pt x="76200" y="307584"/>
                </a:cubicBezTo>
                <a:cubicBezTo>
                  <a:pt x="76200" y="307584"/>
                  <a:pt x="76200" y="307584"/>
                  <a:pt x="76200" y="140091"/>
                </a:cubicBezTo>
                <a:cubicBezTo>
                  <a:pt x="76200" y="137514"/>
                  <a:pt x="78978" y="134937"/>
                  <a:pt x="81757" y="134937"/>
                </a:cubicBezTo>
                <a:close/>
                <a:moveTo>
                  <a:pt x="63676" y="134937"/>
                </a:moveTo>
                <a:cubicBezTo>
                  <a:pt x="67381" y="134937"/>
                  <a:pt x="69850" y="137514"/>
                  <a:pt x="69850" y="140091"/>
                </a:cubicBezTo>
                <a:cubicBezTo>
                  <a:pt x="69850" y="140091"/>
                  <a:pt x="69850" y="140091"/>
                  <a:pt x="69850" y="307584"/>
                </a:cubicBezTo>
                <a:cubicBezTo>
                  <a:pt x="69850" y="310160"/>
                  <a:pt x="67381" y="312737"/>
                  <a:pt x="63676" y="312737"/>
                </a:cubicBezTo>
                <a:cubicBezTo>
                  <a:pt x="61207" y="312737"/>
                  <a:pt x="58737" y="310160"/>
                  <a:pt x="58737" y="307584"/>
                </a:cubicBezTo>
                <a:cubicBezTo>
                  <a:pt x="58737" y="307584"/>
                  <a:pt x="58737" y="307584"/>
                  <a:pt x="58737" y="140091"/>
                </a:cubicBezTo>
                <a:cubicBezTo>
                  <a:pt x="58737" y="137514"/>
                  <a:pt x="61207" y="134937"/>
                  <a:pt x="63676" y="134937"/>
                </a:cubicBezTo>
                <a:close/>
                <a:moveTo>
                  <a:pt x="50800" y="127000"/>
                </a:moveTo>
                <a:lnTo>
                  <a:pt x="50800" y="319088"/>
                </a:lnTo>
                <a:lnTo>
                  <a:pt x="166688" y="319088"/>
                </a:lnTo>
                <a:lnTo>
                  <a:pt x="166688" y="127000"/>
                </a:lnTo>
                <a:close/>
                <a:moveTo>
                  <a:pt x="61912" y="71437"/>
                </a:moveTo>
                <a:lnTo>
                  <a:pt x="61912" y="115887"/>
                </a:lnTo>
                <a:cubicBezTo>
                  <a:pt x="61912" y="115887"/>
                  <a:pt x="61912" y="115887"/>
                  <a:pt x="72319" y="115887"/>
                </a:cubicBezTo>
                <a:cubicBezTo>
                  <a:pt x="72319" y="115887"/>
                  <a:pt x="72319" y="115887"/>
                  <a:pt x="72319" y="79281"/>
                </a:cubicBezTo>
                <a:cubicBezTo>
                  <a:pt x="72319" y="76666"/>
                  <a:pt x="74921" y="74051"/>
                  <a:pt x="77523" y="74051"/>
                </a:cubicBezTo>
                <a:cubicBezTo>
                  <a:pt x="81425" y="74051"/>
                  <a:pt x="84027" y="76666"/>
                  <a:pt x="84027" y="79281"/>
                </a:cubicBezTo>
                <a:cubicBezTo>
                  <a:pt x="84027" y="79281"/>
                  <a:pt x="84027" y="79281"/>
                  <a:pt x="84027" y="115887"/>
                </a:cubicBezTo>
                <a:cubicBezTo>
                  <a:pt x="84027" y="115887"/>
                  <a:pt x="84027" y="115887"/>
                  <a:pt x="93133" y="115887"/>
                </a:cubicBezTo>
                <a:cubicBezTo>
                  <a:pt x="93133" y="115887"/>
                  <a:pt x="93133" y="115887"/>
                  <a:pt x="93133" y="79281"/>
                </a:cubicBezTo>
                <a:cubicBezTo>
                  <a:pt x="93133" y="76666"/>
                  <a:pt x="95735" y="74051"/>
                  <a:pt x="98337" y="74051"/>
                </a:cubicBezTo>
                <a:cubicBezTo>
                  <a:pt x="100938" y="74051"/>
                  <a:pt x="103540" y="76666"/>
                  <a:pt x="103540" y="79281"/>
                </a:cubicBezTo>
                <a:cubicBezTo>
                  <a:pt x="103540" y="79281"/>
                  <a:pt x="103540" y="79281"/>
                  <a:pt x="103540" y="115887"/>
                </a:cubicBezTo>
                <a:cubicBezTo>
                  <a:pt x="103540" y="115887"/>
                  <a:pt x="103540" y="115887"/>
                  <a:pt x="113947" y="115887"/>
                </a:cubicBezTo>
                <a:cubicBezTo>
                  <a:pt x="113947" y="115887"/>
                  <a:pt x="113947" y="115887"/>
                  <a:pt x="113947" y="79281"/>
                </a:cubicBezTo>
                <a:cubicBezTo>
                  <a:pt x="113947" y="76666"/>
                  <a:pt x="116549" y="74051"/>
                  <a:pt x="119151" y="74051"/>
                </a:cubicBezTo>
                <a:cubicBezTo>
                  <a:pt x="121752" y="74051"/>
                  <a:pt x="124354" y="76666"/>
                  <a:pt x="124354" y="79281"/>
                </a:cubicBezTo>
                <a:cubicBezTo>
                  <a:pt x="124354" y="79281"/>
                  <a:pt x="124354" y="79281"/>
                  <a:pt x="124354" y="115887"/>
                </a:cubicBezTo>
                <a:cubicBezTo>
                  <a:pt x="124354" y="115887"/>
                  <a:pt x="124354" y="115887"/>
                  <a:pt x="133460" y="115887"/>
                </a:cubicBezTo>
                <a:cubicBezTo>
                  <a:pt x="133460" y="115887"/>
                  <a:pt x="133460" y="115887"/>
                  <a:pt x="133460" y="79281"/>
                </a:cubicBezTo>
                <a:cubicBezTo>
                  <a:pt x="133460" y="76666"/>
                  <a:pt x="136062" y="74051"/>
                  <a:pt x="139965" y="74051"/>
                </a:cubicBezTo>
                <a:cubicBezTo>
                  <a:pt x="142566" y="74051"/>
                  <a:pt x="145168" y="76666"/>
                  <a:pt x="145168" y="79281"/>
                </a:cubicBezTo>
                <a:cubicBezTo>
                  <a:pt x="145168" y="79281"/>
                  <a:pt x="145168" y="79281"/>
                  <a:pt x="145168" y="115887"/>
                </a:cubicBezTo>
                <a:cubicBezTo>
                  <a:pt x="145168" y="115887"/>
                  <a:pt x="145168" y="115887"/>
                  <a:pt x="155575" y="115887"/>
                </a:cubicBezTo>
                <a:cubicBezTo>
                  <a:pt x="155575" y="115887"/>
                  <a:pt x="155575" y="115887"/>
                  <a:pt x="155575" y="71437"/>
                </a:cubicBezTo>
                <a:cubicBezTo>
                  <a:pt x="155575" y="71437"/>
                  <a:pt x="155575" y="71437"/>
                  <a:pt x="61912" y="71437"/>
                </a:cubicBezTo>
                <a:close/>
                <a:moveTo>
                  <a:pt x="77787" y="26987"/>
                </a:moveTo>
                <a:lnTo>
                  <a:pt x="77787" y="60325"/>
                </a:lnTo>
                <a:cubicBezTo>
                  <a:pt x="77787" y="60325"/>
                  <a:pt x="77787" y="60325"/>
                  <a:pt x="82947" y="60325"/>
                </a:cubicBezTo>
                <a:cubicBezTo>
                  <a:pt x="82947" y="60325"/>
                  <a:pt x="82947" y="60325"/>
                  <a:pt x="82947" y="39809"/>
                </a:cubicBezTo>
                <a:cubicBezTo>
                  <a:pt x="82947" y="37245"/>
                  <a:pt x="85526" y="34680"/>
                  <a:pt x="88106" y="34680"/>
                </a:cubicBezTo>
                <a:cubicBezTo>
                  <a:pt x="91976" y="34680"/>
                  <a:pt x="94555" y="37245"/>
                  <a:pt x="94555" y="39809"/>
                </a:cubicBezTo>
                <a:cubicBezTo>
                  <a:pt x="94555" y="39809"/>
                  <a:pt x="94555" y="39809"/>
                  <a:pt x="94555" y="60325"/>
                </a:cubicBezTo>
                <a:cubicBezTo>
                  <a:pt x="94555" y="60325"/>
                  <a:pt x="94555" y="60325"/>
                  <a:pt x="103584" y="60325"/>
                </a:cubicBezTo>
                <a:cubicBezTo>
                  <a:pt x="103584" y="60325"/>
                  <a:pt x="103584" y="60325"/>
                  <a:pt x="103584" y="39809"/>
                </a:cubicBezTo>
                <a:cubicBezTo>
                  <a:pt x="103584" y="37245"/>
                  <a:pt x="106164" y="34680"/>
                  <a:pt x="108744" y="34680"/>
                </a:cubicBezTo>
                <a:cubicBezTo>
                  <a:pt x="111323" y="34680"/>
                  <a:pt x="113903" y="37245"/>
                  <a:pt x="113903" y="39809"/>
                </a:cubicBezTo>
                <a:cubicBezTo>
                  <a:pt x="113903" y="39809"/>
                  <a:pt x="113903" y="39809"/>
                  <a:pt x="113903" y="60325"/>
                </a:cubicBezTo>
                <a:cubicBezTo>
                  <a:pt x="113903" y="60325"/>
                  <a:pt x="113903" y="60325"/>
                  <a:pt x="122932" y="60325"/>
                </a:cubicBezTo>
                <a:cubicBezTo>
                  <a:pt x="122932" y="60325"/>
                  <a:pt x="122932" y="60325"/>
                  <a:pt x="122932" y="39809"/>
                </a:cubicBezTo>
                <a:cubicBezTo>
                  <a:pt x="122932" y="37245"/>
                  <a:pt x="125512" y="34680"/>
                  <a:pt x="129381" y="34680"/>
                </a:cubicBezTo>
                <a:cubicBezTo>
                  <a:pt x="131961" y="34680"/>
                  <a:pt x="134541" y="37245"/>
                  <a:pt x="134541" y="39809"/>
                </a:cubicBezTo>
                <a:cubicBezTo>
                  <a:pt x="134541" y="39809"/>
                  <a:pt x="134541" y="39809"/>
                  <a:pt x="134541" y="60325"/>
                </a:cubicBezTo>
                <a:cubicBezTo>
                  <a:pt x="134541" y="60325"/>
                  <a:pt x="134541" y="60325"/>
                  <a:pt x="139700" y="60325"/>
                </a:cubicBezTo>
                <a:cubicBezTo>
                  <a:pt x="139700" y="60325"/>
                  <a:pt x="139700" y="60325"/>
                  <a:pt x="139700" y="26987"/>
                </a:cubicBezTo>
                <a:cubicBezTo>
                  <a:pt x="139700" y="26987"/>
                  <a:pt x="139700" y="26987"/>
                  <a:pt x="77787" y="26987"/>
                </a:cubicBezTo>
                <a:close/>
                <a:moveTo>
                  <a:pt x="108744" y="0"/>
                </a:moveTo>
                <a:cubicBezTo>
                  <a:pt x="111333" y="0"/>
                  <a:pt x="113923" y="2579"/>
                  <a:pt x="113923" y="5159"/>
                </a:cubicBezTo>
                <a:cubicBezTo>
                  <a:pt x="113923" y="5159"/>
                  <a:pt x="113923" y="5159"/>
                  <a:pt x="113923" y="16768"/>
                </a:cubicBezTo>
                <a:cubicBezTo>
                  <a:pt x="113923" y="16768"/>
                  <a:pt x="113923" y="16768"/>
                  <a:pt x="144992" y="16768"/>
                </a:cubicBezTo>
                <a:cubicBezTo>
                  <a:pt x="148876" y="16768"/>
                  <a:pt x="151465" y="19347"/>
                  <a:pt x="151465" y="21927"/>
                </a:cubicBezTo>
                <a:cubicBezTo>
                  <a:pt x="151465" y="21927"/>
                  <a:pt x="151465" y="21927"/>
                  <a:pt x="151465" y="60622"/>
                </a:cubicBezTo>
                <a:cubicBezTo>
                  <a:pt x="151465" y="60622"/>
                  <a:pt x="151465" y="60622"/>
                  <a:pt x="160527" y="60622"/>
                </a:cubicBezTo>
                <a:cubicBezTo>
                  <a:pt x="163116" y="60622"/>
                  <a:pt x="165705" y="63202"/>
                  <a:pt x="165705" y="65782"/>
                </a:cubicBezTo>
                <a:cubicBezTo>
                  <a:pt x="165705" y="65782"/>
                  <a:pt x="165705" y="65782"/>
                  <a:pt x="165705" y="116086"/>
                </a:cubicBezTo>
                <a:cubicBezTo>
                  <a:pt x="165705" y="116086"/>
                  <a:pt x="165705" y="116086"/>
                  <a:pt x="172178" y="116086"/>
                </a:cubicBezTo>
                <a:cubicBezTo>
                  <a:pt x="176062" y="116086"/>
                  <a:pt x="178651" y="118665"/>
                  <a:pt x="178651" y="122535"/>
                </a:cubicBezTo>
                <a:cubicBezTo>
                  <a:pt x="178651" y="122535"/>
                  <a:pt x="178651" y="122535"/>
                  <a:pt x="178651" y="318592"/>
                </a:cubicBezTo>
                <a:cubicBezTo>
                  <a:pt x="178651" y="318592"/>
                  <a:pt x="178651" y="318592"/>
                  <a:pt x="212310" y="318592"/>
                </a:cubicBezTo>
                <a:cubicBezTo>
                  <a:pt x="214899" y="318592"/>
                  <a:pt x="217488" y="321171"/>
                  <a:pt x="217488" y="325041"/>
                </a:cubicBezTo>
                <a:cubicBezTo>
                  <a:pt x="217488" y="327621"/>
                  <a:pt x="214899" y="330200"/>
                  <a:pt x="212310" y="330200"/>
                </a:cubicBezTo>
                <a:cubicBezTo>
                  <a:pt x="212310" y="330200"/>
                  <a:pt x="212310" y="330200"/>
                  <a:pt x="5178" y="330200"/>
                </a:cubicBezTo>
                <a:cubicBezTo>
                  <a:pt x="2589" y="330200"/>
                  <a:pt x="0" y="327621"/>
                  <a:pt x="0" y="325041"/>
                </a:cubicBezTo>
                <a:cubicBezTo>
                  <a:pt x="0" y="321171"/>
                  <a:pt x="2589" y="318592"/>
                  <a:pt x="5178" y="318592"/>
                </a:cubicBezTo>
                <a:cubicBezTo>
                  <a:pt x="5178" y="318592"/>
                  <a:pt x="5178" y="318592"/>
                  <a:pt x="38837" y="318592"/>
                </a:cubicBezTo>
                <a:cubicBezTo>
                  <a:pt x="38837" y="318592"/>
                  <a:pt x="38837" y="318592"/>
                  <a:pt x="38837" y="122535"/>
                </a:cubicBezTo>
                <a:cubicBezTo>
                  <a:pt x="38837" y="118665"/>
                  <a:pt x="41426" y="116086"/>
                  <a:pt x="45310" y="116086"/>
                </a:cubicBezTo>
                <a:cubicBezTo>
                  <a:pt x="45310" y="116086"/>
                  <a:pt x="45310" y="116086"/>
                  <a:pt x="51783" y="116086"/>
                </a:cubicBezTo>
                <a:cubicBezTo>
                  <a:pt x="51783" y="116086"/>
                  <a:pt x="51783" y="116086"/>
                  <a:pt x="51783" y="65782"/>
                </a:cubicBezTo>
                <a:cubicBezTo>
                  <a:pt x="51783" y="63202"/>
                  <a:pt x="54372" y="60622"/>
                  <a:pt x="56961" y="60622"/>
                </a:cubicBezTo>
                <a:cubicBezTo>
                  <a:pt x="56961" y="60622"/>
                  <a:pt x="56961" y="60622"/>
                  <a:pt x="66023" y="60622"/>
                </a:cubicBezTo>
                <a:cubicBezTo>
                  <a:pt x="66023" y="60622"/>
                  <a:pt x="66023" y="60622"/>
                  <a:pt x="66023" y="21927"/>
                </a:cubicBezTo>
                <a:cubicBezTo>
                  <a:pt x="66023" y="19347"/>
                  <a:pt x="68613" y="16768"/>
                  <a:pt x="72496" y="16768"/>
                </a:cubicBezTo>
                <a:cubicBezTo>
                  <a:pt x="72496" y="16768"/>
                  <a:pt x="72496" y="16768"/>
                  <a:pt x="103566" y="16768"/>
                </a:cubicBezTo>
                <a:cubicBezTo>
                  <a:pt x="103566" y="16768"/>
                  <a:pt x="103566" y="16768"/>
                  <a:pt x="103566" y="5159"/>
                </a:cubicBezTo>
                <a:cubicBezTo>
                  <a:pt x="103566" y="2579"/>
                  <a:pt x="106155" y="0"/>
                  <a:pt x="10874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4A80B290-7ACE-41C6-8EFC-9C9CBB391ED8}"/>
              </a:ext>
            </a:extLst>
          </p:cNvPr>
          <p:cNvSpPr/>
          <p:nvPr/>
        </p:nvSpPr>
        <p:spPr>
          <a:xfrm>
            <a:off x="2325978" y="5073970"/>
            <a:ext cx="975295" cy="1072828"/>
          </a:xfrm>
          <a:custGeom>
            <a:avLst/>
            <a:gdLst>
              <a:gd name="connsiteX0" fmla="*/ 44609 w 301625"/>
              <a:gd name="connsiteY0" fmla="*/ 242888 h 331788"/>
              <a:gd name="connsiteX1" fmla="*/ 160465 w 301625"/>
              <a:gd name="connsiteY1" fmla="*/ 242888 h 331788"/>
              <a:gd name="connsiteX2" fmla="*/ 168275 w 301625"/>
              <a:gd name="connsiteY2" fmla="*/ 250682 h 331788"/>
              <a:gd name="connsiteX3" fmla="*/ 160465 w 301625"/>
              <a:gd name="connsiteY3" fmla="*/ 257176 h 331788"/>
              <a:gd name="connsiteX4" fmla="*/ 44609 w 301625"/>
              <a:gd name="connsiteY4" fmla="*/ 257176 h 331788"/>
              <a:gd name="connsiteX5" fmla="*/ 38100 w 301625"/>
              <a:gd name="connsiteY5" fmla="*/ 250682 h 331788"/>
              <a:gd name="connsiteX6" fmla="*/ 44609 w 301625"/>
              <a:gd name="connsiteY6" fmla="*/ 242888 h 331788"/>
              <a:gd name="connsiteX7" fmla="*/ 44609 w 301625"/>
              <a:gd name="connsiteY7" fmla="*/ 195263 h 331788"/>
              <a:gd name="connsiteX8" fmla="*/ 160465 w 301625"/>
              <a:gd name="connsiteY8" fmla="*/ 195263 h 331788"/>
              <a:gd name="connsiteX9" fmla="*/ 168275 w 301625"/>
              <a:gd name="connsiteY9" fmla="*/ 202191 h 331788"/>
              <a:gd name="connsiteX10" fmla="*/ 160465 w 301625"/>
              <a:gd name="connsiteY10" fmla="*/ 207963 h 331788"/>
              <a:gd name="connsiteX11" fmla="*/ 44609 w 301625"/>
              <a:gd name="connsiteY11" fmla="*/ 207963 h 331788"/>
              <a:gd name="connsiteX12" fmla="*/ 38100 w 301625"/>
              <a:gd name="connsiteY12" fmla="*/ 202191 h 331788"/>
              <a:gd name="connsiteX13" fmla="*/ 44609 w 301625"/>
              <a:gd name="connsiteY13" fmla="*/ 195263 h 331788"/>
              <a:gd name="connsiteX14" fmla="*/ 44609 w 301625"/>
              <a:gd name="connsiteY14" fmla="*/ 146050 h 331788"/>
              <a:gd name="connsiteX15" fmla="*/ 160465 w 301625"/>
              <a:gd name="connsiteY15" fmla="*/ 146050 h 331788"/>
              <a:gd name="connsiteX16" fmla="*/ 168275 w 301625"/>
              <a:gd name="connsiteY16" fmla="*/ 153844 h 331788"/>
              <a:gd name="connsiteX17" fmla="*/ 160465 w 301625"/>
              <a:gd name="connsiteY17" fmla="*/ 160338 h 331788"/>
              <a:gd name="connsiteX18" fmla="*/ 44609 w 301625"/>
              <a:gd name="connsiteY18" fmla="*/ 160338 h 331788"/>
              <a:gd name="connsiteX19" fmla="*/ 38100 w 301625"/>
              <a:gd name="connsiteY19" fmla="*/ 153844 h 331788"/>
              <a:gd name="connsiteX20" fmla="*/ 44609 w 301625"/>
              <a:gd name="connsiteY20" fmla="*/ 146050 h 331788"/>
              <a:gd name="connsiteX21" fmla="*/ 206375 w 301625"/>
              <a:gd name="connsiteY21" fmla="*/ 125413 h 331788"/>
              <a:gd name="connsiteX22" fmla="*/ 206375 w 301625"/>
              <a:gd name="connsiteY22" fmla="*/ 317501 h 331788"/>
              <a:gd name="connsiteX23" fmla="*/ 287338 w 301625"/>
              <a:gd name="connsiteY23" fmla="*/ 317501 h 331788"/>
              <a:gd name="connsiteX24" fmla="*/ 287338 w 301625"/>
              <a:gd name="connsiteY24" fmla="*/ 125413 h 331788"/>
              <a:gd name="connsiteX25" fmla="*/ 44609 w 301625"/>
              <a:gd name="connsiteY25" fmla="*/ 98425 h 331788"/>
              <a:gd name="connsiteX26" fmla="*/ 160465 w 301625"/>
              <a:gd name="connsiteY26" fmla="*/ 98425 h 331788"/>
              <a:gd name="connsiteX27" fmla="*/ 168275 w 301625"/>
              <a:gd name="connsiteY27" fmla="*/ 104920 h 331788"/>
              <a:gd name="connsiteX28" fmla="*/ 160465 w 301625"/>
              <a:gd name="connsiteY28" fmla="*/ 112713 h 331788"/>
              <a:gd name="connsiteX29" fmla="*/ 44609 w 301625"/>
              <a:gd name="connsiteY29" fmla="*/ 112713 h 331788"/>
              <a:gd name="connsiteX30" fmla="*/ 38100 w 301625"/>
              <a:gd name="connsiteY30" fmla="*/ 104920 h 331788"/>
              <a:gd name="connsiteX31" fmla="*/ 44609 w 301625"/>
              <a:gd name="connsiteY31" fmla="*/ 98425 h 331788"/>
              <a:gd name="connsiteX32" fmla="*/ 44609 w 301625"/>
              <a:gd name="connsiteY32" fmla="*/ 50800 h 331788"/>
              <a:gd name="connsiteX33" fmla="*/ 160465 w 301625"/>
              <a:gd name="connsiteY33" fmla="*/ 50800 h 331788"/>
              <a:gd name="connsiteX34" fmla="*/ 168275 w 301625"/>
              <a:gd name="connsiteY34" fmla="*/ 57295 h 331788"/>
              <a:gd name="connsiteX35" fmla="*/ 160465 w 301625"/>
              <a:gd name="connsiteY35" fmla="*/ 65088 h 331788"/>
              <a:gd name="connsiteX36" fmla="*/ 44609 w 301625"/>
              <a:gd name="connsiteY36" fmla="*/ 65088 h 331788"/>
              <a:gd name="connsiteX37" fmla="*/ 38100 w 301625"/>
              <a:gd name="connsiteY37" fmla="*/ 57295 h 331788"/>
              <a:gd name="connsiteX38" fmla="*/ 44609 w 301625"/>
              <a:gd name="connsiteY38" fmla="*/ 50800 h 331788"/>
              <a:gd name="connsiteX39" fmla="*/ 14287 w 301625"/>
              <a:gd name="connsiteY39" fmla="*/ 14288 h 331788"/>
              <a:gd name="connsiteX40" fmla="*/ 14287 w 301625"/>
              <a:gd name="connsiteY40" fmla="*/ 317501 h 331788"/>
              <a:gd name="connsiteX41" fmla="*/ 192087 w 301625"/>
              <a:gd name="connsiteY41" fmla="*/ 317501 h 331788"/>
              <a:gd name="connsiteX42" fmla="*/ 192087 w 301625"/>
              <a:gd name="connsiteY42" fmla="*/ 14288 h 331788"/>
              <a:gd name="connsiteX43" fmla="*/ 7734 w 301625"/>
              <a:gd name="connsiteY43" fmla="*/ 0 h 331788"/>
              <a:gd name="connsiteX44" fmla="*/ 198506 w 301625"/>
              <a:gd name="connsiteY44" fmla="*/ 0 h 331788"/>
              <a:gd name="connsiteX45" fmla="*/ 206240 w 301625"/>
              <a:gd name="connsiteY45" fmla="*/ 6480 h 331788"/>
              <a:gd name="connsiteX46" fmla="*/ 206240 w 301625"/>
              <a:gd name="connsiteY46" fmla="*/ 112756 h 331788"/>
              <a:gd name="connsiteX47" fmla="*/ 293891 w 301625"/>
              <a:gd name="connsiteY47" fmla="*/ 112756 h 331788"/>
              <a:gd name="connsiteX48" fmla="*/ 301625 w 301625"/>
              <a:gd name="connsiteY48" fmla="*/ 119237 h 331788"/>
              <a:gd name="connsiteX49" fmla="*/ 301625 w 301625"/>
              <a:gd name="connsiteY49" fmla="*/ 325308 h 331788"/>
              <a:gd name="connsiteX50" fmla="*/ 293891 w 301625"/>
              <a:gd name="connsiteY50" fmla="*/ 331788 h 331788"/>
              <a:gd name="connsiteX51" fmla="*/ 7734 w 301625"/>
              <a:gd name="connsiteY51" fmla="*/ 331788 h 331788"/>
              <a:gd name="connsiteX52" fmla="*/ 0 w 301625"/>
              <a:gd name="connsiteY52" fmla="*/ 325308 h 331788"/>
              <a:gd name="connsiteX53" fmla="*/ 0 w 301625"/>
              <a:gd name="connsiteY53" fmla="*/ 6480 h 331788"/>
              <a:gd name="connsiteX54" fmla="*/ 7734 w 301625"/>
              <a:gd name="connsiteY54" fmla="*/ 0 h 33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301625" h="331788">
                <a:moveTo>
                  <a:pt x="44609" y="242888"/>
                </a:moveTo>
                <a:cubicBezTo>
                  <a:pt x="160465" y="242888"/>
                  <a:pt x="160465" y="242888"/>
                  <a:pt x="160465" y="242888"/>
                </a:cubicBezTo>
                <a:cubicBezTo>
                  <a:pt x="164370" y="242888"/>
                  <a:pt x="168275" y="246785"/>
                  <a:pt x="168275" y="250682"/>
                </a:cubicBezTo>
                <a:cubicBezTo>
                  <a:pt x="168275" y="254578"/>
                  <a:pt x="164370" y="257176"/>
                  <a:pt x="160465" y="257176"/>
                </a:cubicBezTo>
                <a:cubicBezTo>
                  <a:pt x="44609" y="257176"/>
                  <a:pt x="44609" y="257176"/>
                  <a:pt x="44609" y="257176"/>
                </a:cubicBezTo>
                <a:cubicBezTo>
                  <a:pt x="40704" y="257176"/>
                  <a:pt x="38100" y="254578"/>
                  <a:pt x="38100" y="250682"/>
                </a:cubicBezTo>
                <a:cubicBezTo>
                  <a:pt x="38100" y="246785"/>
                  <a:pt x="40704" y="242888"/>
                  <a:pt x="44609" y="242888"/>
                </a:cubicBezTo>
                <a:close/>
                <a:moveTo>
                  <a:pt x="44609" y="195263"/>
                </a:moveTo>
                <a:cubicBezTo>
                  <a:pt x="160465" y="195263"/>
                  <a:pt x="160465" y="195263"/>
                  <a:pt x="160465" y="195263"/>
                </a:cubicBezTo>
                <a:cubicBezTo>
                  <a:pt x="164370" y="195263"/>
                  <a:pt x="168275" y="198727"/>
                  <a:pt x="168275" y="202191"/>
                </a:cubicBezTo>
                <a:cubicBezTo>
                  <a:pt x="168275" y="205654"/>
                  <a:pt x="164370" y="207963"/>
                  <a:pt x="160465" y="207963"/>
                </a:cubicBezTo>
                <a:cubicBezTo>
                  <a:pt x="44609" y="207963"/>
                  <a:pt x="44609" y="207963"/>
                  <a:pt x="44609" y="207963"/>
                </a:cubicBezTo>
                <a:cubicBezTo>
                  <a:pt x="40704" y="207963"/>
                  <a:pt x="38100" y="205654"/>
                  <a:pt x="38100" y="202191"/>
                </a:cubicBezTo>
                <a:cubicBezTo>
                  <a:pt x="38100" y="198727"/>
                  <a:pt x="40704" y="195263"/>
                  <a:pt x="44609" y="195263"/>
                </a:cubicBezTo>
                <a:close/>
                <a:moveTo>
                  <a:pt x="44609" y="146050"/>
                </a:moveTo>
                <a:cubicBezTo>
                  <a:pt x="160465" y="146050"/>
                  <a:pt x="160465" y="146050"/>
                  <a:pt x="160465" y="146050"/>
                </a:cubicBezTo>
                <a:cubicBezTo>
                  <a:pt x="164370" y="146050"/>
                  <a:pt x="168275" y="149947"/>
                  <a:pt x="168275" y="153844"/>
                </a:cubicBezTo>
                <a:cubicBezTo>
                  <a:pt x="168275" y="157740"/>
                  <a:pt x="164370" y="160338"/>
                  <a:pt x="160465" y="160338"/>
                </a:cubicBezTo>
                <a:cubicBezTo>
                  <a:pt x="44609" y="160338"/>
                  <a:pt x="44609" y="160338"/>
                  <a:pt x="44609" y="160338"/>
                </a:cubicBezTo>
                <a:cubicBezTo>
                  <a:pt x="40704" y="160338"/>
                  <a:pt x="38100" y="157740"/>
                  <a:pt x="38100" y="153844"/>
                </a:cubicBezTo>
                <a:cubicBezTo>
                  <a:pt x="38100" y="149947"/>
                  <a:pt x="40704" y="146050"/>
                  <a:pt x="44609" y="146050"/>
                </a:cubicBezTo>
                <a:close/>
                <a:moveTo>
                  <a:pt x="206375" y="125413"/>
                </a:moveTo>
                <a:lnTo>
                  <a:pt x="206375" y="317501"/>
                </a:lnTo>
                <a:lnTo>
                  <a:pt x="287338" y="317501"/>
                </a:lnTo>
                <a:lnTo>
                  <a:pt x="287338" y="125413"/>
                </a:lnTo>
                <a:close/>
                <a:moveTo>
                  <a:pt x="44609" y="98425"/>
                </a:moveTo>
                <a:cubicBezTo>
                  <a:pt x="160465" y="98425"/>
                  <a:pt x="160465" y="98425"/>
                  <a:pt x="160465" y="98425"/>
                </a:cubicBezTo>
                <a:cubicBezTo>
                  <a:pt x="164370" y="98425"/>
                  <a:pt x="168275" y="101023"/>
                  <a:pt x="168275" y="104920"/>
                </a:cubicBezTo>
                <a:cubicBezTo>
                  <a:pt x="168275" y="108817"/>
                  <a:pt x="164370" y="112713"/>
                  <a:pt x="160465" y="112713"/>
                </a:cubicBezTo>
                <a:cubicBezTo>
                  <a:pt x="44609" y="112713"/>
                  <a:pt x="44609" y="112713"/>
                  <a:pt x="44609" y="112713"/>
                </a:cubicBezTo>
                <a:cubicBezTo>
                  <a:pt x="40704" y="112713"/>
                  <a:pt x="38100" y="108817"/>
                  <a:pt x="38100" y="104920"/>
                </a:cubicBezTo>
                <a:cubicBezTo>
                  <a:pt x="38100" y="101023"/>
                  <a:pt x="40704" y="98425"/>
                  <a:pt x="44609" y="98425"/>
                </a:cubicBezTo>
                <a:close/>
                <a:moveTo>
                  <a:pt x="44609" y="50800"/>
                </a:moveTo>
                <a:cubicBezTo>
                  <a:pt x="160465" y="50800"/>
                  <a:pt x="160465" y="50800"/>
                  <a:pt x="160465" y="50800"/>
                </a:cubicBezTo>
                <a:cubicBezTo>
                  <a:pt x="164370" y="50800"/>
                  <a:pt x="168275" y="53398"/>
                  <a:pt x="168275" y="57295"/>
                </a:cubicBezTo>
                <a:cubicBezTo>
                  <a:pt x="168275" y="61192"/>
                  <a:pt x="164370" y="65088"/>
                  <a:pt x="160465" y="65088"/>
                </a:cubicBezTo>
                <a:cubicBezTo>
                  <a:pt x="44609" y="65088"/>
                  <a:pt x="44609" y="65088"/>
                  <a:pt x="44609" y="65088"/>
                </a:cubicBezTo>
                <a:cubicBezTo>
                  <a:pt x="40704" y="65088"/>
                  <a:pt x="38100" y="61192"/>
                  <a:pt x="38100" y="57295"/>
                </a:cubicBezTo>
                <a:cubicBezTo>
                  <a:pt x="38100" y="53398"/>
                  <a:pt x="40704" y="50800"/>
                  <a:pt x="44609" y="50800"/>
                </a:cubicBezTo>
                <a:close/>
                <a:moveTo>
                  <a:pt x="14287" y="14288"/>
                </a:moveTo>
                <a:lnTo>
                  <a:pt x="14287" y="317501"/>
                </a:lnTo>
                <a:lnTo>
                  <a:pt x="192087" y="317501"/>
                </a:lnTo>
                <a:lnTo>
                  <a:pt x="192087" y="14288"/>
                </a:lnTo>
                <a:close/>
                <a:moveTo>
                  <a:pt x="7734" y="0"/>
                </a:moveTo>
                <a:cubicBezTo>
                  <a:pt x="198506" y="0"/>
                  <a:pt x="198506" y="0"/>
                  <a:pt x="198506" y="0"/>
                </a:cubicBezTo>
                <a:cubicBezTo>
                  <a:pt x="202373" y="0"/>
                  <a:pt x="206240" y="2592"/>
                  <a:pt x="206240" y="6480"/>
                </a:cubicBezTo>
                <a:cubicBezTo>
                  <a:pt x="206240" y="112756"/>
                  <a:pt x="206240" y="112756"/>
                  <a:pt x="206240" y="112756"/>
                </a:cubicBezTo>
                <a:cubicBezTo>
                  <a:pt x="293891" y="112756"/>
                  <a:pt x="293891" y="112756"/>
                  <a:pt x="293891" y="112756"/>
                </a:cubicBezTo>
                <a:cubicBezTo>
                  <a:pt x="297758" y="112756"/>
                  <a:pt x="301625" y="115348"/>
                  <a:pt x="301625" y="119237"/>
                </a:cubicBezTo>
                <a:cubicBezTo>
                  <a:pt x="301625" y="325308"/>
                  <a:pt x="301625" y="325308"/>
                  <a:pt x="301625" y="325308"/>
                </a:cubicBezTo>
                <a:cubicBezTo>
                  <a:pt x="301625" y="329196"/>
                  <a:pt x="297758" y="331788"/>
                  <a:pt x="293891" y="331788"/>
                </a:cubicBezTo>
                <a:cubicBezTo>
                  <a:pt x="7734" y="331788"/>
                  <a:pt x="7734" y="331788"/>
                  <a:pt x="7734" y="331788"/>
                </a:cubicBezTo>
                <a:cubicBezTo>
                  <a:pt x="3867" y="331788"/>
                  <a:pt x="0" y="329196"/>
                  <a:pt x="0" y="325308"/>
                </a:cubicBezTo>
                <a:cubicBezTo>
                  <a:pt x="0" y="6480"/>
                  <a:pt x="0" y="6480"/>
                  <a:pt x="0" y="6480"/>
                </a:cubicBezTo>
                <a:cubicBezTo>
                  <a:pt x="0" y="2592"/>
                  <a:pt x="3867" y="0"/>
                  <a:pt x="773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53DC61E5-EC66-4157-B326-3CBF905B2FBB}"/>
              </a:ext>
            </a:extLst>
          </p:cNvPr>
          <p:cNvSpPr/>
          <p:nvPr/>
        </p:nvSpPr>
        <p:spPr>
          <a:xfrm>
            <a:off x="1698140" y="5336982"/>
            <a:ext cx="569584" cy="809818"/>
          </a:xfrm>
          <a:custGeom>
            <a:avLst/>
            <a:gdLst>
              <a:gd name="connsiteX0" fmla="*/ 166687 w 233363"/>
              <a:gd name="connsiteY0" fmla="*/ 282575 h 331788"/>
              <a:gd name="connsiteX1" fmla="*/ 166687 w 233363"/>
              <a:gd name="connsiteY1" fmla="*/ 293688 h 331788"/>
              <a:gd name="connsiteX2" fmla="*/ 190500 w 233363"/>
              <a:gd name="connsiteY2" fmla="*/ 293688 h 331788"/>
              <a:gd name="connsiteX3" fmla="*/ 190500 w 233363"/>
              <a:gd name="connsiteY3" fmla="*/ 282575 h 331788"/>
              <a:gd name="connsiteX4" fmla="*/ 104775 w 233363"/>
              <a:gd name="connsiteY4" fmla="*/ 282575 h 331788"/>
              <a:gd name="connsiteX5" fmla="*/ 104775 w 233363"/>
              <a:gd name="connsiteY5" fmla="*/ 319088 h 331788"/>
              <a:gd name="connsiteX6" fmla="*/ 130175 w 233363"/>
              <a:gd name="connsiteY6" fmla="*/ 319088 h 331788"/>
              <a:gd name="connsiteX7" fmla="*/ 130175 w 233363"/>
              <a:gd name="connsiteY7" fmla="*/ 282575 h 331788"/>
              <a:gd name="connsiteX8" fmla="*/ 42862 w 233363"/>
              <a:gd name="connsiteY8" fmla="*/ 282575 h 331788"/>
              <a:gd name="connsiteX9" fmla="*/ 42862 w 233363"/>
              <a:gd name="connsiteY9" fmla="*/ 293688 h 331788"/>
              <a:gd name="connsiteX10" fmla="*/ 68262 w 233363"/>
              <a:gd name="connsiteY10" fmla="*/ 293688 h 331788"/>
              <a:gd name="connsiteX11" fmla="*/ 68262 w 233363"/>
              <a:gd name="connsiteY11" fmla="*/ 282575 h 331788"/>
              <a:gd name="connsiteX12" fmla="*/ 159167 w 233363"/>
              <a:gd name="connsiteY12" fmla="*/ 269875 h 331788"/>
              <a:gd name="connsiteX13" fmla="*/ 196725 w 233363"/>
              <a:gd name="connsiteY13" fmla="*/ 269875 h 331788"/>
              <a:gd name="connsiteX14" fmla="*/ 203200 w 233363"/>
              <a:gd name="connsiteY14" fmla="*/ 275091 h 331788"/>
              <a:gd name="connsiteX15" fmla="*/ 203200 w 233363"/>
              <a:gd name="connsiteY15" fmla="*/ 299868 h 331788"/>
              <a:gd name="connsiteX16" fmla="*/ 196725 w 233363"/>
              <a:gd name="connsiteY16" fmla="*/ 306388 h 331788"/>
              <a:gd name="connsiteX17" fmla="*/ 159167 w 233363"/>
              <a:gd name="connsiteY17" fmla="*/ 306388 h 331788"/>
              <a:gd name="connsiteX18" fmla="*/ 153987 w 233363"/>
              <a:gd name="connsiteY18" fmla="*/ 299868 h 331788"/>
              <a:gd name="connsiteX19" fmla="*/ 153987 w 233363"/>
              <a:gd name="connsiteY19" fmla="*/ 275091 h 331788"/>
              <a:gd name="connsiteX20" fmla="*/ 159167 w 233363"/>
              <a:gd name="connsiteY20" fmla="*/ 269875 h 331788"/>
              <a:gd name="connsiteX21" fmla="*/ 38225 w 233363"/>
              <a:gd name="connsiteY21" fmla="*/ 269875 h 331788"/>
              <a:gd name="connsiteX22" fmla="*/ 74487 w 233363"/>
              <a:gd name="connsiteY22" fmla="*/ 269875 h 331788"/>
              <a:gd name="connsiteX23" fmla="*/ 80963 w 233363"/>
              <a:gd name="connsiteY23" fmla="*/ 275091 h 331788"/>
              <a:gd name="connsiteX24" fmla="*/ 80963 w 233363"/>
              <a:gd name="connsiteY24" fmla="*/ 299868 h 331788"/>
              <a:gd name="connsiteX25" fmla="*/ 74487 w 233363"/>
              <a:gd name="connsiteY25" fmla="*/ 306388 h 331788"/>
              <a:gd name="connsiteX26" fmla="*/ 38225 w 233363"/>
              <a:gd name="connsiteY26" fmla="*/ 306388 h 331788"/>
              <a:gd name="connsiteX27" fmla="*/ 31750 w 233363"/>
              <a:gd name="connsiteY27" fmla="*/ 299868 h 331788"/>
              <a:gd name="connsiteX28" fmla="*/ 31750 w 233363"/>
              <a:gd name="connsiteY28" fmla="*/ 275091 h 331788"/>
              <a:gd name="connsiteX29" fmla="*/ 38225 w 233363"/>
              <a:gd name="connsiteY29" fmla="*/ 269875 h 331788"/>
              <a:gd name="connsiteX30" fmla="*/ 166687 w 233363"/>
              <a:gd name="connsiteY30" fmla="*/ 233362 h 331788"/>
              <a:gd name="connsiteX31" fmla="*/ 166687 w 233363"/>
              <a:gd name="connsiteY31" fmla="*/ 246062 h 331788"/>
              <a:gd name="connsiteX32" fmla="*/ 190500 w 233363"/>
              <a:gd name="connsiteY32" fmla="*/ 246062 h 331788"/>
              <a:gd name="connsiteX33" fmla="*/ 190500 w 233363"/>
              <a:gd name="connsiteY33" fmla="*/ 233362 h 331788"/>
              <a:gd name="connsiteX34" fmla="*/ 104775 w 233363"/>
              <a:gd name="connsiteY34" fmla="*/ 233362 h 331788"/>
              <a:gd name="connsiteX35" fmla="*/ 104775 w 233363"/>
              <a:gd name="connsiteY35" fmla="*/ 246062 h 331788"/>
              <a:gd name="connsiteX36" fmla="*/ 130175 w 233363"/>
              <a:gd name="connsiteY36" fmla="*/ 246062 h 331788"/>
              <a:gd name="connsiteX37" fmla="*/ 130175 w 233363"/>
              <a:gd name="connsiteY37" fmla="*/ 233362 h 331788"/>
              <a:gd name="connsiteX38" fmla="*/ 42862 w 233363"/>
              <a:gd name="connsiteY38" fmla="*/ 233362 h 331788"/>
              <a:gd name="connsiteX39" fmla="*/ 42862 w 233363"/>
              <a:gd name="connsiteY39" fmla="*/ 246062 h 331788"/>
              <a:gd name="connsiteX40" fmla="*/ 68262 w 233363"/>
              <a:gd name="connsiteY40" fmla="*/ 246062 h 331788"/>
              <a:gd name="connsiteX41" fmla="*/ 68262 w 233363"/>
              <a:gd name="connsiteY41" fmla="*/ 233362 h 331788"/>
              <a:gd name="connsiteX42" fmla="*/ 159167 w 233363"/>
              <a:gd name="connsiteY42" fmla="*/ 220662 h 331788"/>
              <a:gd name="connsiteX43" fmla="*/ 196725 w 233363"/>
              <a:gd name="connsiteY43" fmla="*/ 220662 h 331788"/>
              <a:gd name="connsiteX44" fmla="*/ 203200 w 233363"/>
              <a:gd name="connsiteY44" fmla="*/ 227182 h 331788"/>
              <a:gd name="connsiteX45" fmla="*/ 203200 w 233363"/>
              <a:gd name="connsiteY45" fmla="*/ 250655 h 331788"/>
              <a:gd name="connsiteX46" fmla="*/ 196725 w 233363"/>
              <a:gd name="connsiteY46" fmla="*/ 257175 h 331788"/>
              <a:gd name="connsiteX47" fmla="*/ 159167 w 233363"/>
              <a:gd name="connsiteY47" fmla="*/ 257175 h 331788"/>
              <a:gd name="connsiteX48" fmla="*/ 153987 w 233363"/>
              <a:gd name="connsiteY48" fmla="*/ 250655 h 331788"/>
              <a:gd name="connsiteX49" fmla="*/ 153987 w 233363"/>
              <a:gd name="connsiteY49" fmla="*/ 227182 h 331788"/>
              <a:gd name="connsiteX50" fmla="*/ 159167 w 233363"/>
              <a:gd name="connsiteY50" fmla="*/ 220662 h 331788"/>
              <a:gd name="connsiteX51" fmla="*/ 98550 w 233363"/>
              <a:gd name="connsiteY51" fmla="*/ 220662 h 331788"/>
              <a:gd name="connsiteX52" fmla="*/ 134812 w 233363"/>
              <a:gd name="connsiteY52" fmla="*/ 220662 h 331788"/>
              <a:gd name="connsiteX53" fmla="*/ 141288 w 233363"/>
              <a:gd name="connsiteY53" fmla="*/ 227182 h 331788"/>
              <a:gd name="connsiteX54" fmla="*/ 141288 w 233363"/>
              <a:gd name="connsiteY54" fmla="*/ 250655 h 331788"/>
              <a:gd name="connsiteX55" fmla="*/ 134812 w 233363"/>
              <a:gd name="connsiteY55" fmla="*/ 257175 h 331788"/>
              <a:gd name="connsiteX56" fmla="*/ 98550 w 233363"/>
              <a:gd name="connsiteY56" fmla="*/ 257175 h 331788"/>
              <a:gd name="connsiteX57" fmla="*/ 92075 w 233363"/>
              <a:gd name="connsiteY57" fmla="*/ 250655 h 331788"/>
              <a:gd name="connsiteX58" fmla="*/ 92075 w 233363"/>
              <a:gd name="connsiteY58" fmla="*/ 227182 h 331788"/>
              <a:gd name="connsiteX59" fmla="*/ 98550 w 233363"/>
              <a:gd name="connsiteY59" fmla="*/ 220662 h 331788"/>
              <a:gd name="connsiteX60" fmla="*/ 38225 w 233363"/>
              <a:gd name="connsiteY60" fmla="*/ 220662 h 331788"/>
              <a:gd name="connsiteX61" fmla="*/ 74487 w 233363"/>
              <a:gd name="connsiteY61" fmla="*/ 220662 h 331788"/>
              <a:gd name="connsiteX62" fmla="*/ 80963 w 233363"/>
              <a:gd name="connsiteY62" fmla="*/ 227182 h 331788"/>
              <a:gd name="connsiteX63" fmla="*/ 80963 w 233363"/>
              <a:gd name="connsiteY63" fmla="*/ 250655 h 331788"/>
              <a:gd name="connsiteX64" fmla="*/ 74487 w 233363"/>
              <a:gd name="connsiteY64" fmla="*/ 257175 h 331788"/>
              <a:gd name="connsiteX65" fmla="*/ 38225 w 233363"/>
              <a:gd name="connsiteY65" fmla="*/ 257175 h 331788"/>
              <a:gd name="connsiteX66" fmla="*/ 31750 w 233363"/>
              <a:gd name="connsiteY66" fmla="*/ 250655 h 331788"/>
              <a:gd name="connsiteX67" fmla="*/ 31750 w 233363"/>
              <a:gd name="connsiteY67" fmla="*/ 227182 h 331788"/>
              <a:gd name="connsiteX68" fmla="*/ 38225 w 233363"/>
              <a:gd name="connsiteY68" fmla="*/ 220662 h 331788"/>
              <a:gd name="connsiteX69" fmla="*/ 166687 w 233363"/>
              <a:gd name="connsiteY69" fmla="*/ 184149 h 331788"/>
              <a:gd name="connsiteX70" fmla="*/ 166687 w 233363"/>
              <a:gd name="connsiteY70" fmla="*/ 196849 h 331788"/>
              <a:gd name="connsiteX71" fmla="*/ 190500 w 233363"/>
              <a:gd name="connsiteY71" fmla="*/ 196849 h 331788"/>
              <a:gd name="connsiteX72" fmla="*/ 190500 w 233363"/>
              <a:gd name="connsiteY72" fmla="*/ 184149 h 331788"/>
              <a:gd name="connsiteX73" fmla="*/ 104775 w 233363"/>
              <a:gd name="connsiteY73" fmla="*/ 184149 h 331788"/>
              <a:gd name="connsiteX74" fmla="*/ 104775 w 233363"/>
              <a:gd name="connsiteY74" fmla="*/ 196849 h 331788"/>
              <a:gd name="connsiteX75" fmla="*/ 130175 w 233363"/>
              <a:gd name="connsiteY75" fmla="*/ 196849 h 331788"/>
              <a:gd name="connsiteX76" fmla="*/ 130175 w 233363"/>
              <a:gd name="connsiteY76" fmla="*/ 184149 h 331788"/>
              <a:gd name="connsiteX77" fmla="*/ 42862 w 233363"/>
              <a:gd name="connsiteY77" fmla="*/ 184149 h 331788"/>
              <a:gd name="connsiteX78" fmla="*/ 42862 w 233363"/>
              <a:gd name="connsiteY78" fmla="*/ 196849 h 331788"/>
              <a:gd name="connsiteX79" fmla="*/ 68262 w 233363"/>
              <a:gd name="connsiteY79" fmla="*/ 196849 h 331788"/>
              <a:gd name="connsiteX80" fmla="*/ 68262 w 233363"/>
              <a:gd name="connsiteY80" fmla="*/ 184149 h 331788"/>
              <a:gd name="connsiteX81" fmla="*/ 38225 w 233363"/>
              <a:gd name="connsiteY81" fmla="*/ 171450 h 331788"/>
              <a:gd name="connsiteX82" fmla="*/ 74487 w 233363"/>
              <a:gd name="connsiteY82" fmla="*/ 171450 h 331788"/>
              <a:gd name="connsiteX83" fmla="*/ 80963 w 233363"/>
              <a:gd name="connsiteY83" fmla="*/ 177970 h 331788"/>
              <a:gd name="connsiteX84" fmla="*/ 80963 w 233363"/>
              <a:gd name="connsiteY84" fmla="*/ 201443 h 331788"/>
              <a:gd name="connsiteX85" fmla="*/ 74487 w 233363"/>
              <a:gd name="connsiteY85" fmla="*/ 207963 h 331788"/>
              <a:gd name="connsiteX86" fmla="*/ 38225 w 233363"/>
              <a:gd name="connsiteY86" fmla="*/ 207963 h 331788"/>
              <a:gd name="connsiteX87" fmla="*/ 31750 w 233363"/>
              <a:gd name="connsiteY87" fmla="*/ 201443 h 331788"/>
              <a:gd name="connsiteX88" fmla="*/ 31750 w 233363"/>
              <a:gd name="connsiteY88" fmla="*/ 177970 h 331788"/>
              <a:gd name="connsiteX89" fmla="*/ 38225 w 233363"/>
              <a:gd name="connsiteY89" fmla="*/ 171450 h 331788"/>
              <a:gd name="connsiteX90" fmla="*/ 159167 w 233363"/>
              <a:gd name="connsiteY90" fmla="*/ 171449 h 331788"/>
              <a:gd name="connsiteX91" fmla="*/ 196725 w 233363"/>
              <a:gd name="connsiteY91" fmla="*/ 171449 h 331788"/>
              <a:gd name="connsiteX92" fmla="*/ 203200 w 233363"/>
              <a:gd name="connsiteY92" fmla="*/ 177969 h 331788"/>
              <a:gd name="connsiteX93" fmla="*/ 203200 w 233363"/>
              <a:gd name="connsiteY93" fmla="*/ 201442 h 331788"/>
              <a:gd name="connsiteX94" fmla="*/ 196725 w 233363"/>
              <a:gd name="connsiteY94" fmla="*/ 207962 h 331788"/>
              <a:gd name="connsiteX95" fmla="*/ 159167 w 233363"/>
              <a:gd name="connsiteY95" fmla="*/ 207962 h 331788"/>
              <a:gd name="connsiteX96" fmla="*/ 153987 w 233363"/>
              <a:gd name="connsiteY96" fmla="*/ 201442 h 331788"/>
              <a:gd name="connsiteX97" fmla="*/ 153987 w 233363"/>
              <a:gd name="connsiteY97" fmla="*/ 177969 h 331788"/>
              <a:gd name="connsiteX98" fmla="*/ 159167 w 233363"/>
              <a:gd name="connsiteY98" fmla="*/ 171449 h 331788"/>
              <a:gd name="connsiteX99" fmla="*/ 98550 w 233363"/>
              <a:gd name="connsiteY99" fmla="*/ 171449 h 331788"/>
              <a:gd name="connsiteX100" fmla="*/ 134812 w 233363"/>
              <a:gd name="connsiteY100" fmla="*/ 171449 h 331788"/>
              <a:gd name="connsiteX101" fmla="*/ 141288 w 233363"/>
              <a:gd name="connsiteY101" fmla="*/ 177969 h 331788"/>
              <a:gd name="connsiteX102" fmla="*/ 141288 w 233363"/>
              <a:gd name="connsiteY102" fmla="*/ 201442 h 331788"/>
              <a:gd name="connsiteX103" fmla="*/ 134812 w 233363"/>
              <a:gd name="connsiteY103" fmla="*/ 207962 h 331788"/>
              <a:gd name="connsiteX104" fmla="*/ 98550 w 233363"/>
              <a:gd name="connsiteY104" fmla="*/ 207962 h 331788"/>
              <a:gd name="connsiteX105" fmla="*/ 92075 w 233363"/>
              <a:gd name="connsiteY105" fmla="*/ 201442 h 331788"/>
              <a:gd name="connsiteX106" fmla="*/ 92075 w 233363"/>
              <a:gd name="connsiteY106" fmla="*/ 177969 h 331788"/>
              <a:gd name="connsiteX107" fmla="*/ 98550 w 233363"/>
              <a:gd name="connsiteY107" fmla="*/ 171449 h 331788"/>
              <a:gd name="connsiteX108" fmla="*/ 166687 w 233363"/>
              <a:gd name="connsiteY108" fmla="*/ 134937 h 331788"/>
              <a:gd name="connsiteX109" fmla="*/ 166687 w 233363"/>
              <a:gd name="connsiteY109" fmla="*/ 147637 h 331788"/>
              <a:gd name="connsiteX110" fmla="*/ 190500 w 233363"/>
              <a:gd name="connsiteY110" fmla="*/ 147637 h 331788"/>
              <a:gd name="connsiteX111" fmla="*/ 190500 w 233363"/>
              <a:gd name="connsiteY111" fmla="*/ 134937 h 331788"/>
              <a:gd name="connsiteX112" fmla="*/ 104775 w 233363"/>
              <a:gd name="connsiteY112" fmla="*/ 134937 h 331788"/>
              <a:gd name="connsiteX113" fmla="*/ 104775 w 233363"/>
              <a:gd name="connsiteY113" fmla="*/ 147637 h 331788"/>
              <a:gd name="connsiteX114" fmla="*/ 130175 w 233363"/>
              <a:gd name="connsiteY114" fmla="*/ 147637 h 331788"/>
              <a:gd name="connsiteX115" fmla="*/ 130175 w 233363"/>
              <a:gd name="connsiteY115" fmla="*/ 134937 h 331788"/>
              <a:gd name="connsiteX116" fmla="*/ 42862 w 233363"/>
              <a:gd name="connsiteY116" fmla="*/ 134937 h 331788"/>
              <a:gd name="connsiteX117" fmla="*/ 42862 w 233363"/>
              <a:gd name="connsiteY117" fmla="*/ 147637 h 331788"/>
              <a:gd name="connsiteX118" fmla="*/ 68262 w 233363"/>
              <a:gd name="connsiteY118" fmla="*/ 147637 h 331788"/>
              <a:gd name="connsiteX119" fmla="*/ 68262 w 233363"/>
              <a:gd name="connsiteY119" fmla="*/ 134937 h 331788"/>
              <a:gd name="connsiteX120" fmla="*/ 159167 w 233363"/>
              <a:gd name="connsiteY120" fmla="*/ 122237 h 331788"/>
              <a:gd name="connsiteX121" fmla="*/ 196725 w 233363"/>
              <a:gd name="connsiteY121" fmla="*/ 122237 h 331788"/>
              <a:gd name="connsiteX122" fmla="*/ 203200 w 233363"/>
              <a:gd name="connsiteY122" fmla="*/ 128757 h 331788"/>
              <a:gd name="connsiteX123" fmla="*/ 203200 w 233363"/>
              <a:gd name="connsiteY123" fmla="*/ 153534 h 331788"/>
              <a:gd name="connsiteX124" fmla="*/ 196725 w 233363"/>
              <a:gd name="connsiteY124" fmla="*/ 158750 h 331788"/>
              <a:gd name="connsiteX125" fmla="*/ 159167 w 233363"/>
              <a:gd name="connsiteY125" fmla="*/ 158750 h 331788"/>
              <a:gd name="connsiteX126" fmla="*/ 153987 w 233363"/>
              <a:gd name="connsiteY126" fmla="*/ 153534 h 331788"/>
              <a:gd name="connsiteX127" fmla="*/ 153987 w 233363"/>
              <a:gd name="connsiteY127" fmla="*/ 128757 h 331788"/>
              <a:gd name="connsiteX128" fmla="*/ 159167 w 233363"/>
              <a:gd name="connsiteY128" fmla="*/ 122237 h 331788"/>
              <a:gd name="connsiteX129" fmla="*/ 98550 w 233363"/>
              <a:gd name="connsiteY129" fmla="*/ 122237 h 331788"/>
              <a:gd name="connsiteX130" fmla="*/ 134812 w 233363"/>
              <a:gd name="connsiteY130" fmla="*/ 122237 h 331788"/>
              <a:gd name="connsiteX131" fmla="*/ 141288 w 233363"/>
              <a:gd name="connsiteY131" fmla="*/ 128757 h 331788"/>
              <a:gd name="connsiteX132" fmla="*/ 141288 w 233363"/>
              <a:gd name="connsiteY132" fmla="*/ 153534 h 331788"/>
              <a:gd name="connsiteX133" fmla="*/ 134812 w 233363"/>
              <a:gd name="connsiteY133" fmla="*/ 158750 h 331788"/>
              <a:gd name="connsiteX134" fmla="*/ 98550 w 233363"/>
              <a:gd name="connsiteY134" fmla="*/ 158750 h 331788"/>
              <a:gd name="connsiteX135" fmla="*/ 92075 w 233363"/>
              <a:gd name="connsiteY135" fmla="*/ 153534 h 331788"/>
              <a:gd name="connsiteX136" fmla="*/ 92075 w 233363"/>
              <a:gd name="connsiteY136" fmla="*/ 128757 h 331788"/>
              <a:gd name="connsiteX137" fmla="*/ 98550 w 233363"/>
              <a:gd name="connsiteY137" fmla="*/ 122237 h 331788"/>
              <a:gd name="connsiteX138" fmla="*/ 38225 w 233363"/>
              <a:gd name="connsiteY138" fmla="*/ 122237 h 331788"/>
              <a:gd name="connsiteX139" fmla="*/ 74487 w 233363"/>
              <a:gd name="connsiteY139" fmla="*/ 122237 h 331788"/>
              <a:gd name="connsiteX140" fmla="*/ 80963 w 233363"/>
              <a:gd name="connsiteY140" fmla="*/ 128757 h 331788"/>
              <a:gd name="connsiteX141" fmla="*/ 80963 w 233363"/>
              <a:gd name="connsiteY141" fmla="*/ 153534 h 331788"/>
              <a:gd name="connsiteX142" fmla="*/ 74487 w 233363"/>
              <a:gd name="connsiteY142" fmla="*/ 158750 h 331788"/>
              <a:gd name="connsiteX143" fmla="*/ 38225 w 233363"/>
              <a:gd name="connsiteY143" fmla="*/ 158750 h 331788"/>
              <a:gd name="connsiteX144" fmla="*/ 31750 w 233363"/>
              <a:gd name="connsiteY144" fmla="*/ 153534 h 331788"/>
              <a:gd name="connsiteX145" fmla="*/ 31750 w 233363"/>
              <a:gd name="connsiteY145" fmla="*/ 128757 h 331788"/>
              <a:gd name="connsiteX146" fmla="*/ 38225 w 233363"/>
              <a:gd name="connsiteY146" fmla="*/ 122237 h 331788"/>
              <a:gd name="connsiteX147" fmla="*/ 166687 w 233363"/>
              <a:gd name="connsiteY147" fmla="*/ 85724 h 331788"/>
              <a:gd name="connsiteX148" fmla="*/ 166687 w 233363"/>
              <a:gd name="connsiteY148" fmla="*/ 98424 h 331788"/>
              <a:gd name="connsiteX149" fmla="*/ 190500 w 233363"/>
              <a:gd name="connsiteY149" fmla="*/ 98424 h 331788"/>
              <a:gd name="connsiteX150" fmla="*/ 190500 w 233363"/>
              <a:gd name="connsiteY150" fmla="*/ 85724 h 331788"/>
              <a:gd name="connsiteX151" fmla="*/ 104775 w 233363"/>
              <a:gd name="connsiteY151" fmla="*/ 85724 h 331788"/>
              <a:gd name="connsiteX152" fmla="*/ 104775 w 233363"/>
              <a:gd name="connsiteY152" fmla="*/ 98424 h 331788"/>
              <a:gd name="connsiteX153" fmla="*/ 130175 w 233363"/>
              <a:gd name="connsiteY153" fmla="*/ 98424 h 331788"/>
              <a:gd name="connsiteX154" fmla="*/ 130175 w 233363"/>
              <a:gd name="connsiteY154" fmla="*/ 85724 h 331788"/>
              <a:gd name="connsiteX155" fmla="*/ 42862 w 233363"/>
              <a:gd name="connsiteY155" fmla="*/ 85724 h 331788"/>
              <a:gd name="connsiteX156" fmla="*/ 42862 w 233363"/>
              <a:gd name="connsiteY156" fmla="*/ 98424 h 331788"/>
              <a:gd name="connsiteX157" fmla="*/ 68262 w 233363"/>
              <a:gd name="connsiteY157" fmla="*/ 98424 h 331788"/>
              <a:gd name="connsiteX158" fmla="*/ 68262 w 233363"/>
              <a:gd name="connsiteY158" fmla="*/ 85724 h 331788"/>
              <a:gd name="connsiteX159" fmla="*/ 159167 w 233363"/>
              <a:gd name="connsiteY159" fmla="*/ 73024 h 331788"/>
              <a:gd name="connsiteX160" fmla="*/ 196725 w 233363"/>
              <a:gd name="connsiteY160" fmla="*/ 73024 h 331788"/>
              <a:gd name="connsiteX161" fmla="*/ 203200 w 233363"/>
              <a:gd name="connsiteY161" fmla="*/ 79544 h 331788"/>
              <a:gd name="connsiteX162" fmla="*/ 203200 w 233363"/>
              <a:gd name="connsiteY162" fmla="*/ 104321 h 331788"/>
              <a:gd name="connsiteX163" fmla="*/ 196725 w 233363"/>
              <a:gd name="connsiteY163" fmla="*/ 109537 h 331788"/>
              <a:gd name="connsiteX164" fmla="*/ 159167 w 233363"/>
              <a:gd name="connsiteY164" fmla="*/ 109537 h 331788"/>
              <a:gd name="connsiteX165" fmla="*/ 153987 w 233363"/>
              <a:gd name="connsiteY165" fmla="*/ 104321 h 331788"/>
              <a:gd name="connsiteX166" fmla="*/ 153987 w 233363"/>
              <a:gd name="connsiteY166" fmla="*/ 79544 h 331788"/>
              <a:gd name="connsiteX167" fmla="*/ 159167 w 233363"/>
              <a:gd name="connsiteY167" fmla="*/ 73024 h 331788"/>
              <a:gd name="connsiteX168" fmla="*/ 98550 w 233363"/>
              <a:gd name="connsiteY168" fmla="*/ 73024 h 331788"/>
              <a:gd name="connsiteX169" fmla="*/ 134812 w 233363"/>
              <a:gd name="connsiteY169" fmla="*/ 73024 h 331788"/>
              <a:gd name="connsiteX170" fmla="*/ 141288 w 233363"/>
              <a:gd name="connsiteY170" fmla="*/ 79544 h 331788"/>
              <a:gd name="connsiteX171" fmla="*/ 141288 w 233363"/>
              <a:gd name="connsiteY171" fmla="*/ 104321 h 331788"/>
              <a:gd name="connsiteX172" fmla="*/ 134812 w 233363"/>
              <a:gd name="connsiteY172" fmla="*/ 109537 h 331788"/>
              <a:gd name="connsiteX173" fmla="*/ 98550 w 233363"/>
              <a:gd name="connsiteY173" fmla="*/ 109537 h 331788"/>
              <a:gd name="connsiteX174" fmla="*/ 92075 w 233363"/>
              <a:gd name="connsiteY174" fmla="*/ 104321 h 331788"/>
              <a:gd name="connsiteX175" fmla="*/ 92075 w 233363"/>
              <a:gd name="connsiteY175" fmla="*/ 79544 h 331788"/>
              <a:gd name="connsiteX176" fmla="*/ 98550 w 233363"/>
              <a:gd name="connsiteY176" fmla="*/ 73024 h 331788"/>
              <a:gd name="connsiteX177" fmla="*/ 38225 w 233363"/>
              <a:gd name="connsiteY177" fmla="*/ 73024 h 331788"/>
              <a:gd name="connsiteX178" fmla="*/ 74487 w 233363"/>
              <a:gd name="connsiteY178" fmla="*/ 73024 h 331788"/>
              <a:gd name="connsiteX179" fmla="*/ 80963 w 233363"/>
              <a:gd name="connsiteY179" fmla="*/ 79544 h 331788"/>
              <a:gd name="connsiteX180" fmla="*/ 80963 w 233363"/>
              <a:gd name="connsiteY180" fmla="*/ 104321 h 331788"/>
              <a:gd name="connsiteX181" fmla="*/ 74487 w 233363"/>
              <a:gd name="connsiteY181" fmla="*/ 109537 h 331788"/>
              <a:gd name="connsiteX182" fmla="*/ 38225 w 233363"/>
              <a:gd name="connsiteY182" fmla="*/ 109537 h 331788"/>
              <a:gd name="connsiteX183" fmla="*/ 31750 w 233363"/>
              <a:gd name="connsiteY183" fmla="*/ 104321 h 331788"/>
              <a:gd name="connsiteX184" fmla="*/ 31750 w 233363"/>
              <a:gd name="connsiteY184" fmla="*/ 79544 h 331788"/>
              <a:gd name="connsiteX185" fmla="*/ 38225 w 233363"/>
              <a:gd name="connsiteY185" fmla="*/ 73024 h 331788"/>
              <a:gd name="connsiteX186" fmla="*/ 166687 w 233363"/>
              <a:gd name="connsiteY186" fmla="*/ 36512 h 331788"/>
              <a:gd name="connsiteX187" fmla="*/ 166687 w 233363"/>
              <a:gd name="connsiteY187" fmla="*/ 49212 h 331788"/>
              <a:gd name="connsiteX188" fmla="*/ 190500 w 233363"/>
              <a:gd name="connsiteY188" fmla="*/ 49212 h 331788"/>
              <a:gd name="connsiteX189" fmla="*/ 190500 w 233363"/>
              <a:gd name="connsiteY189" fmla="*/ 36512 h 331788"/>
              <a:gd name="connsiteX190" fmla="*/ 104775 w 233363"/>
              <a:gd name="connsiteY190" fmla="*/ 36512 h 331788"/>
              <a:gd name="connsiteX191" fmla="*/ 104775 w 233363"/>
              <a:gd name="connsiteY191" fmla="*/ 49212 h 331788"/>
              <a:gd name="connsiteX192" fmla="*/ 130175 w 233363"/>
              <a:gd name="connsiteY192" fmla="*/ 49212 h 331788"/>
              <a:gd name="connsiteX193" fmla="*/ 130175 w 233363"/>
              <a:gd name="connsiteY193" fmla="*/ 36512 h 331788"/>
              <a:gd name="connsiteX194" fmla="*/ 42862 w 233363"/>
              <a:gd name="connsiteY194" fmla="*/ 36512 h 331788"/>
              <a:gd name="connsiteX195" fmla="*/ 42862 w 233363"/>
              <a:gd name="connsiteY195" fmla="*/ 49212 h 331788"/>
              <a:gd name="connsiteX196" fmla="*/ 68262 w 233363"/>
              <a:gd name="connsiteY196" fmla="*/ 49212 h 331788"/>
              <a:gd name="connsiteX197" fmla="*/ 68262 w 233363"/>
              <a:gd name="connsiteY197" fmla="*/ 36512 h 331788"/>
              <a:gd name="connsiteX198" fmla="*/ 159167 w 233363"/>
              <a:gd name="connsiteY198" fmla="*/ 23812 h 331788"/>
              <a:gd name="connsiteX199" fmla="*/ 196725 w 233363"/>
              <a:gd name="connsiteY199" fmla="*/ 23812 h 331788"/>
              <a:gd name="connsiteX200" fmla="*/ 203200 w 233363"/>
              <a:gd name="connsiteY200" fmla="*/ 30332 h 331788"/>
              <a:gd name="connsiteX201" fmla="*/ 203200 w 233363"/>
              <a:gd name="connsiteY201" fmla="*/ 55109 h 331788"/>
              <a:gd name="connsiteX202" fmla="*/ 196725 w 233363"/>
              <a:gd name="connsiteY202" fmla="*/ 60325 h 331788"/>
              <a:gd name="connsiteX203" fmla="*/ 159167 w 233363"/>
              <a:gd name="connsiteY203" fmla="*/ 60325 h 331788"/>
              <a:gd name="connsiteX204" fmla="*/ 153987 w 233363"/>
              <a:gd name="connsiteY204" fmla="*/ 55109 h 331788"/>
              <a:gd name="connsiteX205" fmla="*/ 153987 w 233363"/>
              <a:gd name="connsiteY205" fmla="*/ 30332 h 331788"/>
              <a:gd name="connsiteX206" fmla="*/ 159167 w 233363"/>
              <a:gd name="connsiteY206" fmla="*/ 23812 h 331788"/>
              <a:gd name="connsiteX207" fmla="*/ 98550 w 233363"/>
              <a:gd name="connsiteY207" fmla="*/ 23812 h 331788"/>
              <a:gd name="connsiteX208" fmla="*/ 134812 w 233363"/>
              <a:gd name="connsiteY208" fmla="*/ 23812 h 331788"/>
              <a:gd name="connsiteX209" fmla="*/ 141288 w 233363"/>
              <a:gd name="connsiteY209" fmla="*/ 30332 h 331788"/>
              <a:gd name="connsiteX210" fmla="*/ 141288 w 233363"/>
              <a:gd name="connsiteY210" fmla="*/ 55109 h 331788"/>
              <a:gd name="connsiteX211" fmla="*/ 134812 w 233363"/>
              <a:gd name="connsiteY211" fmla="*/ 60325 h 331788"/>
              <a:gd name="connsiteX212" fmla="*/ 98550 w 233363"/>
              <a:gd name="connsiteY212" fmla="*/ 60325 h 331788"/>
              <a:gd name="connsiteX213" fmla="*/ 92075 w 233363"/>
              <a:gd name="connsiteY213" fmla="*/ 55109 h 331788"/>
              <a:gd name="connsiteX214" fmla="*/ 92075 w 233363"/>
              <a:gd name="connsiteY214" fmla="*/ 30332 h 331788"/>
              <a:gd name="connsiteX215" fmla="*/ 98550 w 233363"/>
              <a:gd name="connsiteY215" fmla="*/ 23812 h 331788"/>
              <a:gd name="connsiteX216" fmla="*/ 38225 w 233363"/>
              <a:gd name="connsiteY216" fmla="*/ 23812 h 331788"/>
              <a:gd name="connsiteX217" fmla="*/ 74487 w 233363"/>
              <a:gd name="connsiteY217" fmla="*/ 23812 h 331788"/>
              <a:gd name="connsiteX218" fmla="*/ 80963 w 233363"/>
              <a:gd name="connsiteY218" fmla="*/ 30332 h 331788"/>
              <a:gd name="connsiteX219" fmla="*/ 80963 w 233363"/>
              <a:gd name="connsiteY219" fmla="*/ 55109 h 331788"/>
              <a:gd name="connsiteX220" fmla="*/ 74487 w 233363"/>
              <a:gd name="connsiteY220" fmla="*/ 60325 h 331788"/>
              <a:gd name="connsiteX221" fmla="*/ 38225 w 233363"/>
              <a:gd name="connsiteY221" fmla="*/ 60325 h 331788"/>
              <a:gd name="connsiteX222" fmla="*/ 31750 w 233363"/>
              <a:gd name="connsiteY222" fmla="*/ 55109 h 331788"/>
              <a:gd name="connsiteX223" fmla="*/ 31750 w 233363"/>
              <a:gd name="connsiteY223" fmla="*/ 30332 h 331788"/>
              <a:gd name="connsiteX224" fmla="*/ 38225 w 233363"/>
              <a:gd name="connsiteY224" fmla="*/ 23812 h 331788"/>
              <a:gd name="connsiteX225" fmla="*/ 19050 w 233363"/>
              <a:gd name="connsiteY225" fmla="*/ 11112 h 331788"/>
              <a:gd name="connsiteX226" fmla="*/ 19050 w 233363"/>
              <a:gd name="connsiteY226" fmla="*/ 319087 h 331788"/>
              <a:gd name="connsiteX227" fmla="*/ 92054 w 233363"/>
              <a:gd name="connsiteY227" fmla="*/ 319087 h 331788"/>
              <a:gd name="connsiteX228" fmla="*/ 92054 w 233363"/>
              <a:gd name="connsiteY228" fmla="*/ 275091 h 331788"/>
              <a:gd name="connsiteX229" fmla="*/ 98572 w 233363"/>
              <a:gd name="connsiteY229" fmla="*/ 269915 h 331788"/>
              <a:gd name="connsiteX230" fmla="*/ 135074 w 233363"/>
              <a:gd name="connsiteY230" fmla="*/ 269915 h 331788"/>
              <a:gd name="connsiteX231" fmla="*/ 141592 w 233363"/>
              <a:gd name="connsiteY231" fmla="*/ 275091 h 331788"/>
              <a:gd name="connsiteX232" fmla="*/ 141592 w 233363"/>
              <a:gd name="connsiteY232" fmla="*/ 319087 h 331788"/>
              <a:gd name="connsiteX233" fmla="*/ 215900 w 233363"/>
              <a:gd name="connsiteY233" fmla="*/ 319087 h 331788"/>
              <a:gd name="connsiteX234" fmla="*/ 215900 w 233363"/>
              <a:gd name="connsiteY234" fmla="*/ 11112 h 331788"/>
              <a:gd name="connsiteX235" fmla="*/ 19050 w 233363"/>
              <a:gd name="connsiteY235" fmla="*/ 11112 h 331788"/>
              <a:gd name="connsiteX236" fmla="*/ 12964 w 233363"/>
              <a:gd name="connsiteY236" fmla="*/ 0 h 331788"/>
              <a:gd name="connsiteX237" fmla="*/ 220399 w 233363"/>
              <a:gd name="connsiteY237" fmla="*/ 0 h 331788"/>
              <a:gd name="connsiteX238" fmla="*/ 221695 w 233363"/>
              <a:gd name="connsiteY238" fmla="*/ 0 h 331788"/>
              <a:gd name="connsiteX239" fmla="*/ 226881 w 233363"/>
              <a:gd name="connsiteY239" fmla="*/ 6480 h 331788"/>
              <a:gd name="connsiteX240" fmla="*/ 226881 w 233363"/>
              <a:gd name="connsiteY240" fmla="*/ 320124 h 331788"/>
              <a:gd name="connsiteX241" fmla="*/ 233363 w 233363"/>
              <a:gd name="connsiteY241" fmla="*/ 325308 h 331788"/>
              <a:gd name="connsiteX242" fmla="*/ 226881 w 233363"/>
              <a:gd name="connsiteY242" fmla="*/ 331788 h 331788"/>
              <a:gd name="connsiteX243" fmla="*/ 6482 w 233363"/>
              <a:gd name="connsiteY243" fmla="*/ 331788 h 331788"/>
              <a:gd name="connsiteX244" fmla="*/ 0 w 233363"/>
              <a:gd name="connsiteY244" fmla="*/ 325308 h 331788"/>
              <a:gd name="connsiteX245" fmla="*/ 6482 w 233363"/>
              <a:gd name="connsiteY245" fmla="*/ 320124 h 331788"/>
              <a:gd name="connsiteX246" fmla="*/ 6482 w 233363"/>
              <a:gd name="connsiteY246" fmla="*/ 6480 h 331788"/>
              <a:gd name="connsiteX247" fmla="*/ 12964 w 233363"/>
              <a:gd name="connsiteY247" fmla="*/ 0 h 33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233363" h="331788">
                <a:moveTo>
                  <a:pt x="166687" y="282575"/>
                </a:moveTo>
                <a:lnTo>
                  <a:pt x="166687" y="293688"/>
                </a:lnTo>
                <a:lnTo>
                  <a:pt x="190500" y="293688"/>
                </a:lnTo>
                <a:lnTo>
                  <a:pt x="190500" y="282575"/>
                </a:lnTo>
                <a:close/>
                <a:moveTo>
                  <a:pt x="104775" y="282575"/>
                </a:moveTo>
                <a:lnTo>
                  <a:pt x="104775" y="319088"/>
                </a:lnTo>
                <a:lnTo>
                  <a:pt x="130175" y="319088"/>
                </a:lnTo>
                <a:lnTo>
                  <a:pt x="130175" y="282575"/>
                </a:lnTo>
                <a:close/>
                <a:moveTo>
                  <a:pt x="42862" y="282575"/>
                </a:moveTo>
                <a:lnTo>
                  <a:pt x="42862" y="293688"/>
                </a:lnTo>
                <a:lnTo>
                  <a:pt x="68262" y="293688"/>
                </a:lnTo>
                <a:lnTo>
                  <a:pt x="68262" y="282575"/>
                </a:lnTo>
                <a:close/>
                <a:moveTo>
                  <a:pt x="159167" y="269875"/>
                </a:moveTo>
                <a:cubicBezTo>
                  <a:pt x="159167" y="269875"/>
                  <a:pt x="159167" y="269875"/>
                  <a:pt x="196725" y="269875"/>
                </a:cubicBezTo>
                <a:cubicBezTo>
                  <a:pt x="199315" y="269875"/>
                  <a:pt x="203200" y="272483"/>
                  <a:pt x="203200" y="275091"/>
                </a:cubicBezTo>
                <a:cubicBezTo>
                  <a:pt x="203200" y="275091"/>
                  <a:pt x="203200" y="275091"/>
                  <a:pt x="203200" y="299868"/>
                </a:cubicBezTo>
                <a:cubicBezTo>
                  <a:pt x="203200" y="303780"/>
                  <a:pt x="199315" y="306388"/>
                  <a:pt x="196725" y="306388"/>
                </a:cubicBezTo>
                <a:cubicBezTo>
                  <a:pt x="196725" y="306388"/>
                  <a:pt x="196725" y="306388"/>
                  <a:pt x="159167" y="306388"/>
                </a:cubicBezTo>
                <a:cubicBezTo>
                  <a:pt x="156577" y="306388"/>
                  <a:pt x="153987" y="303780"/>
                  <a:pt x="153987" y="299868"/>
                </a:cubicBezTo>
                <a:cubicBezTo>
                  <a:pt x="153987" y="299868"/>
                  <a:pt x="153987" y="299868"/>
                  <a:pt x="153987" y="275091"/>
                </a:cubicBezTo>
                <a:cubicBezTo>
                  <a:pt x="153987" y="272483"/>
                  <a:pt x="156577" y="269875"/>
                  <a:pt x="159167" y="269875"/>
                </a:cubicBezTo>
                <a:close/>
                <a:moveTo>
                  <a:pt x="38225" y="269875"/>
                </a:moveTo>
                <a:cubicBezTo>
                  <a:pt x="38225" y="269875"/>
                  <a:pt x="38225" y="269875"/>
                  <a:pt x="74487" y="269875"/>
                </a:cubicBezTo>
                <a:cubicBezTo>
                  <a:pt x="78373" y="269875"/>
                  <a:pt x="80963" y="272483"/>
                  <a:pt x="80963" y="275091"/>
                </a:cubicBezTo>
                <a:cubicBezTo>
                  <a:pt x="80963" y="275091"/>
                  <a:pt x="80963" y="275091"/>
                  <a:pt x="80963" y="299868"/>
                </a:cubicBezTo>
                <a:cubicBezTo>
                  <a:pt x="80963" y="303780"/>
                  <a:pt x="78373" y="306388"/>
                  <a:pt x="74487" y="306388"/>
                </a:cubicBezTo>
                <a:cubicBezTo>
                  <a:pt x="74487" y="306388"/>
                  <a:pt x="74487" y="306388"/>
                  <a:pt x="38225" y="306388"/>
                </a:cubicBezTo>
                <a:cubicBezTo>
                  <a:pt x="34340" y="306388"/>
                  <a:pt x="31750" y="303780"/>
                  <a:pt x="31750" y="299868"/>
                </a:cubicBezTo>
                <a:cubicBezTo>
                  <a:pt x="31750" y="299868"/>
                  <a:pt x="31750" y="299868"/>
                  <a:pt x="31750" y="275091"/>
                </a:cubicBezTo>
                <a:cubicBezTo>
                  <a:pt x="31750" y="272483"/>
                  <a:pt x="34340" y="269875"/>
                  <a:pt x="38225" y="269875"/>
                </a:cubicBezTo>
                <a:close/>
                <a:moveTo>
                  <a:pt x="166687" y="233362"/>
                </a:moveTo>
                <a:lnTo>
                  <a:pt x="166687" y="246062"/>
                </a:lnTo>
                <a:lnTo>
                  <a:pt x="190500" y="246062"/>
                </a:lnTo>
                <a:lnTo>
                  <a:pt x="190500" y="233362"/>
                </a:lnTo>
                <a:close/>
                <a:moveTo>
                  <a:pt x="104775" y="233362"/>
                </a:moveTo>
                <a:lnTo>
                  <a:pt x="104775" y="246062"/>
                </a:lnTo>
                <a:lnTo>
                  <a:pt x="130175" y="246062"/>
                </a:lnTo>
                <a:lnTo>
                  <a:pt x="130175" y="233362"/>
                </a:lnTo>
                <a:close/>
                <a:moveTo>
                  <a:pt x="42862" y="233362"/>
                </a:moveTo>
                <a:lnTo>
                  <a:pt x="42862" y="246062"/>
                </a:lnTo>
                <a:lnTo>
                  <a:pt x="68262" y="246062"/>
                </a:lnTo>
                <a:lnTo>
                  <a:pt x="68262" y="233362"/>
                </a:lnTo>
                <a:close/>
                <a:moveTo>
                  <a:pt x="159167" y="220662"/>
                </a:moveTo>
                <a:cubicBezTo>
                  <a:pt x="159167" y="220662"/>
                  <a:pt x="159167" y="220662"/>
                  <a:pt x="196725" y="220662"/>
                </a:cubicBezTo>
                <a:cubicBezTo>
                  <a:pt x="199315" y="220662"/>
                  <a:pt x="203200" y="223270"/>
                  <a:pt x="203200" y="227182"/>
                </a:cubicBezTo>
                <a:cubicBezTo>
                  <a:pt x="203200" y="227182"/>
                  <a:pt x="203200" y="227182"/>
                  <a:pt x="203200" y="250655"/>
                </a:cubicBezTo>
                <a:cubicBezTo>
                  <a:pt x="203200" y="254567"/>
                  <a:pt x="199315" y="257175"/>
                  <a:pt x="196725" y="257175"/>
                </a:cubicBezTo>
                <a:cubicBezTo>
                  <a:pt x="196725" y="257175"/>
                  <a:pt x="196725" y="257175"/>
                  <a:pt x="159167" y="257175"/>
                </a:cubicBezTo>
                <a:cubicBezTo>
                  <a:pt x="156577" y="257175"/>
                  <a:pt x="153987" y="254567"/>
                  <a:pt x="153987" y="250655"/>
                </a:cubicBezTo>
                <a:cubicBezTo>
                  <a:pt x="153987" y="250655"/>
                  <a:pt x="153987" y="250655"/>
                  <a:pt x="153987" y="227182"/>
                </a:cubicBezTo>
                <a:cubicBezTo>
                  <a:pt x="153987" y="223270"/>
                  <a:pt x="156577" y="220662"/>
                  <a:pt x="159167" y="220662"/>
                </a:cubicBezTo>
                <a:close/>
                <a:moveTo>
                  <a:pt x="98550" y="220662"/>
                </a:moveTo>
                <a:cubicBezTo>
                  <a:pt x="98550" y="220662"/>
                  <a:pt x="98550" y="220662"/>
                  <a:pt x="134812" y="220662"/>
                </a:cubicBezTo>
                <a:cubicBezTo>
                  <a:pt x="138698" y="220662"/>
                  <a:pt x="141288" y="223270"/>
                  <a:pt x="141288" y="227182"/>
                </a:cubicBezTo>
                <a:cubicBezTo>
                  <a:pt x="141288" y="227182"/>
                  <a:pt x="141288" y="227182"/>
                  <a:pt x="141288" y="250655"/>
                </a:cubicBezTo>
                <a:cubicBezTo>
                  <a:pt x="141288" y="254567"/>
                  <a:pt x="138698" y="257175"/>
                  <a:pt x="134812" y="257175"/>
                </a:cubicBezTo>
                <a:cubicBezTo>
                  <a:pt x="134812" y="257175"/>
                  <a:pt x="134812" y="257175"/>
                  <a:pt x="98550" y="257175"/>
                </a:cubicBezTo>
                <a:cubicBezTo>
                  <a:pt x="94665" y="257175"/>
                  <a:pt x="92075" y="254567"/>
                  <a:pt x="92075" y="250655"/>
                </a:cubicBezTo>
                <a:cubicBezTo>
                  <a:pt x="92075" y="250655"/>
                  <a:pt x="92075" y="250655"/>
                  <a:pt x="92075" y="227182"/>
                </a:cubicBezTo>
                <a:cubicBezTo>
                  <a:pt x="92075" y="223270"/>
                  <a:pt x="94665" y="220662"/>
                  <a:pt x="98550" y="220662"/>
                </a:cubicBezTo>
                <a:close/>
                <a:moveTo>
                  <a:pt x="38225" y="220662"/>
                </a:moveTo>
                <a:cubicBezTo>
                  <a:pt x="38225" y="220662"/>
                  <a:pt x="38225" y="220662"/>
                  <a:pt x="74487" y="220662"/>
                </a:cubicBezTo>
                <a:cubicBezTo>
                  <a:pt x="78373" y="220662"/>
                  <a:pt x="80963" y="223270"/>
                  <a:pt x="80963" y="227182"/>
                </a:cubicBezTo>
                <a:cubicBezTo>
                  <a:pt x="80963" y="227182"/>
                  <a:pt x="80963" y="227182"/>
                  <a:pt x="80963" y="250655"/>
                </a:cubicBezTo>
                <a:cubicBezTo>
                  <a:pt x="80963" y="254567"/>
                  <a:pt x="78373" y="257175"/>
                  <a:pt x="74487" y="257175"/>
                </a:cubicBezTo>
                <a:cubicBezTo>
                  <a:pt x="74487" y="257175"/>
                  <a:pt x="74487" y="257175"/>
                  <a:pt x="38225" y="257175"/>
                </a:cubicBezTo>
                <a:cubicBezTo>
                  <a:pt x="34340" y="257175"/>
                  <a:pt x="31750" y="254567"/>
                  <a:pt x="31750" y="250655"/>
                </a:cubicBezTo>
                <a:cubicBezTo>
                  <a:pt x="31750" y="250655"/>
                  <a:pt x="31750" y="250655"/>
                  <a:pt x="31750" y="227182"/>
                </a:cubicBezTo>
                <a:cubicBezTo>
                  <a:pt x="31750" y="223270"/>
                  <a:pt x="34340" y="220662"/>
                  <a:pt x="38225" y="220662"/>
                </a:cubicBezTo>
                <a:close/>
                <a:moveTo>
                  <a:pt x="166687" y="184149"/>
                </a:moveTo>
                <a:lnTo>
                  <a:pt x="166687" y="196849"/>
                </a:lnTo>
                <a:lnTo>
                  <a:pt x="190500" y="196849"/>
                </a:lnTo>
                <a:lnTo>
                  <a:pt x="190500" y="184149"/>
                </a:lnTo>
                <a:close/>
                <a:moveTo>
                  <a:pt x="104775" y="184149"/>
                </a:moveTo>
                <a:lnTo>
                  <a:pt x="104775" y="196849"/>
                </a:lnTo>
                <a:lnTo>
                  <a:pt x="130175" y="196849"/>
                </a:lnTo>
                <a:lnTo>
                  <a:pt x="130175" y="184149"/>
                </a:lnTo>
                <a:close/>
                <a:moveTo>
                  <a:pt x="42862" y="184149"/>
                </a:moveTo>
                <a:lnTo>
                  <a:pt x="42862" y="196849"/>
                </a:lnTo>
                <a:lnTo>
                  <a:pt x="68262" y="196849"/>
                </a:lnTo>
                <a:lnTo>
                  <a:pt x="68262" y="184149"/>
                </a:lnTo>
                <a:close/>
                <a:moveTo>
                  <a:pt x="38225" y="171450"/>
                </a:moveTo>
                <a:cubicBezTo>
                  <a:pt x="38225" y="171450"/>
                  <a:pt x="38225" y="171450"/>
                  <a:pt x="74487" y="171450"/>
                </a:cubicBezTo>
                <a:cubicBezTo>
                  <a:pt x="78373" y="171450"/>
                  <a:pt x="80963" y="174058"/>
                  <a:pt x="80963" y="177970"/>
                </a:cubicBezTo>
                <a:cubicBezTo>
                  <a:pt x="80963" y="177970"/>
                  <a:pt x="80963" y="177970"/>
                  <a:pt x="80963" y="201443"/>
                </a:cubicBezTo>
                <a:cubicBezTo>
                  <a:pt x="80963" y="205355"/>
                  <a:pt x="78373" y="207963"/>
                  <a:pt x="74487" y="207963"/>
                </a:cubicBezTo>
                <a:cubicBezTo>
                  <a:pt x="74487" y="207963"/>
                  <a:pt x="74487" y="207963"/>
                  <a:pt x="38225" y="207963"/>
                </a:cubicBezTo>
                <a:cubicBezTo>
                  <a:pt x="34340" y="207963"/>
                  <a:pt x="31750" y="205355"/>
                  <a:pt x="31750" y="201443"/>
                </a:cubicBezTo>
                <a:cubicBezTo>
                  <a:pt x="31750" y="201443"/>
                  <a:pt x="31750" y="201443"/>
                  <a:pt x="31750" y="177970"/>
                </a:cubicBezTo>
                <a:cubicBezTo>
                  <a:pt x="31750" y="174058"/>
                  <a:pt x="34340" y="171450"/>
                  <a:pt x="38225" y="171450"/>
                </a:cubicBezTo>
                <a:close/>
                <a:moveTo>
                  <a:pt x="159167" y="171449"/>
                </a:moveTo>
                <a:cubicBezTo>
                  <a:pt x="159167" y="171449"/>
                  <a:pt x="159167" y="171449"/>
                  <a:pt x="196725" y="171449"/>
                </a:cubicBezTo>
                <a:cubicBezTo>
                  <a:pt x="199315" y="171449"/>
                  <a:pt x="203200" y="174057"/>
                  <a:pt x="203200" y="177969"/>
                </a:cubicBezTo>
                <a:cubicBezTo>
                  <a:pt x="203200" y="177969"/>
                  <a:pt x="203200" y="177969"/>
                  <a:pt x="203200" y="201442"/>
                </a:cubicBezTo>
                <a:cubicBezTo>
                  <a:pt x="203200" y="205354"/>
                  <a:pt x="199315" y="207962"/>
                  <a:pt x="196725" y="207962"/>
                </a:cubicBezTo>
                <a:cubicBezTo>
                  <a:pt x="196725" y="207962"/>
                  <a:pt x="196725" y="207962"/>
                  <a:pt x="159167" y="207962"/>
                </a:cubicBezTo>
                <a:cubicBezTo>
                  <a:pt x="156577" y="207962"/>
                  <a:pt x="153987" y="205354"/>
                  <a:pt x="153987" y="201442"/>
                </a:cubicBezTo>
                <a:cubicBezTo>
                  <a:pt x="153987" y="201442"/>
                  <a:pt x="153987" y="201442"/>
                  <a:pt x="153987" y="177969"/>
                </a:cubicBezTo>
                <a:cubicBezTo>
                  <a:pt x="153987" y="174057"/>
                  <a:pt x="156577" y="171449"/>
                  <a:pt x="159167" y="171449"/>
                </a:cubicBezTo>
                <a:close/>
                <a:moveTo>
                  <a:pt x="98550" y="171449"/>
                </a:moveTo>
                <a:cubicBezTo>
                  <a:pt x="98550" y="171449"/>
                  <a:pt x="98550" y="171449"/>
                  <a:pt x="134812" y="171449"/>
                </a:cubicBezTo>
                <a:cubicBezTo>
                  <a:pt x="138698" y="171449"/>
                  <a:pt x="141288" y="174057"/>
                  <a:pt x="141288" y="177969"/>
                </a:cubicBezTo>
                <a:cubicBezTo>
                  <a:pt x="141288" y="177969"/>
                  <a:pt x="141288" y="177969"/>
                  <a:pt x="141288" y="201442"/>
                </a:cubicBezTo>
                <a:cubicBezTo>
                  <a:pt x="141288" y="205354"/>
                  <a:pt x="138698" y="207962"/>
                  <a:pt x="134812" y="207962"/>
                </a:cubicBezTo>
                <a:cubicBezTo>
                  <a:pt x="134812" y="207962"/>
                  <a:pt x="134812" y="207962"/>
                  <a:pt x="98550" y="207962"/>
                </a:cubicBezTo>
                <a:cubicBezTo>
                  <a:pt x="94665" y="207962"/>
                  <a:pt x="92075" y="205354"/>
                  <a:pt x="92075" y="201442"/>
                </a:cubicBezTo>
                <a:cubicBezTo>
                  <a:pt x="92075" y="201442"/>
                  <a:pt x="92075" y="201442"/>
                  <a:pt x="92075" y="177969"/>
                </a:cubicBezTo>
                <a:cubicBezTo>
                  <a:pt x="92075" y="174057"/>
                  <a:pt x="94665" y="171449"/>
                  <a:pt x="98550" y="171449"/>
                </a:cubicBezTo>
                <a:close/>
                <a:moveTo>
                  <a:pt x="166687" y="134937"/>
                </a:moveTo>
                <a:lnTo>
                  <a:pt x="166687" y="147637"/>
                </a:lnTo>
                <a:lnTo>
                  <a:pt x="190500" y="147637"/>
                </a:lnTo>
                <a:lnTo>
                  <a:pt x="190500" y="134937"/>
                </a:lnTo>
                <a:close/>
                <a:moveTo>
                  <a:pt x="104775" y="134937"/>
                </a:moveTo>
                <a:lnTo>
                  <a:pt x="104775" y="147637"/>
                </a:lnTo>
                <a:lnTo>
                  <a:pt x="130175" y="147637"/>
                </a:lnTo>
                <a:lnTo>
                  <a:pt x="130175" y="134937"/>
                </a:lnTo>
                <a:close/>
                <a:moveTo>
                  <a:pt x="42862" y="134937"/>
                </a:moveTo>
                <a:lnTo>
                  <a:pt x="42862" y="147637"/>
                </a:lnTo>
                <a:lnTo>
                  <a:pt x="68262" y="147637"/>
                </a:lnTo>
                <a:lnTo>
                  <a:pt x="68262" y="134937"/>
                </a:lnTo>
                <a:close/>
                <a:moveTo>
                  <a:pt x="159167" y="122237"/>
                </a:moveTo>
                <a:cubicBezTo>
                  <a:pt x="159167" y="122237"/>
                  <a:pt x="159167" y="122237"/>
                  <a:pt x="196725" y="122237"/>
                </a:cubicBezTo>
                <a:cubicBezTo>
                  <a:pt x="199315" y="122237"/>
                  <a:pt x="203200" y="124845"/>
                  <a:pt x="203200" y="128757"/>
                </a:cubicBezTo>
                <a:cubicBezTo>
                  <a:pt x="203200" y="128757"/>
                  <a:pt x="203200" y="128757"/>
                  <a:pt x="203200" y="153534"/>
                </a:cubicBezTo>
                <a:cubicBezTo>
                  <a:pt x="203200" y="156142"/>
                  <a:pt x="199315" y="158750"/>
                  <a:pt x="196725" y="158750"/>
                </a:cubicBezTo>
                <a:cubicBezTo>
                  <a:pt x="196725" y="158750"/>
                  <a:pt x="196725" y="158750"/>
                  <a:pt x="159167" y="158750"/>
                </a:cubicBezTo>
                <a:cubicBezTo>
                  <a:pt x="156577" y="158750"/>
                  <a:pt x="153987" y="156142"/>
                  <a:pt x="153987" y="153534"/>
                </a:cubicBezTo>
                <a:cubicBezTo>
                  <a:pt x="153987" y="153534"/>
                  <a:pt x="153987" y="153534"/>
                  <a:pt x="153987" y="128757"/>
                </a:cubicBezTo>
                <a:cubicBezTo>
                  <a:pt x="153987" y="124845"/>
                  <a:pt x="156577" y="122237"/>
                  <a:pt x="159167" y="122237"/>
                </a:cubicBezTo>
                <a:close/>
                <a:moveTo>
                  <a:pt x="98550" y="122237"/>
                </a:moveTo>
                <a:cubicBezTo>
                  <a:pt x="98550" y="122237"/>
                  <a:pt x="98550" y="122237"/>
                  <a:pt x="134812" y="122237"/>
                </a:cubicBezTo>
                <a:cubicBezTo>
                  <a:pt x="138698" y="122237"/>
                  <a:pt x="141288" y="124845"/>
                  <a:pt x="141288" y="128757"/>
                </a:cubicBezTo>
                <a:cubicBezTo>
                  <a:pt x="141288" y="128757"/>
                  <a:pt x="141288" y="128757"/>
                  <a:pt x="141288" y="153534"/>
                </a:cubicBezTo>
                <a:cubicBezTo>
                  <a:pt x="141288" y="156142"/>
                  <a:pt x="138698" y="158750"/>
                  <a:pt x="134812" y="158750"/>
                </a:cubicBezTo>
                <a:cubicBezTo>
                  <a:pt x="134812" y="158750"/>
                  <a:pt x="134812" y="158750"/>
                  <a:pt x="98550" y="158750"/>
                </a:cubicBezTo>
                <a:cubicBezTo>
                  <a:pt x="94665" y="158750"/>
                  <a:pt x="92075" y="156142"/>
                  <a:pt x="92075" y="153534"/>
                </a:cubicBezTo>
                <a:cubicBezTo>
                  <a:pt x="92075" y="153534"/>
                  <a:pt x="92075" y="153534"/>
                  <a:pt x="92075" y="128757"/>
                </a:cubicBezTo>
                <a:cubicBezTo>
                  <a:pt x="92075" y="124845"/>
                  <a:pt x="94665" y="122237"/>
                  <a:pt x="98550" y="122237"/>
                </a:cubicBezTo>
                <a:close/>
                <a:moveTo>
                  <a:pt x="38225" y="122237"/>
                </a:moveTo>
                <a:cubicBezTo>
                  <a:pt x="38225" y="122237"/>
                  <a:pt x="38225" y="122237"/>
                  <a:pt x="74487" y="122237"/>
                </a:cubicBezTo>
                <a:cubicBezTo>
                  <a:pt x="78373" y="122237"/>
                  <a:pt x="80963" y="124845"/>
                  <a:pt x="80963" y="128757"/>
                </a:cubicBezTo>
                <a:cubicBezTo>
                  <a:pt x="80963" y="128757"/>
                  <a:pt x="80963" y="128757"/>
                  <a:pt x="80963" y="153534"/>
                </a:cubicBezTo>
                <a:cubicBezTo>
                  <a:pt x="80963" y="156142"/>
                  <a:pt x="78373" y="158750"/>
                  <a:pt x="74487" y="158750"/>
                </a:cubicBezTo>
                <a:cubicBezTo>
                  <a:pt x="74487" y="158750"/>
                  <a:pt x="74487" y="158750"/>
                  <a:pt x="38225" y="158750"/>
                </a:cubicBezTo>
                <a:cubicBezTo>
                  <a:pt x="34340" y="158750"/>
                  <a:pt x="31750" y="156142"/>
                  <a:pt x="31750" y="153534"/>
                </a:cubicBezTo>
                <a:cubicBezTo>
                  <a:pt x="31750" y="153534"/>
                  <a:pt x="31750" y="153534"/>
                  <a:pt x="31750" y="128757"/>
                </a:cubicBezTo>
                <a:cubicBezTo>
                  <a:pt x="31750" y="124845"/>
                  <a:pt x="34340" y="122237"/>
                  <a:pt x="38225" y="122237"/>
                </a:cubicBezTo>
                <a:close/>
                <a:moveTo>
                  <a:pt x="166687" y="85724"/>
                </a:moveTo>
                <a:lnTo>
                  <a:pt x="166687" y="98424"/>
                </a:lnTo>
                <a:lnTo>
                  <a:pt x="190500" y="98424"/>
                </a:lnTo>
                <a:lnTo>
                  <a:pt x="190500" y="85724"/>
                </a:lnTo>
                <a:close/>
                <a:moveTo>
                  <a:pt x="104775" y="85724"/>
                </a:moveTo>
                <a:lnTo>
                  <a:pt x="104775" y="98424"/>
                </a:lnTo>
                <a:lnTo>
                  <a:pt x="130175" y="98424"/>
                </a:lnTo>
                <a:lnTo>
                  <a:pt x="130175" y="85724"/>
                </a:lnTo>
                <a:close/>
                <a:moveTo>
                  <a:pt x="42862" y="85724"/>
                </a:moveTo>
                <a:lnTo>
                  <a:pt x="42862" y="98424"/>
                </a:lnTo>
                <a:lnTo>
                  <a:pt x="68262" y="98424"/>
                </a:lnTo>
                <a:lnTo>
                  <a:pt x="68262" y="85724"/>
                </a:lnTo>
                <a:close/>
                <a:moveTo>
                  <a:pt x="159167" y="73024"/>
                </a:moveTo>
                <a:cubicBezTo>
                  <a:pt x="159167" y="73024"/>
                  <a:pt x="159167" y="73024"/>
                  <a:pt x="196725" y="73024"/>
                </a:cubicBezTo>
                <a:cubicBezTo>
                  <a:pt x="199315" y="73024"/>
                  <a:pt x="203200" y="75632"/>
                  <a:pt x="203200" y="79544"/>
                </a:cubicBezTo>
                <a:cubicBezTo>
                  <a:pt x="203200" y="79544"/>
                  <a:pt x="203200" y="79544"/>
                  <a:pt x="203200" y="104321"/>
                </a:cubicBezTo>
                <a:cubicBezTo>
                  <a:pt x="203200" y="106929"/>
                  <a:pt x="199315" y="109537"/>
                  <a:pt x="196725" y="109537"/>
                </a:cubicBezTo>
                <a:cubicBezTo>
                  <a:pt x="196725" y="109537"/>
                  <a:pt x="196725" y="109537"/>
                  <a:pt x="159167" y="109537"/>
                </a:cubicBezTo>
                <a:cubicBezTo>
                  <a:pt x="156577" y="109537"/>
                  <a:pt x="153987" y="106929"/>
                  <a:pt x="153987" y="104321"/>
                </a:cubicBezTo>
                <a:cubicBezTo>
                  <a:pt x="153987" y="104321"/>
                  <a:pt x="153987" y="104321"/>
                  <a:pt x="153987" y="79544"/>
                </a:cubicBezTo>
                <a:cubicBezTo>
                  <a:pt x="153987" y="75632"/>
                  <a:pt x="156577" y="73024"/>
                  <a:pt x="159167" y="73024"/>
                </a:cubicBezTo>
                <a:close/>
                <a:moveTo>
                  <a:pt x="98550" y="73024"/>
                </a:moveTo>
                <a:cubicBezTo>
                  <a:pt x="98550" y="73024"/>
                  <a:pt x="98550" y="73024"/>
                  <a:pt x="134812" y="73024"/>
                </a:cubicBezTo>
                <a:cubicBezTo>
                  <a:pt x="138698" y="73024"/>
                  <a:pt x="141288" y="75632"/>
                  <a:pt x="141288" y="79544"/>
                </a:cubicBezTo>
                <a:cubicBezTo>
                  <a:pt x="141288" y="79544"/>
                  <a:pt x="141288" y="79544"/>
                  <a:pt x="141288" y="104321"/>
                </a:cubicBezTo>
                <a:cubicBezTo>
                  <a:pt x="141288" y="106929"/>
                  <a:pt x="138698" y="109537"/>
                  <a:pt x="134812" y="109537"/>
                </a:cubicBezTo>
                <a:cubicBezTo>
                  <a:pt x="134812" y="109537"/>
                  <a:pt x="134812" y="109537"/>
                  <a:pt x="98550" y="109537"/>
                </a:cubicBezTo>
                <a:cubicBezTo>
                  <a:pt x="94665" y="109537"/>
                  <a:pt x="92075" y="106929"/>
                  <a:pt x="92075" y="104321"/>
                </a:cubicBezTo>
                <a:cubicBezTo>
                  <a:pt x="92075" y="104321"/>
                  <a:pt x="92075" y="104321"/>
                  <a:pt x="92075" y="79544"/>
                </a:cubicBezTo>
                <a:cubicBezTo>
                  <a:pt x="92075" y="75632"/>
                  <a:pt x="94665" y="73024"/>
                  <a:pt x="98550" y="73024"/>
                </a:cubicBezTo>
                <a:close/>
                <a:moveTo>
                  <a:pt x="38225" y="73024"/>
                </a:moveTo>
                <a:cubicBezTo>
                  <a:pt x="38225" y="73024"/>
                  <a:pt x="38225" y="73024"/>
                  <a:pt x="74487" y="73024"/>
                </a:cubicBezTo>
                <a:cubicBezTo>
                  <a:pt x="78373" y="73024"/>
                  <a:pt x="80963" y="75632"/>
                  <a:pt x="80963" y="79544"/>
                </a:cubicBezTo>
                <a:cubicBezTo>
                  <a:pt x="80963" y="79544"/>
                  <a:pt x="80963" y="79544"/>
                  <a:pt x="80963" y="104321"/>
                </a:cubicBezTo>
                <a:cubicBezTo>
                  <a:pt x="80963" y="106929"/>
                  <a:pt x="78373" y="109537"/>
                  <a:pt x="74487" y="109537"/>
                </a:cubicBezTo>
                <a:cubicBezTo>
                  <a:pt x="74487" y="109537"/>
                  <a:pt x="74487" y="109537"/>
                  <a:pt x="38225" y="109537"/>
                </a:cubicBezTo>
                <a:cubicBezTo>
                  <a:pt x="34340" y="109537"/>
                  <a:pt x="31750" y="106929"/>
                  <a:pt x="31750" y="104321"/>
                </a:cubicBezTo>
                <a:cubicBezTo>
                  <a:pt x="31750" y="104321"/>
                  <a:pt x="31750" y="104321"/>
                  <a:pt x="31750" y="79544"/>
                </a:cubicBezTo>
                <a:cubicBezTo>
                  <a:pt x="31750" y="75632"/>
                  <a:pt x="34340" y="73024"/>
                  <a:pt x="38225" y="73024"/>
                </a:cubicBezTo>
                <a:close/>
                <a:moveTo>
                  <a:pt x="166687" y="36512"/>
                </a:moveTo>
                <a:lnTo>
                  <a:pt x="166687" y="49212"/>
                </a:lnTo>
                <a:lnTo>
                  <a:pt x="190500" y="49212"/>
                </a:lnTo>
                <a:lnTo>
                  <a:pt x="190500" y="36512"/>
                </a:lnTo>
                <a:close/>
                <a:moveTo>
                  <a:pt x="104775" y="36512"/>
                </a:moveTo>
                <a:lnTo>
                  <a:pt x="104775" y="49212"/>
                </a:lnTo>
                <a:lnTo>
                  <a:pt x="130175" y="49212"/>
                </a:lnTo>
                <a:lnTo>
                  <a:pt x="130175" y="36512"/>
                </a:lnTo>
                <a:close/>
                <a:moveTo>
                  <a:pt x="42862" y="36512"/>
                </a:moveTo>
                <a:lnTo>
                  <a:pt x="42862" y="49212"/>
                </a:lnTo>
                <a:lnTo>
                  <a:pt x="68262" y="49212"/>
                </a:lnTo>
                <a:lnTo>
                  <a:pt x="68262" y="36512"/>
                </a:lnTo>
                <a:close/>
                <a:moveTo>
                  <a:pt x="159167" y="23812"/>
                </a:moveTo>
                <a:cubicBezTo>
                  <a:pt x="159167" y="23812"/>
                  <a:pt x="159167" y="23812"/>
                  <a:pt x="196725" y="23812"/>
                </a:cubicBezTo>
                <a:cubicBezTo>
                  <a:pt x="199315" y="23812"/>
                  <a:pt x="203200" y="26420"/>
                  <a:pt x="203200" y="30332"/>
                </a:cubicBezTo>
                <a:cubicBezTo>
                  <a:pt x="203200" y="30332"/>
                  <a:pt x="203200" y="30332"/>
                  <a:pt x="203200" y="55109"/>
                </a:cubicBezTo>
                <a:cubicBezTo>
                  <a:pt x="203200" y="57717"/>
                  <a:pt x="199315" y="60325"/>
                  <a:pt x="196725" y="60325"/>
                </a:cubicBezTo>
                <a:cubicBezTo>
                  <a:pt x="196725" y="60325"/>
                  <a:pt x="196725" y="60325"/>
                  <a:pt x="159167" y="60325"/>
                </a:cubicBezTo>
                <a:cubicBezTo>
                  <a:pt x="156577" y="60325"/>
                  <a:pt x="153987" y="57717"/>
                  <a:pt x="153987" y="55109"/>
                </a:cubicBezTo>
                <a:cubicBezTo>
                  <a:pt x="153987" y="55109"/>
                  <a:pt x="153987" y="55109"/>
                  <a:pt x="153987" y="30332"/>
                </a:cubicBezTo>
                <a:cubicBezTo>
                  <a:pt x="153987" y="26420"/>
                  <a:pt x="156577" y="23812"/>
                  <a:pt x="159167" y="23812"/>
                </a:cubicBezTo>
                <a:close/>
                <a:moveTo>
                  <a:pt x="98550" y="23812"/>
                </a:moveTo>
                <a:cubicBezTo>
                  <a:pt x="98550" y="23812"/>
                  <a:pt x="98550" y="23812"/>
                  <a:pt x="134812" y="23812"/>
                </a:cubicBezTo>
                <a:cubicBezTo>
                  <a:pt x="138698" y="23812"/>
                  <a:pt x="141288" y="26420"/>
                  <a:pt x="141288" y="30332"/>
                </a:cubicBezTo>
                <a:cubicBezTo>
                  <a:pt x="141288" y="30332"/>
                  <a:pt x="141288" y="30332"/>
                  <a:pt x="141288" y="55109"/>
                </a:cubicBezTo>
                <a:cubicBezTo>
                  <a:pt x="141288" y="57717"/>
                  <a:pt x="138698" y="60325"/>
                  <a:pt x="134812" y="60325"/>
                </a:cubicBezTo>
                <a:cubicBezTo>
                  <a:pt x="134812" y="60325"/>
                  <a:pt x="134812" y="60325"/>
                  <a:pt x="98550" y="60325"/>
                </a:cubicBezTo>
                <a:cubicBezTo>
                  <a:pt x="94665" y="60325"/>
                  <a:pt x="92075" y="57717"/>
                  <a:pt x="92075" y="55109"/>
                </a:cubicBezTo>
                <a:cubicBezTo>
                  <a:pt x="92075" y="55109"/>
                  <a:pt x="92075" y="55109"/>
                  <a:pt x="92075" y="30332"/>
                </a:cubicBezTo>
                <a:cubicBezTo>
                  <a:pt x="92075" y="26420"/>
                  <a:pt x="94665" y="23812"/>
                  <a:pt x="98550" y="23812"/>
                </a:cubicBezTo>
                <a:close/>
                <a:moveTo>
                  <a:pt x="38225" y="23812"/>
                </a:moveTo>
                <a:cubicBezTo>
                  <a:pt x="38225" y="23812"/>
                  <a:pt x="38225" y="23812"/>
                  <a:pt x="74487" y="23812"/>
                </a:cubicBezTo>
                <a:cubicBezTo>
                  <a:pt x="78373" y="23812"/>
                  <a:pt x="80963" y="26420"/>
                  <a:pt x="80963" y="30332"/>
                </a:cubicBezTo>
                <a:cubicBezTo>
                  <a:pt x="80963" y="30332"/>
                  <a:pt x="80963" y="30332"/>
                  <a:pt x="80963" y="55109"/>
                </a:cubicBezTo>
                <a:cubicBezTo>
                  <a:pt x="80963" y="57717"/>
                  <a:pt x="78373" y="60325"/>
                  <a:pt x="74487" y="60325"/>
                </a:cubicBezTo>
                <a:cubicBezTo>
                  <a:pt x="74487" y="60325"/>
                  <a:pt x="74487" y="60325"/>
                  <a:pt x="38225" y="60325"/>
                </a:cubicBezTo>
                <a:cubicBezTo>
                  <a:pt x="34340" y="60325"/>
                  <a:pt x="31750" y="57717"/>
                  <a:pt x="31750" y="55109"/>
                </a:cubicBezTo>
                <a:cubicBezTo>
                  <a:pt x="31750" y="55109"/>
                  <a:pt x="31750" y="55109"/>
                  <a:pt x="31750" y="30332"/>
                </a:cubicBezTo>
                <a:cubicBezTo>
                  <a:pt x="31750" y="26420"/>
                  <a:pt x="34340" y="23812"/>
                  <a:pt x="38225" y="23812"/>
                </a:cubicBezTo>
                <a:close/>
                <a:moveTo>
                  <a:pt x="19050" y="11112"/>
                </a:moveTo>
                <a:lnTo>
                  <a:pt x="19050" y="319087"/>
                </a:lnTo>
                <a:cubicBezTo>
                  <a:pt x="19050" y="319087"/>
                  <a:pt x="19050" y="319087"/>
                  <a:pt x="92054" y="319087"/>
                </a:cubicBezTo>
                <a:cubicBezTo>
                  <a:pt x="92054" y="319087"/>
                  <a:pt x="92054" y="319087"/>
                  <a:pt x="92054" y="275091"/>
                </a:cubicBezTo>
                <a:cubicBezTo>
                  <a:pt x="92054" y="272503"/>
                  <a:pt x="94661" y="269915"/>
                  <a:pt x="98572" y="269915"/>
                </a:cubicBezTo>
                <a:cubicBezTo>
                  <a:pt x="98572" y="269915"/>
                  <a:pt x="98572" y="269915"/>
                  <a:pt x="135074" y="269915"/>
                </a:cubicBezTo>
                <a:cubicBezTo>
                  <a:pt x="138985" y="269915"/>
                  <a:pt x="141592" y="272503"/>
                  <a:pt x="141592" y="275091"/>
                </a:cubicBezTo>
                <a:cubicBezTo>
                  <a:pt x="141592" y="275091"/>
                  <a:pt x="141592" y="275091"/>
                  <a:pt x="141592" y="319087"/>
                </a:cubicBezTo>
                <a:cubicBezTo>
                  <a:pt x="141592" y="319087"/>
                  <a:pt x="141592" y="319087"/>
                  <a:pt x="215900" y="319087"/>
                </a:cubicBezTo>
                <a:cubicBezTo>
                  <a:pt x="215900" y="319087"/>
                  <a:pt x="215900" y="319087"/>
                  <a:pt x="215900" y="11112"/>
                </a:cubicBezTo>
                <a:cubicBezTo>
                  <a:pt x="215900" y="11112"/>
                  <a:pt x="215900" y="11112"/>
                  <a:pt x="19050" y="11112"/>
                </a:cubicBezTo>
                <a:close/>
                <a:moveTo>
                  <a:pt x="12964" y="0"/>
                </a:moveTo>
                <a:cubicBezTo>
                  <a:pt x="12964" y="0"/>
                  <a:pt x="12964" y="0"/>
                  <a:pt x="220399" y="0"/>
                </a:cubicBezTo>
                <a:cubicBezTo>
                  <a:pt x="220399" y="0"/>
                  <a:pt x="221695" y="0"/>
                  <a:pt x="221695" y="0"/>
                </a:cubicBezTo>
                <a:cubicBezTo>
                  <a:pt x="224288" y="0"/>
                  <a:pt x="226881" y="2592"/>
                  <a:pt x="226881" y="6480"/>
                </a:cubicBezTo>
                <a:cubicBezTo>
                  <a:pt x="226881" y="6480"/>
                  <a:pt x="226881" y="6480"/>
                  <a:pt x="226881" y="320124"/>
                </a:cubicBezTo>
                <a:cubicBezTo>
                  <a:pt x="230770" y="320124"/>
                  <a:pt x="233363" y="322716"/>
                  <a:pt x="233363" y="325308"/>
                </a:cubicBezTo>
                <a:cubicBezTo>
                  <a:pt x="233363" y="329196"/>
                  <a:pt x="230770" y="331788"/>
                  <a:pt x="226881" y="331788"/>
                </a:cubicBezTo>
                <a:cubicBezTo>
                  <a:pt x="226881" y="331788"/>
                  <a:pt x="226881" y="331788"/>
                  <a:pt x="6482" y="331788"/>
                </a:cubicBezTo>
                <a:cubicBezTo>
                  <a:pt x="2593" y="331788"/>
                  <a:pt x="0" y="329196"/>
                  <a:pt x="0" y="325308"/>
                </a:cubicBezTo>
                <a:cubicBezTo>
                  <a:pt x="0" y="322716"/>
                  <a:pt x="2593" y="320124"/>
                  <a:pt x="6482" y="320124"/>
                </a:cubicBezTo>
                <a:cubicBezTo>
                  <a:pt x="6482" y="320124"/>
                  <a:pt x="6482" y="320124"/>
                  <a:pt x="6482" y="6480"/>
                </a:cubicBezTo>
                <a:cubicBezTo>
                  <a:pt x="6482" y="2592"/>
                  <a:pt x="9075" y="0"/>
                  <a:pt x="1296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84CCFC7A-DAA3-448C-B6CC-F70381F9CA2E}"/>
              </a:ext>
            </a:extLst>
          </p:cNvPr>
          <p:cNvSpPr/>
          <p:nvPr/>
        </p:nvSpPr>
        <p:spPr>
          <a:xfrm>
            <a:off x="673100" y="4871567"/>
            <a:ext cx="1073875" cy="1275230"/>
          </a:xfrm>
          <a:custGeom>
            <a:avLst/>
            <a:gdLst>
              <a:gd name="connsiteX0" fmla="*/ 192089 w 279400"/>
              <a:gd name="connsiteY0" fmla="*/ 300038 h 331788"/>
              <a:gd name="connsiteX1" fmla="*/ 242889 w 279400"/>
              <a:gd name="connsiteY1" fmla="*/ 300038 h 331788"/>
              <a:gd name="connsiteX2" fmla="*/ 242889 w 279400"/>
              <a:gd name="connsiteY2" fmla="*/ 311151 h 331788"/>
              <a:gd name="connsiteX3" fmla="*/ 192089 w 279400"/>
              <a:gd name="connsiteY3" fmla="*/ 311151 h 331788"/>
              <a:gd name="connsiteX4" fmla="*/ 128589 w 279400"/>
              <a:gd name="connsiteY4" fmla="*/ 300038 h 331788"/>
              <a:gd name="connsiteX5" fmla="*/ 180977 w 279400"/>
              <a:gd name="connsiteY5" fmla="*/ 300038 h 331788"/>
              <a:gd name="connsiteX6" fmla="*/ 180977 w 279400"/>
              <a:gd name="connsiteY6" fmla="*/ 311151 h 331788"/>
              <a:gd name="connsiteX7" fmla="*/ 128589 w 279400"/>
              <a:gd name="connsiteY7" fmla="*/ 311151 h 331788"/>
              <a:gd name="connsiteX8" fmla="*/ 36514 w 279400"/>
              <a:gd name="connsiteY8" fmla="*/ 300038 h 331788"/>
              <a:gd name="connsiteX9" fmla="*/ 87314 w 279400"/>
              <a:gd name="connsiteY9" fmla="*/ 300038 h 331788"/>
              <a:gd name="connsiteX10" fmla="*/ 87314 w 279400"/>
              <a:gd name="connsiteY10" fmla="*/ 311151 h 331788"/>
              <a:gd name="connsiteX11" fmla="*/ 36514 w 279400"/>
              <a:gd name="connsiteY11" fmla="*/ 311151 h 331788"/>
              <a:gd name="connsiteX12" fmla="*/ 114300 w 279400"/>
              <a:gd name="connsiteY12" fmla="*/ 290512 h 331788"/>
              <a:gd name="connsiteX13" fmla="*/ 114300 w 279400"/>
              <a:gd name="connsiteY13" fmla="*/ 320675 h 331788"/>
              <a:gd name="connsiteX14" fmla="*/ 258763 w 279400"/>
              <a:gd name="connsiteY14" fmla="*/ 320675 h 331788"/>
              <a:gd name="connsiteX15" fmla="*/ 258763 w 279400"/>
              <a:gd name="connsiteY15" fmla="*/ 290512 h 331788"/>
              <a:gd name="connsiteX16" fmla="*/ 20638 w 279400"/>
              <a:gd name="connsiteY16" fmla="*/ 290512 h 331788"/>
              <a:gd name="connsiteX17" fmla="*/ 20638 w 279400"/>
              <a:gd name="connsiteY17" fmla="*/ 320675 h 331788"/>
              <a:gd name="connsiteX18" fmla="*/ 103188 w 279400"/>
              <a:gd name="connsiteY18" fmla="*/ 320675 h 331788"/>
              <a:gd name="connsiteX19" fmla="*/ 103188 w 279400"/>
              <a:gd name="connsiteY19" fmla="*/ 290512 h 331788"/>
              <a:gd name="connsiteX20" fmla="*/ 222250 w 279400"/>
              <a:gd name="connsiteY20" fmla="*/ 254000 h 331788"/>
              <a:gd name="connsiteX21" fmla="*/ 242888 w 279400"/>
              <a:gd name="connsiteY21" fmla="*/ 254000 h 331788"/>
              <a:gd name="connsiteX22" fmla="*/ 242888 w 279400"/>
              <a:gd name="connsiteY22" fmla="*/ 263525 h 331788"/>
              <a:gd name="connsiteX23" fmla="*/ 222250 w 279400"/>
              <a:gd name="connsiteY23" fmla="*/ 263525 h 331788"/>
              <a:gd name="connsiteX24" fmla="*/ 192088 w 279400"/>
              <a:gd name="connsiteY24" fmla="*/ 254000 h 331788"/>
              <a:gd name="connsiteX25" fmla="*/ 212726 w 279400"/>
              <a:gd name="connsiteY25" fmla="*/ 254000 h 331788"/>
              <a:gd name="connsiteX26" fmla="*/ 212726 w 279400"/>
              <a:gd name="connsiteY26" fmla="*/ 263525 h 331788"/>
              <a:gd name="connsiteX27" fmla="*/ 192088 w 279400"/>
              <a:gd name="connsiteY27" fmla="*/ 263525 h 331788"/>
              <a:gd name="connsiteX28" fmla="*/ 160338 w 279400"/>
              <a:gd name="connsiteY28" fmla="*/ 254000 h 331788"/>
              <a:gd name="connsiteX29" fmla="*/ 180976 w 279400"/>
              <a:gd name="connsiteY29" fmla="*/ 254000 h 331788"/>
              <a:gd name="connsiteX30" fmla="*/ 180976 w 279400"/>
              <a:gd name="connsiteY30" fmla="*/ 263525 h 331788"/>
              <a:gd name="connsiteX31" fmla="*/ 160338 w 279400"/>
              <a:gd name="connsiteY31" fmla="*/ 263525 h 331788"/>
              <a:gd name="connsiteX32" fmla="*/ 128588 w 279400"/>
              <a:gd name="connsiteY32" fmla="*/ 254000 h 331788"/>
              <a:gd name="connsiteX33" fmla="*/ 149226 w 279400"/>
              <a:gd name="connsiteY33" fmla="*/ 254000 h 331788"/>
              <a:gd name="connsiteX34" fmla="*/ 149226 w 279400"/>
              <a:gd name="connsiteY34" fmla="*/ 263525 h 331788"/>
              <a:gd name="connsiteX35" fmla="*/ 128588 w 279400"/>
              <a:gd name="connsiteY35" fmla="*/ 263525 h 331788"/>
              <a:gd name="connsiteX36" fmla="*/ 66676 w 279400"/>
              <a:gd name="connsiteY36" fmla="*/ 254000 h 331788"/>
              <a:gd name="connsiteX37" fmla="*/ 87314 w 279400"/>
              <a:gd name="connsiteY37" fmla="*/ 254000 h 331788"/>
              <a:gd name="connsiteX38" fmla="*/ 87314 w 279400"/>
              <a:gd name="connsiteY38" fmla="*/ 263525 h 331788"/>
              <a:gd name="connsiteX39" fmla="*/ 66676 w 279400"/>
              <a:gd name="connsiteY39" fmla="*/ 263525 h 331788"/>
              <a:gd name="connsiteX40" fmla="*/ 36514 w 279400"/>
              <a:gd name="connsiteY40" fmla="*/ 254000 h 331788"/>
              <a:gd name="connsiteX41" fmla="*/ 57152 w 279400"/>
              <a:gd name="connsiteY41" fmla="*/ 254000 h 331788"/>
              <a:gd name="connsiteX42" fmla="*/ 57152 w 279400"/>
              <a:gd name="connsiteY42" fmla="*/ 263525 h 331788"/>
              <a:gd name="connsiteX43" fmla="*/ 36514 w 279400"/>
              <a:gd name="connsiteY43" fmla="*/ 263525 h 331788"/>
              <a:gd name="connsiteX44" fmla="*/ 66676 w 279400"/>
              <a:gd name="connsiteY44" fmla="*/ 233363 h 331788"/>
              <a:gd name="connsiteX45" fmla="*/ 87314 w 279400"/>
              <a:gd name="connsiteY45" fmla="*/ 233363 h 331788"/>
              <a:gd name="connsiteX46" fmla="*/ 87314 w 279400"/>
              <a:gd name="connsiteY46" fmla="*/ 242888 h 331788"/>
              <a:gd name="connsiteX47" fmla="*/ 66676 w 279400"/>
              <a:gd name="connsiteY47" fmla="*/ 242888 h 331788"/>
              <a:gd name="connsiteX48" fmla="*/ 36514 w 279400"/>
              <a:gd name="connsiteY48" fmla="*/ 233363 h 331788"/>
              <a:gd name="connsiteX49" fmla="*/ 57152 w 279400"/>
              <a:gd name="connsiteY49" fmla="*/ 233363 h 331788"/>
              <a:gd name="connsiteX50" fmla="*/ 57152 w 279400"/>
              <a:gd name="connsiteY50" fmla="*/ 242888 h 331788"/>
              <a:gd name="connsiteX51" fmla="*/ 36514 w 279400"/>
              <a:gd name="connsiteY51" fmla="*/ 242888 h 331788"/>
              <a:gd name="connsiteX52" fmla="*/ 222250 w 279400"/>
              <a:gd name="connsiteY52" fmla="*/ 233362 h 331788"/>
              <a:gd name="connsiteX53" fmla="*/ 242888 w 279400"/>
              <a:gd name="connsiteY53" fmla="*/ 233362 h 331788"/>
              <a:gd name="connsiteX54" fmla="*/ 242888 w 279400"/>
              <a:gd name="connsiteY54" fmla="*/ 242887 h 331788"/>
              <a:gd name="connsiteX55" fmla="*/ 222250 w 279400"/>
              <a:gd name="connsiteY55" fmla="*/ 242887 h 331788"/>
              <a:gd name="connsiteX56" fmla="*/ 192088 w 279400"/>
              <a:gd name="connsiteY56" fmla="*/ 233362 h 331788"/>
              <a:gd name="connsiteX57" fmla="*/ 212726 w 279400"/>
              <a:gd name="connsiteY57" fmla="*/ 233362 h 331788"/>
              <a:gd name="connsiteX58" fmla="*/ 212726 w 279400"/>
              <a:gd name="connsiteY58" fmla="*/ 242887 h 331788"/>
              <a:gd name="connsiteX59" fmla="*/ 192088 w 279400"/>
              <a:gd name="connsiteY59" fmla="*/ 242887 h 331788"/>
              <a:gd name="connsiteX60" fmla="*/ 160338 w 279400"/>
              <a:gd name="connsiteY60" fmla="*/ 233362 h 331788"/>
              <a:gd name="connsiteX61" fmla="*/ 180976 w 279400"/>
              <a:gd name="connsiteY61" fmla="*/ 233362 h 331788"/>
              <a:gd name="connsiteX62" fmla="*/ 180976 w 279400"/>
              <a:gd name="connsiteY62" fmla="*/ 242887 h 331788"/>
              <a:gd name="connsiteX63" fmla="*/ 160338 w 279400"/>
              <a:gd name="connsiteY63" fmla="*/ 242887 h 331788"/>
              <a:gd name="connsiteX64" fmla="*/ 128588 w 279400"/>
              <a:gd name="connsiteY64" fmla="*/ 233362 h 331788"/>
              <a:gd name="connsiteX65" fmla="*/ 149226 w 279400"/>
              <a:gd name="connsiteY65" fmla="*/ 233362 h 331788"/>
              <a:gd name="connsiteX66" fmla="*/ 149226 w 279400"/>
              <a:gd name="connsiteY66" fmla="*/ 242887 h 331788"/>
              <a:gd name="connsiteX67" fmla="*/ 128588 w 279400"/>
              <a:gd name="connsiteY67" fmla="*/ 242887 h 331788"/>
              <a:gd name="connsiteX68" fmla="*/ 222250 w 279400"/>
              <a:gd name="connsiteY68" fmla="*/ 212725 h 331788"/>
              <a:gd name="connsiteX69" fmla="*/ 242888 w 279400"/>
              <a:gd name="connsiteY69" fmla="*/ 212725 h 331788"/>
              <a:gd name="connsiteX70" fmla="*/ 242888 w 279400"/>
              <a:gd name="connsiteY70" fmla="*/ 222250 h 331788"/>
              <a:gd name="connsiteX71" fmla="*/ 222250 w 279400"/>
              <a:gd name="connsiteY71" fmla="*/ 222250 h 331788"/>
              <a:gd name="connsiteX72" fmla="*/ 192088 w 279400"/>
              <a:gd name="connsiteY72" fmla="*/ 212725 h 331788"/>
              <a:gd name="connsiteX73" fmla="*/ 212726 w 279400"/>
              <a:gd name="connsiteY73" fmla="*/ 212725 h 331788"/>
              <a:gd name="connsiteX74" fmla="*/ 212726 w 279400"/>
              <a:gd name="connsiteY74" fmla="*/ 222250 h 331788"/>
              <a:gd name="connsiteX75" fmla="*/ 192088 w 279400"/>
              <a:gd name="connsiteY75" fmla="*/ 222250 h 331788"/>
              <a:gd name="connsiteX76" fmla="*/ 160338 w 279400"/>
              <a:gd name="connsiteY76" fmla="*/ 212725 h 331788"/>
              <a:gd name="connsiteX77" fmla="*/ 180976 w 279400"/>
              <a:gd name="connsiteY77" fmla="*/ 212725 h 331788"/>
              <a:gd name="connsiteX78" fmla="*/ 180976 w 279400"/>
              <a:gd name="connsiteY78" fmla="*/ 222250 h 331788"/>
              <a:gd name="connsiteX79" fmla="*/ 160338 w 279400"/>
              <a:gd name="connsiteY79" fmla="*/ 222250 h 331788"/>
              <a:gd name="connsiteX80" fmla="*/ 128588 w 279400"/>
              <a:gd name="connsiteY80" fmla="*/ 212725 h 331788"/>
              <a:gd name="connsiteX81" fmla="*/ 149226 w 279400"/>
              <a:gd name="connsiteY81" fmla="*/ 212725 h 331788"/>
              <a:gd name="connsiteX82" fmla="*/ 149226 w 279400"/>
              <a:gd name="connsiteY82" fmla="*/ 222250 h 331788"/>
              <a:gd name="connsiteX83" fmla="*/ 128588 w 279400"/>
              <a:gd name="connsiteY83" fmla="*/ 222250 h 331788"/>
              <a:gd name="connsiteX84" fmla="*/ 66676 w 279400"/>
              <a:gd name="connsiteY84" fmla="*/ 212725 h 331788"/>
              <a:gd name="connsiteX85" fmla="*/ 87314 w 279400"/>
              <a:gd name="connsiteY85" fmla="*/ 212725 h 331788"/>
              <a:gd name="connsiteX86" fmla="*/ 87314 w 279400"/>
              <a:gd name="connsiteY86" fmla="*/ 222250 h 331788"/>
              <a:gd name="connsiteX87" fmla="*/ 66676 w 279400"/>
              <a:gd name="connsiteY87" fmla="*/ 222250 h 331788"/>
              <a:gd name="connsiteX88" fmla="*/ 36514 w 279400"/>
              <a:gd name="connsiteY88" fmla="*/ 212725 h 331788"/>
              <a:gd name="connsiteX89" fmla="*/ 57152 w 279400"/>
              <a:gd name="connsiteY89" fmla="*/ 212725 h 331788"/>
              <a:gd name="connsiteX90" fmla="*/ 57152 w 279400"/>
              <a:gd name="connsiteY90" fmla="*/ 222250 h 331788"/>
              <a:gd name="connsiteX91" fmla="*/ 36514 w 279400"/>
              <a:gd name="connsiteY91" fmla="*/ 222250 h 331788"/>
              <a:gd name="connsiteX92" fmla="*/ 66676 w 279400"/>
              <a:gd name="connsiteY92" fmla="*/ 192088 h 331788"/>
              <a:gd name="connsiteX93" fmla="*/ 87314 w 279400"/>
              <a:gd name="connsiteY93" fmla="*/ 192088 h 331788"/>
              <a:gd name="connsiteX94" fmla="*/ 87314 w 279400"/>
              <a:gd name="connsiteY94" fmla="*/ 201613 h 331788"/>
              <a:gd name="connsiteX95" fmla="*/ 66676 w 279400"/>
              <a:gd name="connsiteY95" fmla="*/ 201613 h 331788"/>
              <a:gd name="connsiteX96" fmla="*/ 36514 w 279400"/>
              <a:gd name="connsiteY96" fmla="*/ 192088 h 331788"/>
              <a:gd name="connsiteX97" fmla="*/ 57152 w 279400"/>
              <a:gd name="connsiteY97" fmla="*/ 192088 h 331788"/>
              <a:gd name="connsiteX98" fmla="*/ 57152 w 279400"/>
              <a:gd name="connsiteY98" fmla="*/ 201613 h 331788"/>
              <a:gd name="connsiteX99" fmla="*/ 36514 w 279400"/>
              <a:gd name="connsiteY99" fmla="*/ 201613 h 331788"/>
              <a:gd name="connsiteX100" fmla="*/ 222250 w 279400"/>
              <a:gd name="connsiteY100" fmla="*/ 192087 h 331788"/>
              <a:gd name="connsiteX101" fmla="*/ 242888 w 279400"/>
              <a:gd name="connsiteY101" fmla="*/ 192087 h 331788"/>
              <a:gd name="connsiteX102" fmla="*/ 242888 w 279400"/>
              <a:gd name="connsiteY102" fmla="*/ 201612 h 331788"/>
              <a:gd name="connsiteX103" fmla="*/ 222250 w 279400"/>
              <a:gd name="connsiteY103" fmla="*/ 201612 h 331788"/>
              <a:gd name="connsiteX104" fmla="*/ 192088 w 279400"/>
              <a:gd name="connsiteY104" fmla="*/ 192087 h 331788"/>
              <a:gd name="connsiteX105" fmla="*/ 212726 w 279400"/>
              <a:gd name="connsiteY105" fmla="*/ 192087 h 331788"/>
              <a:gd name="connsiteX106" fmla="*/ 212726 w 279400"/>
              <a:gd name="connsiteY106" fmla="*/ 201612 h 331788"/>
              <a:gd name="connsiteX107" fmla="*/ 192088 w 279400"/>
              <a:gd name="connsiteY107" fmla="*/ 201612 h 331788"/>
              <a:gd name="connsiteX108" fmla="*/ 160338 w 279400"/>
              <a:gd name="connsiteY108" fmla="*/ 192087 h 331788"/>
              <a:gd name="connsiteX109" fmla="*/ 180976 w 279400"/>
              <a:gd name="connsiteY109" fmla="*/ 192087 h 331788"/>
              <a:gd name="connsiteX110" fmla="*/ 180976 w 279400"/>
              <a:gd name="connsiteY110" fmla="*/ 201612 h 331788"/>
              <a:gd name="connsiteX111" fmla="*/ 160338 w 279400"/>
              <a:gd name="connsiteY111" fmla="*/ 201612 h 331788"/>
              <a:gd name="connsiteX112" fmla="*/ 128588 w 279400"/>
              <a:gd name="connsiteY112" fmla="*/ 192087 h 331788"/>
              <a:gd name="connsiteX113" fmla="*/ 149226 w 279400"/>
              <a:gd name="connsiteY113" fmla="*/ 192087 h 331788"/>
              <a:gd name="connsiteX114" fmla="*/ 149226 w 279400"/>
              <a:gd name="connsiteY114" fmla="*/ 201612 h 331788"/>
              <a:gd name="connsiteX115" fmla="*/ 128588 w 279400"/>
              <a:gd name="connsiteY115" fmla="*/ 201612 h 331788"/>
              <a:gd name="connsiteX116" fmla="*/ 222250 w 279400"/>
              <a:gd name="connsiteY116" fmla="*/ 171450 h 331788"/>
              <a:gd name="connsiteX117" fmla="*/ 242888 w 279400"/>
              <a:gd name="connsiteY117" fmla="*/ 171450 h 331788"/>
              <a:gd name="connsiteX118" fmla="*/ 242888 w 279400"/>
              <a:gd name="connsiteY118" fmla="*/ 180975 h 331788"/>
              <a:gd name="connsiteX119" fmla="*/ 222250 w 279400"/>
              <a:gd name="connsiteY119" fmla="*/ 180975 h 331788"/>
              <a:gd name="connsiteX120" fmla="*/ 192088 w 279400"/>
              <a:gd name="connsiteY120" fmla="*/ 171450 h 331788"/>
              <a:gd name="connsiteX121" fmla="*/ 212726 w 279400"/>
              <a:gd name="connsiteY121" fmla="*/ 171450 h 331788"/>
              <a:gd name="connsiteX122" fmla="*/ 212726 w 279400"/>
              <a:gd name="connsiteY122" fmla="*/ 180975 h 331788"/>
              <a:gd name="connsiteX123" fmla="*/ 192088 w 279400"/>
              <a:gd name="connsiteY123" fmla="*/ 180975 h 331788"/>
              <a:gd name="connsiteX124" fmla="*/ 160338 w 279400"/>
              <a:gd name="connsiteY124" fmla="*/ 171450 h 331788"/>
              <a:gd name="connsiteX125" fmla="*/ 180976 w 279400"/>
              <a:gd name="connsiteY125" fmla="*/ 171450 h 331788"/>
              <a:gd name="connsiteX126" fmla="*/ 180976 w 279400"/>
              <a:gd name="connsiteY126" fmla="*/ 180975 h 331788"/>
              <a:gd name="connsiteX127" fmla="*/ 160338 w 279400"/>
              <a:gd name="connsiteY127" fmla="*/ 180975 h 331788"/>
              <a:gd name="connsiteX128" fmla="*/ 128588 w 279400"/>
              <a:gd name="connsiteY128" fmla="*/ 171450 h 331788"/>
              <a:gd name="connsiteX129" fmla="*/ 149226 w 279400"/>
              <a:gd name="connsiteY129" fmla="*/ 171450 h 331788"/>
              <a:gd name="connsiteX130" fmla="*/ 149226 w 279400"/>
              <a:gd name="connsiteY130" fmla="*/ 180975 h 331788"/>
              <a:gd name="connsiteX131" fmla="*/ 128588 w 279400"/>
              <a:gd name="connsiteY131" fmla="*/ 180975 h 331788"/>
              <a:gd name="connsiteX132" fmla="*/ 66676 w 279400"/>
              <a:gd name="connsiteY132" fmla="*/ 171450 h 331788"/>
              <a:gd name="connsiteX133" fmla="*/ 87314 w 279400"/>
              <a:gd name="connsiteY133" fmla="*/ 171450 h 331788"/>
              <a:gd name="connsiteX134" fmla="*/ 87314 w 279400"/>
              <a:gd name="connsiteY134" fmla="*/ 180975 h 331788"/>
              <a:gd name="connsiteX135" fmla="*/ 66676 w 279400"/>
              <a:gd name="connsiteY135" fmla="*/ 180975 h 331788"/>
              <a:gd name="connsiteX136" fmla="*/ 36514 w 279400"/>
              <a:gd name="connsiteY136" fmla="*/ 171450 h 331788"/>
              <a:gd name="connsiteX137" fmla="*/ 57152 w 279400"/>
              <a:gd name="connsiteY137" fmla="*/ 171450 h 331788"/>
              <a:gd name="connsiteX138" fmla="*/ 57152 w 279400"/>
              <a:gd name="connsiteY138" fmla="*/ 180975 h 331788"/>
              <a:gd name="connsiteX139" fmla="*/ 36514 w 279400"/>
              <a:gd name="connsiteY139" fmla="*/ 180975 h 331788"/>
              <a:gd name="connsiteX140" fmla="*/ 222250 w 279400"/>
              <a:gd name="connsiteY140" fmla="*/ 149225 h 331788"/>
              <a:gd name="connsiteX141" fmla="*/ 242888 w 279400"/>
              <a:gd name="connsiteY141" fmla="*/ 149225 h 331788"/>
              <a:gd name="connsiteX142" fmla="*/ 242888 w 279400"/>
              <a:gd name="connsiteY142" fmla="*/ 160338 h 331788"/>
              <a:gd name="connsiteX143" fmla="*/ 222250 w 279400"/>
              <a:gd name="connsiteY143" fmla="*/ 160338 h 331788"/>
              <a:gd name="connsiteX144" fmla="*/ 192088 w 279400"/>
              <a:gd name="connsiteY144" fmla="*/ 149225 h 331788"/>
              <a:gd name="connsiteX145" fmla="*/ 212726 w 279400"/>
              <a:gd name="connsiteY145" fmla="*/ 149225 h 331788"/>
              <a:gd name="connsiteX146" fmla="*/ 212726 w 279400"/>
              <a:gd name="connsiteY146" fmla="*/ 160338 h 331788"/>
              <a:gd name="connsiteX147" fmla="*/ 192088 w 279400"/>
              <a:gd name="connsiteY147" fmla="*/ 160338 h 331788"/>
              <a:gd name="connsiteX148" fmla="*/ 160338 w 279400"/>
              <a:gd name="connsiteY148" fmla="*/ 149225 h 331788"/>
              <a:gd name="connsiteX149" fmla="*/ 180976 w 279400"/>
              <a:gd name="connsiteY149" fmla="*/ 149225 h 331788"/>
              <a:gd name="connsiteX150" fmla="*/ 180976 w 279400"/>
              <a:gd name="connsiteY150" fmla="*/ 160338 h 331788"/>
              <a:gd name="connsiteX151" fmla="*/ 160338 w 279400"/>
              <a:gd name="connsiteY151" fmla="*/ 160338 h 331788"/>
              <a:gd name="connsiteX152" fmla="*/ 128588 w 279400"/>
              <a:gd name="connsiteY152" fmla="*/ 149225 h 331788"/>
              <a:gd name="connsiteX153" fmla="*/ 149226 w 279400"/>
              <a:gd name="connsiteY153" fmla="*/ 149225 h 331788"/>
              <a:gd name="connsiteX154" fmla="*/ 149226 w 279400"/>
              <a:gd name="connsiteY154" fmla="*/ 160338 h 331788"/>
              <a:gd name="connsiteX155" fmla="*/ 128588 w 279400"/>
              <a:gd name="connsiteY155" fmla="*/ 160338 h 331788"/>
              <a:gd name="connsiteX156" fmla="*/ 66676 w 279400"/>
              <a:gd name="connsiteY156" fmla="*/ 149225 h 331788"/>
              <a:gd name="connsiteX157" fmla="*/ 87314 w 279400"/>
              <a:gd name="connsiteY157" fmla="*/ 149225 h 331788"/>
              <a:gd name="connsiteX158" fmla="*/ 87314 w 279400"/>
              <a:gd name="connsiteY158" fmla="*/ 160338 h 331788"/>
              <a:gd name="connsiteX159" fmla="*/ 66676 w 279400"/>
              <a:gd name="connsiteY159" fmla="*/ 160338 h 331788"/>
              <a:gd name="connsiteX160" fmla="*/ 36514 w 279400"/>
              <a:gd name="connsiteY160" fmla="*/ 149225 h 331788"/>
              <a:gd name="connsiteX161" fmla="*/ 57152 w 279400"/>
              <a:gd name="connsiteY161" fmla="*/ 149225 h 331788"/>
              <a:gd name="connsiteX162" fmla="*/ 57152 w 279400"/>
              <a:gd name="connsiteY162" fmla="*/ 160338 h 331788"/>
              <a:gd name="connsiteX163" fmla="*/ 36514 w 279400"/>
              <a:gd name="connsiteY163" fmla="*/ 160338 h 331788"/>
              <a:gd name="connsiteX164" fmla="*/ 222251 w 279400"/>
              <a:gd name="connsiteY164" fmla="*/ 128588 h 331788"/>
              <a:gd name="connsiteX165" fmla="*/ 242889 w 279400"/>
              <a:gd name="connsiteY165" fmla="*/ 128588 h 331788"/>
              <a:gd name="connsiteX166" fmla="*/ 242889 w 279400"/>
              <a:gd name="connsiteY166" fmla="*/ 139701 h 331788"/>
              <a:gd name="connsiteX167" fmla="*/ 222251 w 279400"/>
              <a:gd name="connsiteY167" fmla="*/ 139701 h 331788"/>
              <a:gd name="connsiteX168" fmla="*/ 192089 w 279400"/>
              <a:gd name="connsiteY168" fmla="*/ 128588 h 331788"/>
              <a:gd name="connsiteX169" fmla="*/ 212727 w 279400"/>
              <a:gd name="connsiteY169" fmla="*/ 128588 h 331788"/>
              <a:gd name="connsiteX170" fmla="*/ 212727 w 279400"/>
              <a:gd name="connsiteY170" fmla="*/ 139701 h 331788"/>
              <a:gd name="connsiteX171" fmla="*/ 192089 w 279400"/>
              <a:gd name="connsiteY171" fmla="*/ 139701 h 331788"/>
              <a:gd name="connsiteX172" fmla="*/ 160339 w 279400"/>
              <a:gd name="connsiteY172" fmla="*/ 128588 h 331788"/>
              <a:gd name="connsiteX173" fmla="*/ 180977 w 279400"/>
              <a:gd name="connsiteY173" fmla="*/ 128588 h 331788"/>
              <a:gd name="connsiteX174" fmla="*/ 180977 w 279400"/>
              <a:gd name="connsiteY174" fmla="*/ 139701 h 331788"/>
              <a:gd name="connsiteX175" fmla="*/ 160339 w 279400"/>
              <a:gd name="connsiteY175" fmla="*/ 139701 h 331788"/>
              <a:gd name="connsiteX176" fmla="*/ 128589 w 279400"/>
              <a:gd name="connsiteY176" fmla="*/ 128588 h 331788"/>
              <a:gd name="connsiteX177" fmla="*/ 149227 w 279400"/>
              <a:gd name="connsiteY177" fmla="*/ 128588 h 331788"/>
              <a:gd name="connsiteX178" fmla="*/ 149227 w 279400"/>
              <a:gd name="connsiteY178" fmla="*/ 139701 h 331788"/>
              <a:gd name="connsiteX179" fmla="*/ 128589 w 279400"/>
              <a:gd name="connsiteY179" fmla="*/ 139701 h 331788"/>
              <a:gd name="connsiteX180" fmla="*/ 66676 w 279400"/>
              <a:gd name="connsiteY180" fmla="*/ 128588 h 331788"/>
              <a:gd name="connsiteX181" fmla="*/ 87314 w 279400"/>
              <a:gd name="connsiteY181" fmla="*/ 128588 h 331788"/>
              <a:gd name="connsiteX182" fmla="*/ 87314 w 279400"/>
              <a:gd name="connsiteY182" fmla="*/ 139701 h 331788"/>
              <a:gd name="connsiteX183" fmla="*/ 66676 w 279400"/>
              <a:gd name="connsiteY183" fmla="*/ 139701 h 331788"/>
              <a:gd name="connsiteX184" fmla="*/ 36514 w 279400"/>
              <a:gd name="connsiteY184" fmla="*/ 128588 h 331788"/>
              <a:gd name="connsiteX185" fmla="*/ 57152 w 279400"/>
              <a:gd name="connsiteY185" fmla="*/ 128588 h 331788"/>
              <a:gd name="connsiteX186" fmla="*/ 57152 w 279400"/>
              <a:gd name="connsiteY186" fmla="*/ 139701 h 331788"/>
              <a:gd name="connsiteX187" fmla="*/ 36514 w 279400"/>
              <a:gd name="connsiteY187" fmla="*/ 139701 h 331788"/>
              <a:gd name="connsiteX188" fmla="*/ 20638 w 279400"/>
              <a:gd name="connsiteY188" fmla="*/ 114300 h 331788"/>
              <a:gd name="connsiteX189" fmla="*/ 20638 w 279400"/>
              <a:gd name="connsiteY189" fmla="*/ 279400 h 331788"/>
              <a:gd name="connsiteX190" fmla="*/ 103188 w 279400"/>
              <a:gd name="connsiteY190" fmla="*/ 279400 h 331788"/>
              <a:gd name="connsiteX191" fmla="*/ 103188 w 279400"/>
              <a:gd name="connsiteY191" fmla="*/ 114300 h 331788"/>
              <a:gd name="connsiteX192" fmla="*/ 222251 w 279400"/>
              <a:gd name="connsiteY192" fmla="*/ 107950 h 331788"/>
              <a:gd name="connsiteX193" fmla="*/ 242889 w 279400"/>
              <a:gd name="connsiteY193" fmla="*/ 107950 h 331788"/>
              <a:gd name="connsiteX194" fmla="*/ 242889 w 279400"/>
              <a:gd name="connsiteY194" fmla="*/ 119063 h 331788"/>
              <a:gd name="connsiteX195" fmla="*/ 222251 w 279400"/>
              <a:gd name="connsiteY195" fmla="*/ 119063 h 331788"/>
              <a:gd name="connsiteX196" fmla="*/ 192089 w 279400"/>
              <a:gd name="connsiteY196" fmla="*/ 107950 h 331788"/>
              <a:gd name="connsiteX197" fmla="*/ 212727 w 279400"/>
              <a:gd name="connsiteY197" fmla="*/ 107950 h 331788"/>
              <a:gd name="connsiteX198" fmla="*/ 212727 w 279400"/>
              <a:gd name="connsiteY198" fmla="*/ 119063 h 331788"/>
              <a:gd name="connsiteX199" fmla="*/ 192089 w 279400"/>
              <a:gd name="connsiteY199" fmla="*/ 119063 h 331788"/>
              <a:gd name="connsiteX200" fmla="*/ 160339 w 279400"/>
              <a:gd name="connsiteY200" fmla="*/ 107950 h 331788"/>
              <a:gd name="connsiteX201" fmla="*/ 180977 w 279400"/>
              <a:gd name="connsiteY201" fmla="*/ 107950 h 331788"/>
              <a:gd name="connsiteX202" fmla="*/ 180977 w 279400"/>
              <a:gd name="connsiteY202" fmla="*/ 119063 h 331788"/>
              <a:gd name="connsiteX203" fmla="*/ 160339 w 279400"/>
              <a:gd name="connsiteY203" fmla="*/ 119063 h 331788"/>
              <a:gd name="connsiteX204" fmla="*/ 128589 w 279400"/>
              <a:gd name="connsiteY204" fmla="*/ 107950 h 331788"/>
              <a:gd name="connsiteX205" fmla="*/ 149227 w 279400"/>
              <a:gd name="connsiteY205" fmla="*/ 107950 h 331788"/>
              <a:gd name="connsiteX206" fmla="*/ 149227 w 279400"/>
              <a:gd name="connsiteY206" fmla="*/ 119063 h 331788"/>
              <a:gd name="connsiteX207" fmla="*/ 128589 w 279400"/>
              <a:gd name="connsiteY207" fmla="*/ 119063 h 331788"/>
              <a:gd name="connsiteX208" fmla="*/ 222251 w 279400"/>
              <a:gd name="connsiteY208" fmla="*/ 87313 h 331788"/>
              <a:gd name="connsiteX209" fmla="*/ 242889 w 279400"/>
              <a:gd name="connsiteY209" fmla="*/ 87313 h 331788"/>
              <a:gd name="connsiteX210" fmla="*/ 242889 w 279400"/>
              <a:gd name="connsiteY210" fmla="*/ 98426 h 331788"/>
              <a:gd name="connsiteX211" fmla="*/ 222251 w 279400"/>
              <a:gd name="connsiteY211" fmla="*/ 98426 h 331788"/>
              <a:gd name="connsiteX212" fmla="*/ 192089 w 279400"/>
              <a:gd name="connsiteY212" fmla="*/ 87313 h 331788"/>
              <a:gd name="connsiteX213" fmla="*/ 212727 w 279400"/>
              <a:gd name="connsiteY213" fmla="*/ 87313 h 331788"/>
              <a:gd name="connsiteX214" fmla="*/ 212727 w 279400"/>
              <a:gd name="connsiteY214" fmla="*/ 98426 h 331788"/>
              <a:gd name="connsiteX215" fmla="*/ 192089 w 279400"/>
              <a:gd name="connsiteY215" fmla="*/ 98426 h 331788"/>
              <a:gd name="connsiteX216" fmla="*/ 160339 w 279400"/>
              <a:gd name="connsiteY216" fmla="*/ 87313 h 331788"/>
              <a:gd name="connsiteX217" fmla="*/ 180977 w 279400"/>
              <a:gd name="connsiteY217" fmla="*/ 87313 h 331788"/>
              <a:gd name="connsiteX218" fmla="*/ 180977 w 279400"/>
              <a:gd name="connsiteY218" fmla="*/ 98426 h 331788"/>
              <a:gd name="connsiteX219" fmla="*/ 160339 w 279400"/>
              <a:gd name="connsiteY219" fmla="*/ 98426 h 331788"/>
              <a:gd name="connsiteX220" fmla="*/ 128589 w 279400"/>
              <a:gd name="connsiteY220" fmla="*/ 87313 h 331788"/>
              <a:gd name="connsiteX221" fmla="*/ 149227 w 279400"/>
              <a:gd name="connsiteY221" fmla="*/ 87313 h 331788"/>
              <a:gd name="connsiteX222" fmla="*/ 149227 w 279400"/>
              <a:gd name="connsiteY222" fmla="*/ 98426 h 331788"/>
              <a:gd name="connsiteX223" fmla="*/ 128589 w 279400"/>
              <a:gd name="connsiteY223" fmla="*/ 98426 h 331788"/>
              <a:gd name="connsiteX224" fmla="*/ 222251 w 279400"/>
              <a:gd name="connsiteY224" fmla="*/ 66675 h 331788"/>
              <a:gd name="connsiteX225" fmla="*/ 242889 w 279400"/>
              <a:gd name="connsiteY225" fmla="*/ 66675 h 331788"/>
              <a:gd name="connsiteX226" fmla="*/ 242889 w 279400"/>
              <a:gd name="connsiteY226" fmla="*/ 77788 h 331788"/>
              <a:gd name="connsiteX227" fmla="*/ 222251 w 279400"/>
              <a:gd name="connsiteY227" fmla="*/ 77788 h 331788"/>
              <a:gd name="connsiteX228" fmla="*/ 192089 w 279400"/>
              <a:gd name="connsiteY228" fmla="*/ 66675 h 331788"/>
              <a:gd name="connsiteX229" fmla="*/ 212727 w 279400"/>
              <a:gd name="connsiteY229" fmla="*/ 66675 h 331788"/>
              <a:gd name="connsiteX230" fmla="*/ 212727 w 279400"/>
              <a:gd name="connsiteY230" fmla="*/ 77788 h 331788"/>
              <a:gd name="connsiteX231" fmla="*/ 192089 w 279400"/>
              <a:gd name="connsiteY231" fmla="*/ 77788 h 331788"/>
              <a:gd name="connsiteX232" fmla="*/ 160339 w 279400"/>
              <a:gd name="connsiteY232" fmla="*/ 66675 h 331788"/>
              <a:gd name="connsiteX233" fmla="*/ 180977 w 279400"/>
              <a:gd name="connsiteY233" fmla="*/ 66675 h 331788"/>
              <a:gd name="connsiteX234" fmla="*/ 180977 w 279400"/>
              <a:gd name="connsiteY234" fmla="*/ 77788 h 331788"/>
              <a:gd name="connsiteX235" fmla="*/ 160339 w 279400"/>
              <a:gd name="connsiteY235" fmla="*/ 77788 h 331788"/>
              <a:gd name="connsiteX236" fmla="*/ 128589 w 279400"/>
              <a:gd name="connsiteY236" fmla="*/ 66675 h 331788"/>
              <a:gd name="connsiteX237" fmla="*/ 149227 w 279400"/>
              <a:gd name="connsiteY237" fmla="*/ 66675 h 331788"/>
              <a:gd name="connsiteX238" fmla="*/ 149227 w 279400"/>
              <a:gd name="connsiteY238" fmla="*/ 77788 h 331788"/>
              <a:gd name="connsiteX239" fmla="*/ 128589 w 279400"/>
              <a:gd name="connsiteY239" fmla="*/ 77788 h 331788"/>
              <a:gd name="connsiteX240" fmla="*/ 222251 w 279400"/>
              <a:gd name="connsiteY240" fmla="*/ 46038 h 331788"/>
              <a:gd name="connsiteX241" fmla="*/ 242889 w 279400"/>
              <a:gd name="connsiteY241" fmla="*/ 46038 h 331788"/>
              <a:gd name="connsiteX242" fmla="*/ 242889 w 279400"/>
              <a:gd name="connsiteY242" fmla="*/ 57151 h 331788"/>
              <a:gd name="connsiteX243" fmla="*/ 222251 w 279400"/>
              <a:gd name="connsiteY243" fmla="*/ 57151 h 331788"/>
              <a:gd name="connsiteX244" fmla="*/ 192089 w 279400"/>
              <a:gd name="connsiteY244" fmla="*/ 46038 h 331788"/>
              <a:gd name="connsiteX245" fmla="*/ 212727 w 279400"/>
              <a:gd name="connsiteY245" fmla="*/ 46038 h 331788"/>
              <a:gd name="connsiteX246" fmla="*/ 212727 w 279400"/>
              <a:gd name="connsiteY246" fmla="*/ 57151 h 331788"/>
              <a:gd name="connsiteX247" fmla="*/ 192089 w 279400"/>
              <a:gd name="connsiteY247" fmla="*/ 57151 h 331788"/>
              <a:gd name="connsiteX248" fmla="*/ 160339 w 279400"/>
              <a:gd name="connsiteY248" fmla="*/ 46038 h 331788"/>
              <a:gd name="connsiteX249" fmla="*/ 180977 w 279400"/>
              <a:gd name="connsiteY249" fmla="*/ 46038 h 331788"/>
              <a:gd name="connsiteX250" fmla="*/ 180977 w 279400"/>
              <a:gd name="connsiteY250" fmla="*/ 57151 h 331788"/>
              <a:gd name="connsiteX251" fmla="*/ 160339 w 279400"/>
              <a:gd name="connsiteY251" fmla="*/ 57151 h 331788"/>
              <a:gd name="connsiteX252" fmla="*/ 128589 w 279400"/>
              <a:gd name="connsiteY252" fmla="*/ 46038 h 331788"/>
              <a:gd name="connsiteX253" fmla="*/ 149227 w 279400"/>
              <a:gd name="connsiteY253" fmla="*/ 46038 h 331788"/>
              <a:gd name="connsiteX254" fmla="*/ 149227 w 279400"/>
              <a:gd name="connsiteY254" fmla="*/ 57151 h 331788"/>
              <a:gd name="connsiteX255" fmla="*/ 128589 w 279400"/>
              <a:gd name="connsiteY255" fmla="*/ 57151 h 331788"/>
              <a:gd name="connsiteX256" fmla="*/ 222251 w 279400"/>
              <a:gd name="connsiteY256" fmla="*/ 25400 h 331788"/>
              <a:gd name="connsiteX257" fmla="*/ 242889 w 279400"/>
              <a:gd name="connsiteY257" fmla="*/ 25400 h 331788"/>
              <a:gd name="connsiteX258" fmla="*/ 242889 w 279400"/>
              <a:gd name="connsiteY258" fmla="*/ 36513 h 331788"/>
              <a:gd name="connsiteX259" fmla="*/ 222251 w 279400"/>
              <a:gd name="connsiteY259" fmla="*/ 36513 h 331788"/>
              <a:gd name="connsiteX260" fmla="*/ 192089 w 279400"/>
              <a:gd name="connsiteY260" fmla="*/ 25400 h 331788"/>
              <a:gd name="connsiteX261" fmla="*/ 212727 w 279400"/>
              <a:gd name="connsiteY261" fmla="*/ 25400 h 331788"/>
              <a:gd name="connsiteX262" fmla="*/ 212727 w 279400"/>
              <a:gd name="connsiteY262" fmla="*/ 36513 h 331788"/>
              <a:gd name="connsiteX263" fmla="*/ 192089 w 279400"/>
              <a:gd name="connsiteY263" fmla="*/ 36513 h 331788"/>
              <a:gd name="connsiteX264" fmla="*/ 160339 w 279400"/>
              <a:gd name="connsiteY264" fmla="*/ 25400 h 331788"/>
              <a:gd name="connsiteX265" fmla="*/ 180977 w 279400"/>
              <a:gd name="connsiteY265" fmla="*/ 25400 h 331788"/>
              <a:gd name="connsiteX266" fmla="*/ 180977 w 279400"/>
              <a:gd name="connsiteY266" fmla="*/ 36513 h 331788"/>
              <a:gd name="connsiteX267" fmla="*/ 160339 w 279400"/>
              <a:gd name="connsiteY267" fmla="*/ 36513 h 331788"/>
              <a:gd name="connsiteX268" fmla="*/ 128589 w 279400"/>
              <a:gd name="connsiteY268" fmla="*/ 25400 h 331788"/>
              <a:gd name="connsiteX269" fmla="*/ 149227 w 279400"/>
              <a:gd name="connsiteY269" fmla="*/ 25400 h 331788"/>
              <a:gd name="connsiteX270" fmla="*/ 149227 w 279400"/>
              <a:gd name="connsiteY270" fmla="*/ 36513 h 331788"/>
              <a:gd name="connsiteX271" fmla="*/ 128589 w 279400"/>
              <a:gd name="connsiteY271" fmla="*/ 36513 h 331788"/>
              <a:gd name="connsiteX272" fmla="*/ 114300 w 279400"/>
              <a:gd name="connsiteY272" fmla="*/ 9525 h 331788"/>
              <a:gd name="connsiteX273" fmla="*/ 114300 w 279400"/>
              <a:gd name="connsiteY273" fmla="*/ 279400 h 331788"/>
              <a:gd name="connsiteX274" fmla="*/ 258763 w 279400"/>
              <a:gd name="connsiteY274" fmla="*/ 279400 h 331788"/>
              <a:gd name="connsiteX275" fmla="*/ 258763 w 279400"/>
              <a:gd name="connsiteY275" fmla="*/ 9525 h 331788"/>
              <a:gd name="connsiteX276" fmla="*/ 103187 w 279400"/>
              <a:gd name="connsiteY276" fmla="*/ 0 h 331788"/>
              <a:gd name="connsiteX277" fmla="*/ 268288 w 279400"/>
              <a:gd name="connsiteY277" fmla="*/ 0 h 331788"/>
              <a:gd name="connsiteX278" fmla="*/ 268288 w 279400"/>
              <a:gd name="connsiteY278" fmla="*/ 320676 h 331788"/>
              <a:gd name="connsiteX279" fmla="*/ 279400 w 279400"/>
              <a:gd name="connsiteY279" fmla="*/ 320676 h 331788"/>
              <a:gd name="connsiteX280" fmla="*/ 279400 w 279400"/>
              <a:gd name="connsiteY280" fmla="*/ 331788 h 331788"/>
              <a:gd name="connsiteX281" fmla="*/ 0 w 279400"/>
              <a:gd name="connsiteY281" fmla="*/ 331788 h 331788"/>
              <a:gd name="connsiteX282" fmla="*/ 0 w 279400"/>
              <a:gd name="connsiteY282" fmla="*/ 320676 h 331788"/>
              <a:gd name="connsiteX283" fmla="*/ 9525 w 279400"/>
              <a:gd name="connsiteY283" fmla="*/ 320676 h 331788"/>
              <a:gd name="connsiteX284" fmla="*/ 9525 w 279400"/>
              <a:gd name="connsiteY284" fmla="*/ 103188 h 331788"/>
              <a:gd name="connsiteX285" fmla="*/ 103187 w 279400"/>
              <a:gd name="connsiteY285" fmla="*/ 103188 h 33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</a:cxnLst>
            <a:rect l="l" t="t" r="r" b="b"/>
            <a:pathLst>
              <a:path w="279400" h="331788">
                <a:moveTo>
                  <a:pt x="192089" y="300038"/>
                </a:moveTo>
                <a:lnTo>
                  <a:pt x="242889" y="300038"/>
                </a:lnTo>
                <a:lnTo>
                  <a:pt x="242889" y="311151"/>
                </a:lnTo>
                <a:lnTo>
                  <a:pt x="192089" y="311151"/>
                </a:lnTo>
                <a:close/>
                <a:moveTo>
                  <a:pt x="128589" y="300038"/>
                </a:moveTo>
                <a:lnTo>
                  <a:pt x="180977" y="300038"/>
                </a:lnTo>
                <a:lnTo>
                  <a:pt x="180977" y="311151"/>
                </a:lnTo>
                <a:lnTo>
                  <a:pt x="128589" y="311151"/>
                </a:lnTo>
                <a:close/>
                <a:moveTo>
                  <a:pt x="36514" y="300038"/>
                </a:moveTo>
                <a:lnTo>
                  <a:pt x="87314" y="300038"/>
                </a:lnTo>
                <a:lnTo>
                  <a:pt x="87314" y="311151"/>
                </a:lnTo>
                <a:lnTo>
                  <a:pt x="36514" y="311151"/>
                </a:lnTo>
                <a:close/>
                <a:moveTo>
                  <a:pt x="114300" y="290512"/>
                </a:moveTo>
                <a:lnTo>
                  <a:pt x="114300" y="320675"/>
                </a:lnTo>
                <a:lnTo>
                  <a:pt x="258763" y="320675"/>
                </a:lnTo>
                <a:lnTo>
                  <a:pt x="258763" y="290512"/>
                </a:lnTo>
                <a:close/>
                <a:moveTo>
                  <a:pt x="20638" y="290512"/>
                </a:moveTo>
                <a:lnTo>
                  <a:pt x="20638" y="320675"/>
                </a:lnTo>
                <a:lnTo>
                  <a:pt x="103188" y="320675"/>
                </a:lnTo>
                <a:lnTo>
                  <a:pt x="103188" y="290512"/>
                </a:lnTo>
                <a:close/>
                <a:moveTo>
                  <a:pt x="222250" y="254000"/>
                </a:moveTo>
                <a:lnTo>
                  <a:pt x="242888" y="254000"/>
                </a:lnTo>
                <a:lnTo>
                  <a:pt x="242888" y="263525"/>
                </a:lnTo>
                <a:lnTo>
                  <a:pt x="222250" y="263525"/>
                </a:lnTo>
                <a:close/>
                <a:moveTo>
                  <a:pt x="192088" y="254000"/>
                </a:moveTo>
                <a:lnTo>
                  <a:pt x="212726" y="254000"/>
                </a:lnTo>
                <a:lnTo>
                  <a:pt x="212726" y="263525"/>
                </a:lnTo>
                <a:lnTo>
                  <a:pt x="192088" y="263525"/>
                </a:lnTo>
                <a:close/>
                <a:moveTo>
                  <a:pt x="160338" y="254000"/>
                </a:moveTo>
                <a:lnTo>
                  <a:pt x="180976" y="254000"/>
                </a:lnTo>
                <a:lnTo>
                  <a:pt x="180976" y="263525"/>
                </a:lnTo>
                <a:lnTo>
                  <a:pt x="160338" y="263525"/>
                </a:lnTo>
                <a:close/>
                <a:moveTo>
                  <a:pt x="128588" y="254000"/>
                </a:moveTo>
                <a:lnTo>
                  <a:pt x="149226" y="254000"/>
                </a:lnTo>
                <a:lnTo>
                  <a:pt x="149226" y="263525"/>
                </a:lnTo>
                <a:lnTo>
                  <a:pt x="128588" y="263525"/>
                </a:lnTo>
                <a:close/>
                <a:moveTo>
                  <a:pt x="66676" y="254000"/>
                </a:moveTo>
                <a:lnTo>
                  <a:pt x="87314" y="254000"/>
                </a:lnTo>
                <a:lnTo>
                  <a:pt x="87314" y="263525"/>
                </a:lnTo>
                <a:lnTo>
                  <a:pt x="66676" y="263525"/>
                </a:lnTo>
                <a:close/>
                <a:moveTo>
                  <a:pt x="36514" y="254000"/>
                </a:moveTo>
                <a:lnTo>
                  <a:pt x="57152" y="254000"/>
                </a:lnTo>
                <a:lnTo>
                  <a:pt x="57152" y="263525"/>
                </a:lnTo>
                <a:lnTo>
                  <a:pt x="36514" y="263525"/>
                </a:lnTo>
                <a:close/>
                <a:moveTo>
                  <a:pt x="66676" y="233363"/>
                </a:moveTo>
                <a:lnTo>
                  <a:pt x="87314" y="233363"/>
                </a:lnTo>
                <a:lnTo>
                  <a:pt x="87314" y="242888"/>
                </a:lnTo>
                <a:lnTo>
                  <a:pt x="66676" y="242888"/>
                </a:lnTo>
                <a:close/>
                <a:moveTo>
                  <a:pt x="36514" y="233363"/>
                </a:moveTo>
                <a:lnTo>
                  <a:pt x="57152" y="233363"/>
                </a:lnTo>
                <a:lnTo>
                  <a:pt x="57152" y="242888"/>
                </a:lnTo>
                <a:lnTo>
                  <a:pt x="36514" y="242888"/>
                </a:lnTo>
                <a:close/>
                <a:moveTo>
                  <a:pt x="222250" y="233362"/>
                </a:moveTo>
                <a:lnTo>
                  <a:pt x="242888" y="233362"/>
                </a:lnTo>
                <a:lnTo>
                  <a:pt x="242888" y="242887"/>
                </a:lnTo>
                <a:lnTo>
                  <a:pt x="222250" y="242887"/>
                </a:lnTo>
                <a:close/>
                <a:moveTo>
                  <a:pt x="192088" y="233362"/>
                </a:moveTo>
                <a:lnTo>
                  <a:pt x="212726" y="233362"/>
                </a:lnTo>
                <a:lnTo>
                  <a:pt x="212726" y="242887"/>
                </a:lnTo>
                <a:lnTo>
                  <a:pt x="192088" y="242887"/>
                </a:lnTo>
                <a:close/>
                <a:moveTo>
                  <a:pt x="160338" y="233362"/>
                </a:moveTo>
                <a:lnTo>
                  <a:pt x="180976" y="233362"/>
                </a:lnTo>
                <a:lnTo>
                  <a:pt x="180976" y="242887"/>
                </a:lnTo>
                <a:lnTo>
                  <a:pt x="160338" y="242887"/>
                </a:lnTo>
                <a:close/>
                <a:moveTo>
                  <a:pt x="128588" y="233362"/>
                </a:moveTo>
                <a:lnTo>
                  <a:pt x="149226" y="233362"/>
                </a:lnTo>
                <a:lnTo>
                  <a:pt x="149226" y="242887"/>
                </a:lnTo>
                <a:lnTo>
                  <a:pt x="128588" y="242887"/>
                </a:lnTo>
                <a:close/>
                <a:moveTo>
                  <a:pt x="222250" y="212725"/>
                </a:moveTo>
                <a:lnTo>
                  <a:pt x="242888" y="212725"/>
                </a:lnTo>
                <a:lnTo>
                  <a:pt x="242888" y="222250"/>
                </a:lnTo>
                <a:lnTo>
                  <a:pt x="222250" y="222250"/>
                </a:lnTo>
                <a:close/>
                <a:moveTo>
                  <a:pt x="192088" y="212725"/>
                </a:moveTo>
                <a:lnTo>
                  <a:pt x="212726" y="212725"/>
                </a:lnTo>
                <a:lnTo>
                  <a:pt x="212726" y="222250"/>
                </a:lnTo>
                <a:lnTo>
                  <a:pt x="192088" y="222250"/>
                </a:lnTo>
                <a:close/>
                <a:moveTo>
                  <a:pt x="160338" y="212725"/>
                </a:moveTo>
                <a:lnTo>
                  <a:pt x="180976" y="212725"/>
                </a:lnTo>
                <a:lnTo>
                  <a:pt x="180976" y="222250"/>
                </a:lnTo>
                <a:lnTo>
                  <a:pt x="160338" y="222250"/>
                </a:lnTo>
                <a:close/>
                <a:moveTo>
                  <a:pt x="128588" y="212725"/>
                </a:moveTo>
                <a:lnTo>
                  <a:pt x="149226" y="212725"/>
                </a:lnTo>
                <a:lnTo>
                  <a:pt x="149226" y="222250"/>
                </a:lnTo>
                <a:lnTo>
                  <a:pt x="128588" y="222250"/>
                </a:lnTo>
                <a:close/>
                <a:moveTo>
                  <a:pt x="66676" y="212725"/>
                </a:moveTo>
                <a:lnTo>
                  <a:pt x="87314" y="212725"/>
                </a:lnTo>
                <a:lnTo>
                  <a:pt x="87314" y="222250"/>
                </a:lnTo>
                <a:lnTo>
                  <a:pt x="66676" y="222250"/>
                </a:lnTo>
                <a:close/>
                <a:moveTo>
                  <a:pt x="36514" y="212725"/>
                </a:moveTo>
                <a:lnTo>
                  <a:pt x="57152" y="212725"/>
                </a:lnTo>
                <a:lnTo>
                  <a:pt x="57152" y="222250"/>
                </a:lnTo>
                <a:lnTo>
                  <a:pt x="36514" y="222250"/>
                </a:lnTo>
                <a:close/>
                <a:moveTo>
                  <a:pt x="66676" y="192088"/>
                </a:moveTo>
                <a:lnTo>
                  <a:pt x="87314" y="192088"/>
                </a:lnTo>
                <a:lnTo>
                  <a:pt x="87314" y="201613"/>
                </a:lnTo>
                <a:lnTo>
                  <a:pt x="66676" y="201613"/>
                </a:lnTo>
                <a:close/>
                <a:moveTo>
                  <a:pt x="36514" y="192088"/>
                </a:moveTo>
                <a:lnTo>
                  <a:pt x="57152" y="192088"/>
                </a:lnTo>
                <a:lnTo>
                  <a:pt x="57152" y="201613"/>
                </a:lnTo>
                <a:lnTo>
                  <a:pt x="36514" y="201613"/>
                </a:lnTo>
                <a:close/>
                <a:moveTo>
                  <a:pt x="222250" y="192087"/>
                </a:moveTo>
                <a:lnTo>
                  <a:pt x="242888" y="192087"/>
                </a:lnTo>
                <a:lnTo>
                  <a:pt x="242888" y="201612"/>
                </a:lnTo>
                <a:lnTo>
                  <a:pt x="222250" y="201612"/>
                </a:lnTo>
                <a:close/>
                <a:moveTo>
                  <a:pt x="192088" y="192087"/>
                </a:moveTo>
                <a:lnTo>
                  <a:pt x="212726" y="192087"/>
                </a:lnTo>
                <a:lnTo>
                  <a:pt x="212726" y="201612"/>
                </a:lnTo>
                <a:lnTo>
                  <a:pt x="192088" y="201612"/>
                </a:lnTo>
                <a:close/>
                <a:moveTo>
                  <a:pt x="160338" y="192087"/>
                </a:moveTo>
                <a:lnTo>
                  <a:pt x="180976" y="192087"/>
                </a:lnTo>
                <a:lnTo>
                  <a:pt x="180976" y="201612"/>
                </a:lnTo>
                <a:lnTo>
                  <a:pt x="160338" y="201612"/>
                </a:lnTo>
                <a:close/>
                <a:moveTo>
                  <a:pt x="128588" y="192087"/>
                </a:moveTo>
                <a:lnTo>
                  <a:pt x="149226" y="192087"/>
                </a:lnTo>
                <a:lnTo>
                  <a:pt x="149226" y="201612"/>
                </a:lnTo>
                <a:lnTo>
                  <a:pt x="128588" y="201612"/>
                </a:lnTo>
                <a:close/>
                <a:moveTo>
                  <a:pt x="222250" y="171450"/>
                </a:moveTo>
                <a:lnTo>
                  <a:pt x="242888" y="171450"/>
                </a:lnTo>
                <a:lnTo>
                  <a:pt x="242888" y="180975"/>
                </a:lnTo>
                <a:lnTo>
                  <a:pt x="222250" y="180975"/>
                </a:lnTo>
                <a:close/>
                <a:moveTo>
                  <a:pt x="192088" y="171450"/>
                </a:moveTo>
                <a:lnTo>
                  <a:pt x="212726" y="171450"/>
                </a:lnTo>
                <a:lnTo>
                  <a:pt x="212726" y="180975"/>
                </a:lnTo>
                <a:lnTo>
                  <a:pt x="192088" y="180975"/>
                </a:lnTo>
                <a:close/>
                <a:moveTo>
                  <a:pt x="160338" y="171450"/>
                </a:moveTo>
                <a:lnTo>
                  <a:pt x="180976" y="171450"/>
                </a:lnTo>
                <a:lnTo>
                  <a:pt x="180976" y="180975"/>
                </a:lnTo>
                <a:lnTo>
                  <a:pt x="160338" y="180975"/>
                </a:lnTo>
                <a:close/>
                <a:moveTo>
                  <a:pt x="128588" y="171450"/>
                </a:moveTo>
                <a:lnTo>
                  <a:pt x="149226" y="171450"/>
                </a:lnTo>
                <a:lnTo>
                  <a:pt x="149226" y="180975"/>
                </a:lnTo>
                <a:lnTo>
                  <a:pt x="128588" y="180975"/>
                </a:lnTo>
                <a:close/>
                <a:moveTo>
                  <a:pt x="66676" y="171450"/>
                </a:moveTo>
                <a:lnTo>
                  <a:pt x="87314" y="171450"/>
                </a:lnTo>
                <a:lnTo>
                  <a:pt x="87314" y="180975"/>
                </a:lnTo>
                <a:lnTo>
                  <a:pt x="66676" y="180975"/>
                </a:lnTo>
                <a:close/>
                <a:moveTo>
                  <a:pt x="36514" y="171450"/>
                </a:moveTo>
                <a:lnTo>
                  <a:pt x="57152" y="171450"/>
                </a:lnTo>
                <a:lnTo>
                  <a:pt x="57152" y="180975"/>
                </a:lnTo>
                <a:lnTo>
                  <a:pt x="36514" y="180975"/>
                </a:lnTo>
                <a:close/>
                <a:moveTo>
                  <a:pt x="222250" y="149225"/>
                </a:moveTo>
                <a:lnTo>
                  <a:pt x="242888" y="149225"/>
                </a:lnTo>
                <a:lnTo>
                  <a:pt x="242888" y="160338"/>
                </a:lnTo>
                <a:lnTo>
                  <a:pt x="222250" y="160338"/>
                </a:lnTo>
                <a:close/>
                <a:moveTo>
                  <a:pt x="192088" y="149225"/>
                </a:moveTo>
                <a:lnTo>
                  <a:pt x="212726" y="149225"/>
                </a:lnTo>
                <a:lnTo>
                  <a:pt x="212726" y="160338"/>
                </a:lnTo>
                <a:lnTo>
                  <a:pt x="192088" y="160338"/>
                </a:lnTo>
                <a:close/>
                <a:moveTo>
                  <a:pt x="160338" y="149225"/>
                </a:moveTo>
                <a:lnTo>
                  <a:pt x="180976" y="149225"/>
                </a:lnTo>
                <a:lnTo>
                  <a:pt x="180976" y="160338"/>
                </a:lnTo>
                <a:lnTo>
                  <a:pt x="160338" y="160338"/>
                </a:lnTo>
                <a:close/>
                <a:moveTo>
                  <a:pt x="128588" y="149225"/>
                </a:moveTo>
                <a:lnTo>
                  <a:pt x="149226" y="149225"/>
                </a:lnTo>
                <a:lnTo>
                  <a:pt x="149226" y="160338"/>
                </a:lnTo>
                <a:lnTo>
                  <a:pt x="128588" y="160338"/>
                </a:lnTo>
                <a:close/>
                <a:moveTo>
                  <a:pt x="66676" y="149225"/>
                </a:moveTo>
                <a:lnTo>
                  <a:pt x="87314" y="149225"/>
                </a:lnTo>
                <a:lnTo>
                  <a:pt x="87314" y="160338"/>
                </a:lnTo>
                <a:lnTo>
                  <a:pt x="66676" y="160338"/>
                </a:lnTo>
                <a:close/>
                <a:moveTo>
                  <a:pt x="36514" y="149225"/>
                </a:moveTo>
                <a:lnTo>
                  <a:pt x="57152" y="149225"/>
                </a:lnTo>
                <a:lnTo>
                  <a:pt x="57152" y="160338"/>
                </a:lnTo>
                <a:lnTo>
                  <a:pt x="36514" y="160338"/>
                </a:lnTo>
                <a:close/>
                <a:moveTo>
                  <a:pt x="222251" y="128588"/>
                </a:moveTo>
                <a:lnTo>
                  <a:pt x="242889" y="128588"/>
                </a:lnTo>
                <a:lnTo>
                  <a:pt x="242889" y="139701"/>
                </a:lnTo>
                <a:lnTo>
                  <a:pt x="222251" y="139701"/>
                </a:lnTo>
                <a:close/>
                <a:moveTo>
                  <a:pt x="192089" y="128588"/>
                </a:moveTo>
                <a:lnTo>
                  <a:pt x="212727" y="128588"/>
                </a:lnTo>
                <a:lnTo>
                  <a:pt x="212727" y="139701"/>
                </a:lnTo>
                <a:lnTo>
                  <a:pt x="192089" y="139701"/>
                </a:lnTo>
                <a:close/>
                <a:moveTo>
                  <a:pt x="160339" y="128588"/>
                </a:moveTo>
                <a:lnTo>
                  <a:pt x="180977" y="128588"/>
                </a:lnTo>
                <a:lnTo>
                  <a:pt x="180977" y="139701"/>
                </a:lnTo>
                <a:lnTo>
                  <a:pt x="160339" y="139701"/>
                </a:lnTo>
                <a:close/>
                <a:moveTo>
                  <a:pt x="128589" y="128588"/>
                </a:moveTo>
                <a:lnTo>
                  <a:pt x="149227" y="128588"/>
                </a:lnTo>
                <a:lnTo>
                  <a:pt x="149227" y="139701"/>
                </a:lnTo>
                <a:lnTo>
                  <a:pt x="128589" y="139701"/>
                </a:lnTo>
                <a:close/>
                <a:moveTo>
                  <a:pt x="66676" y="128588"/>
                </a:moveTo>
                <a:lnTo>
                  <a:pt x="87314" y="128588"/>
                </a:lnTo>
                <a:lnTo>
                  <a:pt x="87314" y="139701"/>
                </a:lnTo>
                <a:lnTo>
                  <a:pt x="66676" y="139701"/>
                </a:lnTo>
                <a:close/>
                <a:moveTo>
                  <a:pt x="36514" y="128588"/>
                </a:moveTo>
                <a:lnTo>
                  <a:pt x="57152" y="128588"/>
                </a:lnTo>
                <a:lnTo>
                  <a:pt x="57152" y="139701"/>
                </a:lnTo>
                <a:lnTo>
                  <a:pt x="36514" y="139701"/>
                </a:lnTo>
                <a:close/>
                <a:moveTo>
                  <a:pt x="20638" y="114300"/>
                </a:moveTo>
                <a:lnTo>
                  <a:pt x="20638" y="279400"/>
                </a:lnTo>
                <a:lnTo>
                  <a:pt x="103188" y="279400"/>
                </a:lnTo>
                <a:lnTo>
                  <a:pt x="103188" y="114300"/>
                </a:lnTo>
                <a:close/>
                <a:moveTo>
                  <a:pt x="222251" y="107950"/>
                </a:moveTo>
                <a:lnTo>
                  <a:pt x="242889" y="107950"/>
                </a:lnTo>
                <a:lnTo>
                  <a:pt x="242889" y="119063"/>
                </a:lnTo>
                <a:lnTo>
                  <a:pt x="222251" y="119063"/>
                </a:lnTo>
                <a:close/>
                <a:moveTo>
                  <a:pt x="192089" y="107950"/>
                </a:moveTo>
                <a:lnTo>
                  <a:pt x="212727" y="107950"/>
                </a:lnTo>
                <a:lnTo>
                  <a:pt x="212727" y="119063"/>
                </a:lnTo>
                <a:lnTo>
                  <a:pt x="192089" y="119063"/>
                </a:lnTo>
                <a:close/>
                <a:moveTo>
                  <a:pt x="160339" y="107950"/>
                </a:moveTo>
                <a:lnTo>
                  <a:pt x="180977" y="107950"/>
                </a:lnTo>
                <a:lnTo>
                  <a:pt x="180977" y="119063"/>
                </a:lnTo>
                <a:lnTo>
                  <a:pt x="160339" y="119063"/>
                </a:lnTo>
                <a:close/>
                <a:moveTo>
                  <a:pt x="128589" y="107950"/>
                </a:moveTo>
                <a:lnTo>
                  <a:pt x="149227" y="107950"/>
                </a:lnTo>
                <a:lnTo>
                  <a:pt x="149227" y="119063"/>
                </a:lnTo>
                <a:lnTo>
                  <a:pt x="128589" y="119063"/>
                </a:lnTo>
                <a:close/>
                <a:moveTo>
                  <a:pt x="222251" y="87313"/>
                </a:moveTo>
                <a:lnTo>
                  <a:pt x="242889" y="87313"/>
                </a:lnTo>
                <a:lnTo>
                  <a:pt x="242889" y="98426"/>
                </a:lnTo>
                <a:lnTo>
                  <a:pt x="222251" y="98426"/>
                </a:lnTo>
                <a:close/>
                <a:moveTo>
                  <a:pt x="192089" y="87313"/>
                </a:moveTo>
                <a:lnTo>
                  <a:pt x="212727" y="87313"/>
                </a:lnTo>
                <a:lnTo>
                  <a:pt x="212727" y="98426"/>
                </a:lnTo>
                <a:lnTo>
                  <a:pt x="192089" y="98426"/>
                </a:lnTo>
                <a:close/>
                <a:moveTo>
                  <a:pt x="160339" y="87313"/>
                </a:moveTo>
                <a:lnTo>
                  <a:pt x="180977" y="87313"/>
                </a:lnTo>
                <a:lnTo>
                  <a:pt x="180977" y="98426"/>
                </a:lnTo>
                <a:lnTo>
                  <a:pt x="160339" y="98426"/>
                </a:lnTo>
                <a:close/>
                <a:moveTo>
                  <a:pt x="128589" y="87313"/>
                </a:moveTo>
                <a:lnTo>
                  <a:pt x="149227" y="87313"/>
                </a:lnTo>
                <a:lnTo>
                  <a:pt x="149227" y="98426"/>
                </a:lnTo>
                <a:lnTo>
                  <a:pt x="128589" y="98426"/>
                </a:lnTo>
                <a:close/>
                <a:moveTo>
                  <a:pt x="222251" y="66675"/>
                </a:moveTo>
                <a:lnTo>
                  <a:pt x="242889" y="66675"/>
                </a:lnTo>
                <a:lnTo>
                  <a:pt x="242889" y="77788"/>
                </a:lnTo>
                <a:lnTo>
                  <a:pt x="222251" y="77788"/>
                </a:lnTo>
                <a:close/>
                <a:moveTo>
                  <a:pt x="192089" y="66675"/>
                </a:moveTo>
                <a:lnTo>
                  <a:pt x="212727" y="66675"/>
                </a:lnTo>
                <a:lnTo>
                  <a:pt x="212727" y="77788"/>
                </a:lnTo>
                <a:lnTo>
                  <a:pt x="192089" y="77788"/>
                </a:lnTo>
                <a:close/>
                <a:moveTo>
                  <a:pt x="160339" y="66675"/>
                </a:moveTo>
                <a:lnTo>
                  <a:pt x="180977" y="66675"/>
                </a:lnTo>
                <a:lnTo>
                  <a:pt x="180977" y="77788"/>
                </a:lnTo>
                <a:lnTo>
                  <a:pt x="160339" y="77788"/>
                </a:lnTo>
                <a:close/>
                <a:moveTo>
                  <a:pt x="128589" y="66675"/>
                </a:moveTo>
                <a:lnTo>
                  <a:pt x="149227" y="66675"/>
                </a:lnTo>
                <a:lnTo>
                  <a:pt x="149227" y="77788"/>
                </a:lnTo>
                <a:lnTo>
                  <a:pt x="128589" y="77788"/>
                </a:lnTo>
                <a:close/>
                <a:moveTo>
                  <a:pt x="222251" y="46038"/>
                </a:moveTo>
                <a:lnTo>
                  <a:pt x="242889" y="46038"/>
                </a:lnTo>
                <a:lnTo>
                  <a:pt x="242889" y="57151"/>
                </a:lnTo>
                <a:lnTo>
                  <a:pt x="222251" y="57151"/>
                </a:lnTo>
                <a:close/>
                <a:moveTo>
                  <a:pt x="192089" y="46038"/>
                </a:moveTo>
                <a:lnTo>
                  <a:pt x="212727" y="46038"/>
                </a:lnTo>
                <a:lnTo>
                  <a:pt x="212727" y="57151"/>
                </a:lnTo>
                <a:lnTo>
                  <a:pt x="192089" y="57151"/>
                </a:lnTo>
                <a:close/>
                <a:moveTo>
                  <a:pt x="160339" y="46038"/>
                </a:moveTo>
                <a:lnTo>
                  <a:pt x="180977" y="46038"/>
                </a:lnTo>
                <a:lnTo>
                  <a:pt x="180977" y="57151"/>
                </a:lnTo>
                <a:lnTo>
                  <a:pt x="160339" y="57151"/>
                </a:lnTo>
                <a:close/>
                <a:moveTo>
                  <a:pt x="128589" y="46038"/>
                </a:moveTo>
                <a:lnTo>
                  <a:pt x="149227" y="46038"/>
                </a:lnTo>
                <a:lnTo>
                  <a:pt x="149227" y="57151"/>
                </a:lnTo>
                <a:lnTo>
                  <a:pt x="128589" y="57151"/>
                </a:lnTo>
                <a:close/>
                <a:moveTo>
                  <a:pt x="222251" y="25400"/>
                </a:moveTo>
                <a:lnTo>
                  <a:pt x="242889" y="25400"/>
                </a:lnTo>
                <a:lnTo>
                  <a:pt x="242889" y="36513"/>
                </a:lnTo>
                <a:lnTo>
                  <a:pt x="222251" y="36513"/>
                </a:lnTo>
                <a:close/>
                <a:moveTo>
                  <a:pt x="192089" y="25400"/>
                </a:moveTo>
                <a:lnTo>
                  <a:pt x="212727" y="25400"/>
                </a:lnTo>
                <a:lnTo>
                  <a:pt x="212727" y="36513"/>
                </a:lnTo>
                <a:lnTo>
                  <a:pt x="192089" y="36513"/>
                </a:lnTo>
                <a:close/>
                <a:moveTo>
                  <a:pt x="160339" y="25400"/>
                </a:moveTo>
                <a:lnTo>
                  <a:pt x="180977" y="25400"/>
                </a:lnTo>
                <a:lnTo>
                  <a:pt x="180977" y="36513"/>
                </a:lnTo>
                <a:lnTo>
                  <a:pt x="160339" y="36513"/>
                </a:lnTo>
                <a:close/>
                <a:moveTo>
                  <a:pt x="128589" y="25400"/>
                </a:moveTo>
                <a:lnTo>
                  <a:pt x="149227" y="25400"/>
                </a:lnTo>
                <a:lnTo>
                  <a:pt x="149227" y="36513"/>
                </a:lnTo>
                <a:lnTo>
                  <a:pt x="128589" y="36513"/>
                </a:lnTo>
                <a:close/>
                <a:moveTo>
                  <a:pt x="114300" y="9525"/>
                </a:moveTo>
                <a:lnTo>
                  <a:pt x="114300" y="279400"/>
                </a:lnTo>
                <a:lnTo>
                  <a:pt x="258763" y="279400"/>
                </a:lnTo>
                <a:lnTo>
                  <a:pt x="258763" y="9525"/>
                </a:lnTo>
                <a:close/>
                <a:moveTo>
                  <a:pt x="103187" y="0"/>
                </a:moveTo>
                <a:lnTo>
                  <a:pt x="268288" y="0"/>
                </a:lnTo>
                <a:lnTo>
                  <a:pt x="268288" y="320676"/>
                </a:lnTo>
                <a:lnTo>
                  <a:pt x="279400" y="320676"/>
                </a:lnTo>
                <a:lnTo>
                  <a:pt x="279400" y="331788"/>
                </a:lnTo>
                <a:lnTo>
                  <a:pt x="0" y="331788"/>
                </a:lnTo>
                <a:lnTo>
                  <a:pt x="0" y="320676"/>
                </a:lnTo>
                <a:lnTo>
                  <a:pt x="9525" y="320676"/>
                </a:lnTo>
                <a:lnTo>
                  <a:pt x="9525" y="103188"/>
                </a:lnTo>
                <a:lnTo>
                  <a:pt x="103187" y="1031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F518FE50-4186-4494-AFAE-5CCD16DA01C1}"/>
              </a:ext>
            </a:extLst>
          </p:cNvPr>
          <p:cNvSpPr txBox="1"/>
          <p:nvPr/>
        </p:nvSpPr>
        <p:spPr>
          <a:xfrm>
            <a:off x="673101" y="1130300"/>
            <a:ext cx="4155572" cy="8521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en-US" sz="2000" b="1" dirty="0">
                <a:cs typeface="+mn-ea"/>
                <a:sym typeface="+mn-lt"/>
              </a:rPr>
              <a:t>Unified fonts make</a:t>
            </a:r>
          </a:p>
          <a:p>
            <a:pPr>
              <a:buSzPct val="25000"/>
            </a:pPr>
            <a:r>
              <a:rPr lang="en-US" sz="20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5A61E26F-DA3C-48E2-B585-FD45432B5635}"/>
              </a:ext>
            </a:extLst>
          </p:cNvPr>
          <p:cNvSpPr txBox="1"/>
          <p:nvPr/>
        </p:nvSpPr>
        <p:spPr>
          <a:xfrm>
            <a:off x="673101" y="1982461"/>
            <a:ext cx="4155573" cy="1042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178E7AC0-44DA-4A5B-BAEE-DA0422133562}"/>
              </a:ext>
            </a:extLst>
          </p:cNvPr>
          <p:cNvCxnSpPr/>
          <p:nvPr/>
        </p:nvCxnSpPr>
        <p:spPr>
          <a:xfrm>
            <a:off x="7313613" y="2374383"/>
            <a:ext cx="42052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534ED030-9C9A-4564-94FF-16DC9DFD1703}"/>
              </a:ext>
            </a:extLst>
          </p:cNvPr>
          <p:cNvCxnSpPr/>
          <p:nvPr/>
        </p:nvCxnSpPr>
        <p:spPr>
          <a:xfrm>
            <a:off x="7313613" y="3638549"/>
            <a:ext cx="42052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621DEDD0-0C83-45B5-9DD1-8A17BA2B3747}"/>
              </a:ext>
            </a:extLst>
          </p:cNvPr>
          <p:cNvCxnSpPr/>
          <p:nvPr/>
        </p:nvCxnSpPr>
        <p:spPr>
          <a:xfrm>
            <a:off x="7313613" y="4902715"/>
            <a:ext cx="42052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>
            <a:extLst>
              <a:ext uri="{FF2B5EF4-FFF2-40B4-BE49-F238E27FC236}">
                <a16:creationId xmlns:a16="http://schemas.microsoft.com/office/drawing/2014/main" id="{59834CF7-CBEF-4C52-8472-65A8AF9F6A79}"/>
              </a:ext>
            </a:extLst>
          </p:cNvPr>
          <p:cNvSpPr/>
          <p:nvPr/>
        </p:nvSpPr>
        <p:spPr>
          <a:xfrm>
            <a:off x="7315200" y="1130300"/>
            <a:ext cx="733425" cy="1224000"/>
          </a:xfrm>
          <a:prstGeom prst="rect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zh-CN" altLang="en-US" sz="1600" b="1" dirty="0">
                <a:cs typeface="+mn-ea"/>
                <a:sym typeface="+mn-lt"/>
              </a:rPr>
              <a:t>科目抓取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7882D2DE-1E40-4FF6-A6C6-42C93154A78D}"/>
              </a:ext>
            </a:extLst>
          </p:cNvPr>
          <p:cNvSpPr/>
          <p:nvPr/>
        </p:nvSpPr>
        <p:spPr>
          <a:xfrm>
            <a:off x="7315200" y="2394466"/>
            <a:ext cx="733425" cy="1224000"/>
          </a:xfrm>
          <a:prstGeom prst="rect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zh-CN" altLang="en-US" sz="1600" b="1" dirty="0">
                <a:cs typeface="+mn-ea"/>
                <a:sym typeface="+mn-lt"/>
              </a:rPr>
              <a:t>单独辅导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568B0D84-8924-4DE4-912B-6D60955D27E3}"/>
              </a:ext>
            </a:extLst>
          </p:cNvPr>
          <p:cNvSpPr/>
          <p:nvPr/>
        </p:nvSpPr>
        <p:spPr>
          <a:xfrm>
            <a:off x="7315200" y="3658632"/>
            <a:ext cx="733425" cy="1224000"/>
          </a:xfrm>
          <a:prstGeom prst="rect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zh-CN" altLang="en-US" sz="1600" b="1" dirty="0">
                <a:cs typeface="+mn-ea"/>
                <a:sym typeface="+mn-lt"/>
              </a:rPr>
              <a:t>完成测试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F3F1940B-F975-442E-A2AD-B786C81938F6}"/>
              </a:ext>
            </a:extLst>
          </p:cNvPr>
          <p:cNvSpPr/>
          <p:nvPr/>
        </p:nvSpPr>
        <p:spPr>
          <a:xfrm>
            <a:off x="7315200" y="4922800"/>
            <a:ext cx="733425" cy="1224000"/>
          </a:xfrm>
          <a:prstGeom prst="rect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zh-CN" altLang="en-US" sz="1600" b="1" dirty="0">
                <a:cs typeface="+mn-ea"/>
                <a:sym typeface="+mn-lt"/>
              </a:rPr>
              <a:t>整体提升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7ED440B4-7200-4B07-A600-795840F7C9CD}"/>
              </a:ext>
            </a:extLst>
          </p:cNvPr>
          <p:cNvSpPr txBox="1"/>
          <p:nvPr/>
        </p:nvSpPr>
        <p:spPr>
          <a:xfrm>
            <a:off x="8258094" y="1449208"/>
            <a:ext cx="1846752" cy="58618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5BC5A8A8-26B8-47AB-9864-2BD8626FCD12}"/>
              </a:ext>
            </a:extLst>
          </p:cNvPr>
          <p:cNvSpPr txBox="1"/>
          <p:nvPr/>
        </p:nvSpPr>
        <p:spPr>
          <a:xfrm>
            <a:off x="8258094" y="2713375"/>
            <a:ext cx="1846752" cy="58618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E9519D6D-2ADD-4730-965F-7AB26AFF542E}"/>
              </a:ext>
            </a:extLst>
          </p:cNvPr>
          <p:cNvSpPr txBox="1"/>
          <p:nvPr/>
        </p:nvSpPr>
        <p:spPr>
          <a:xfrm>
            <a:off x="8258094" y="3977542"/>
            <a:ext cx="1846752" cy="58618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C7D03771-5056-4D03-9533-D263905E8560}"/>
              </a:ext>
            </a:extLst>
          </p:cNvPr>
          <p:cNvSpPr txBox="1"/>
          <p:nvPr/>
        </p:nvSpPr>
        <p:spPr>
          <a:xfrm>
            <a:off x="8258094" y="5241708"/>
            <a:ext cx="1846752" cy="58618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年度工作概述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38" name="任意多边形: 形状 937">
            <a:extLst>
              <a:ext uri="{FF2B5EF4-FFF2-40B4-BE49-F238E27FC236}">
                <a16:creationId xmlns:a16="http://schemas.microsoft.com/office/drawing/2014/main" id="{CDFFB33C-1DFF-4C00-A4DA-F73FD6806FBF}"/>
              </a:ext>
            </a:extLst>
          </p:cNvPr>
          <p:cNvSpPr/>
          <p:nvPr/>
        </p:nvSpPr>
        <p:spPr>
          <a:xfrm rot="8341735" flipH="1">
            <a:off x="3807312" y="4222669"/>
            <a:ext cx="1024750" cy="10931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8516" y="4499"/>
                  <a:pt x="14591" y="8500"/>
                  <a:pt x="10132" y="11778"/>
                </a:cubicBezTo>
                <a:cubicBezTo>
                  <a:pt x="8255" y="13157"/>
                  <a:pt x="5662" y="14203"/>
                  <a:pt x="4109" y="12842"/>
                </a:cubicBezTo>
                <a:cubicBezTo>
                  <a:pt x="1726" y="10754"/>
                  <a:pt x="4412" y="6732"/>
                  <a:pt x="8055" y="7797"/>
                </a:cubicBezTo>
                <a:cubicBezTo>
                  <a:pt x="11161" y="8705"/>
                  <a:pt x="11409" y="12598"/>
                  <a:pt x="9408" y="15522"/>
                </a:cubicBezTo>
                <a:cubicBezTo>
                  <a:pt x="7373" y="18496"/>
                  <a:pt x="3870" y="20653"/>
                  <a:pt x="0" y="21600"/>
                </a:cubicBezTo>
              </a:path>
            </a:pathLst>
          </a:custGeom>
          <a:ln w="22225" cap="rnd">
            <a:solidFill>
              <a:schemeClr val="accent1"/>
            </a:solidFill>
            <a:custDash>
              <a:ds d="100000" sp="200000"/>
            </a:custDash>
            <a:miter lim="400000"/>
            <a:tailEnd type="arrow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39" name="任意多边形: 形状 938">
            <a:extLst>
              <a:ext uri="{FF2B5EF4-FFF2-40B4-BE49-F238E27FC236}">
                <a16:creationId xmlns:a16="http://schemas.microsoft.com/office/drawing/2014/main" id="{E0DFF941-9D6A-4504-A302-4970645D6D16}"/>
              </a:ext>
            </a:extLst>
          </p:cNvPr>
          <p:cNvSpPr/>
          <p:nvPr/>
        </p:nvSpPr>
        <p:spPr>
          <a:xfrm>
            <a:off x="3399553" y="2833306"/>
            <a:ext cx="1657855" cy="766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760" extrusionOk="0">
                <a:moveTo>
                  <a:pt x="21600" y="20760"/>
                </a:moveTo>
                <a:cubicBezTo>
                  <a:pt x="18369" y="9606"/>
                  <a:pt x="14127" y="2481"/>
                  <a:pt x="9559" y="535"/>
                </a:cubicBezTo>
                <a:cubicBezTo>
                  <a:pt x="6331" y="-840"/>
                  <a:pt x="3052" y="446"/>
                  <a:pt x="0" y="4285"/>
                </a:cubicBezTo>
              </a:path>
            </a:pathLst>
          </a:custGeom>
          <a:ln w="22225" cap="rnd">
            <a:solidFill>
              <a:schemeClr val="accent1"/>
            </a:solidFill>
            <a:custDash>
              <a:ds d="100000" sp="200000"/>
            </a:custDash>
            <a:miter lim="400000"/>
            <a:tailEnd type="arrow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40" name="任意多边形: 形状 939">
            <a:extLst>
              <a:ext uri="{FF2B5EF4-FFF2-40B4-BE49-F238E27FC236}">
                <a16:creationId xmlns:a16="http://schemas.microsoft.com/office/drawing/2014/main" id="{A981902C-99D2-475C-B2ED-FD8B4E3D1D79}"/>
              </a:ext>
            </a:extLst>
          </p:cNvPr>
          <p:cNvSpPr/>
          <p:nvPr/>
        </p:nvSpPr>
        <p:spPr>
          <a:xfrm rot="13260000">
            <a:off x="7317040" y="4222529"/>
            <a:ext cx="1024750" cy="10931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8516" y="4499"/>
                  <a:pt x="14591" y="8500"/>
                  <a:pt x="10132" y="11778"/>
                </a:cubicBezTo>
                <a:cubicBezTo>
                  <a:pt x="8255" y="13157"/>
                  <a:pt x="5662" y="14203"/>
                  <a:pt x="4109" y="12842"/>
                </a:cubicBezTo>
                <a:cubicBezTo>
                  <a:pt x="1726" y="10754"/>
                  <a:pt x="4412" y="6732"/>
                  <a:pt x="8055" y="7797"/>
                </a:cubicBezTo>
                <a:cubicBezTo>
                  <a:pt x="11161" y="8705"/>
                  <a:pt x="11409" y="12598"/>
                  <a:pt x="9408" y="15522"/>
                </a:cubicBezTo>
                <a:cubicBezTo>
                  <a:pt x="7373" y="18496"/>
                  <a:pt x="3870" y="20653"/>
                  <a:pt x="0" y="21600"/>
                </a:cubicBezTo>
              </a:path>
            </a:pathLst>
          </a:custGeom>
          <a:ln w="22225" cap="rnd">
            <a:solidFill>
              <a:schemeClr val="accent1"/>
            </a:solidFill>
            <a:custDash>
              <a:ds d="100000" sp="200000"/>
            </a:custDash>
            <a:miter lim="400000"/>
            <a:tailEnd type="arrow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41" name="任意多边形: 形状 940">
            <a:extLst>
              <a:ext uri="{FF2B5EF4-FFF2-40B4-BE49-F238E27FC236}">
                <a16:creationId xmlns:a16="http://schemas.microsoft.com/office/drawing/2014/main" id="{FB702765-A91D-42C2-9B91-C7ACE3D09F3F}"/>
              </a:ext>
            </a:extLst>
          </p:cNvPr>
          <p:cNvSpPr/>
          <p:nvPr/>
        </p:nvSpPr>
        <p:spPr>
          <a:xfrm flipH="1">
            <a:off x="7080856" y="2833306"/>
            <a:ext cx="1657855" cy="7665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760" extrusionOk="0">
                <a:moveTo>
                  <a:pt x="21600" y="20760"/>
                </a:moveTo>
                <a:cubicBezTo>
                  <a:pt x="18369" y="9606"/>
                  <a:pt x="14127" y="2481"/>
                  <a:pt x="9559" y="535"/>
                </a:cubicBezTo>
                <a:cubicBezTo>
                  <a:pt x="6331" y="-840"/>
                  <a:pt x="3052" y="446"/>
                  <a:pt x="0" y="4285"/>
                </a:cubicBezTo>
              </a:path>
            </a:pathLst>
          </a:custGeom>
          <a:ln w="22225" cap="rnd">
            <a:solidFill>
              <a:schemeClr val="accent1"/>
            </a:solidFill>
            <a:custDash>
              <a:ds d="100000" sp="200000"/>
            </a:custDash>
            <a:miter lim="400000"/>
            <a:tailEnd type="arrow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0" name="任意多边形: 形状 969">
            <a:extLst>
              <a:ext uri="{FF2B5EF4-FFF2-40B4-BE49-F238E27FC236}">
                <a16:creationId xmlns:a16="http://schemas.microsoft.com/office/drawing/2014/main" id="{643AABDB-5864-4C1B-BC77-2940FD80374E}"/>
              </a:ext>
            </a:extLst>
          </p:cNvPr>
          <p:cNvSpPr/>
          <p:nvPr/>
        </p:nvSpPr>
        <p:spPr>
          <a:xfrm>
            <a:off x="4664560" y="3906383"/>
            <a:ext cx="2898268" cy="15437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387"/>
                </a:moveTo>
                <a:lnTo>
                  <a:pt x="60" y="21600"/>
                </a:lnTo>
                <a:lnTo>
                  <a:pt x="0" y="213"/>
                </a:lnTo>
                <a:lnTo>
                  <a:pt x="21540" y="0"/>
                </a:lnTo>
                <a:cubicBezTo>
                  <a:pt x="21540" y="0"/>
                  <a:pt x="21600" y="21387"/>
                  <a:pt x="21600" y="21387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1" name="任意多边形: 形状 970">
            <a:extLst>
              <a:ext uri="{FF2B5EF4-FFF2-40B4-BE49-F238E27FC236}">
                <a16:creationId xmlns:a16="http://schemas.microsoft.com/office/drawing/2014/main" id="{4EA8B4D4-CD36-4D5F-897D-983D060ADD57}"/>
              </a:ext>
            </a:extLst>
          </p:cNvPr>
          <p:cNvSpPr/>
          <p:nvPr/>
        </p:nvSpPr>
        <p:spPr>
          <a:xfrm>
            <a:off x="4664560" y="2952735"/>
            <a:ext cx="2890217" cy="9707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0762" y="0"/>
                </a:lnTo>
                <a:lnTo>
                  <a:pt x="21600" y="21261"/>
                </a:lnTo>
                <a:cubicBezTo>
                  <a:pt x="21600" y="21261"/>
                  <a:pt x="0" y="21600"/>
                  <a:pt x="0" y="2160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2" name="任意多边形: 形状 971">
            <a:extLst>
              <a:ext uri="{FF2B5EF4-FFF2-40B4-BE49-F238E27FC236}">
                <a16:creationId xmlns:a16="http://schemas.microsoft.com/office/drawing/2014/main" id="{37ED1BCC-FF13-49ED-AC47-008FE73FB486}"/>
              </a:ext>
            </a:extLst>
          </p:cNvPr>
          <p:cNvSpPr/>
          <p:nvPr/>
        </p:nvSpPr>
        <p:spPr>
          <a:xfrm>
            <a:off x="4921794" y="2651583"/>
            <a:ext cx="2315365" cy="20231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107" y="21600"/>
                </a:moveTo>
                <a:lnTo>
                  <a:pt x="21600" y="15163"/>
                </a:lnTo>
                <a:lnTo>
                  <a:pt x="21581" y="0"/>
                </a:lnTo>
                <a:lnTo>
                  <a:pt x="0" y="0"/>
                </a:lnTo>
                <a:lnTo>
                  <a:pt x="31" y="14971"/>
                </a:lnTo>
                <a:cubicBezTo>
                  <a:pt x="31" y="14971"/>
                  <a:pt x="11107" y="21600"/>
                  <a:pt x="11107" y="21600"/>
                </a:cubicBezTo>
                <a:close/>
              </a:path>
            </a:pathLst>
          </a:custGeom>
          <a:gradFill flip="none" rotWithShape="1">
            <a:gsLst>
              <a:gs pos="11819">
                <a:srgbClr val="E3E5E7"/>
              </a:gs>
              <a:gs pos="20041">
                <a:srgbClr val="F1F2F3"/>
              </a:gs>
              <a:gs pos="51899">
                <a:srgbClr val="FFFFFF"/>
              </a:gs>
            </a:gsLst>
            <a:lin ang="16200000" scaled="0"/>
          </a:gra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3" name="任意多边形: 形状 972">
            <a:extLst>
              <a:ext uri="{FF2B5EF4-FFF2-40B4-BE49-F238E27FC236}">
                <a16:creationId xmlns:a16="http://schemas.microsoft.com/office/drawing/2014/main" id="{A4A1AD5D-4F6C-47D6-953E-653E241CCB94}"/>
              </a:ext>
            </a:extLst>
          </p:cNvPr>
          <p:cNvSpPr/>
          <p:nvPr/>
        </p:nvSpPr>
        <p:spPr>
          <a:xfrm>
            <a:off x="4654296" y="3918932"/>
            <a:ext cx="1465675" cy="152852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10692"/>
                </a:lnTo>
                <a:lnTo>
                  <a:pt x="120" y="21600"/>
                </a:lnTo>
                <a:cubicBezTo>
                  <a:pt x="120" y="21600"/>
                  <a:pt x="0" y="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4" name="任意多边形: 形状 973">
            <a:extLst>
              <a:ext uri="{FF2B5EF4-FFF2-40B4-BE49-F238E27FC236}">
                <a16:creationId xmlns:a16="http://schemas.microsoft.com/office/drawing/2014/main" id="{36ADE620-A2E6-478A-B551-AAB204B2754C}"/>
              </a:ext>
            </a:extLst>
          </p:cNvPr>
          <p:cNvSpPr/>
          <p:nvPr/>
        </p:nvSpPr>
        <p:spPr>
          <a:xfrm>
            <a:off x="6107423" y="3906383"/>
            <a:ext cx="1463809" cy="15285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480" y="0"/>
                </a:moveTo>
                <a:lnTo>
                  <a:pt x="0" y="10908"/>
                </a:lnTo>
                <a:lnTo>
                  <a:pt x="21600" y="21600"/>
                </a:lnTo>
                <a:cubicBezTo>
                  <a:pt x="21600" y="21600"/>
                  <a:pt x="21480" y="0"/>
                  <a:pt x="2148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5" name="任意多边形: 形状 974">
            <a:extLst>
              <a:ext uri="{FF2B5EF4-FFF2-40B4-BE49-F238E27FC236}">
                <a16:creationId xmlns:a16="http://schemas.microsoft.com/office/drawing/2014/main" id="{511CF227-3EBA-4A61-B7B1-40CC0364721F}"/>
              </a:ext>
            </a:extLst>
          </p:cNvPr>
          <p:cNvSpPr/>
          <p:nvPr/>
        </p:nvSpPr>
        <p:spPr>
          <a:xfrm>
            <a:off x="4672614" y="4678246"/>
            <a:ext cx="2890214" cy="7718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70" y="0"/>
                </a:moveTo>
                <a:lnTo>
                  <a:pt x="0" y="21600"/>
                </a:lnTo>
                <a:lnTo>
                  <a:pt x="21600" y="21174"/>
                </a:lnTo>
                <a:cubicBezTo>
                  <a:pt x="21600" y="21174"/>
                  <a:pt x="10770" y="0"/>
                  <a:pt x="10770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76" name="任意多边形: 形状 975">
            <a:extLst>
              <a:ext uri="{FF2B5EF4-FFF2-40B4-BE49-F238E27FC236}">
                <a16:creationId xmlns:a16="http://schemas.microsoft.com/office/drawing/2014/main" id="{66A8EEBE-E8A0-45CA-BB24-3767F6B3F640}"/>
              </a:ext>
            </a:extLst>
          </p:cNvPr>
          <p:cNvSpPr/>
          <p:nvPr/>
        </p:nvSpPr>
        <p:spPr>
          <a:xfrm>
            <a:off x="5248139" y="2921360"/>
            <a:ext cx="1724959" cy="1191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6" h="21595" extrusionOk="0">
                <a:moveTo>
                  <a:pt x="20946" y="0"/>
                </a:moveTo>
                <a:lnTo>
                  <a:pt x="643" y="156"/>
                </a:lnTo>
                <a:cubicBezTo>
                  <a:pt x="286" y="159"/>
                  <a:pt x="-2" y="581"/>
                  <a:pt x="0" y="1098"/>
                </a:cubicBezTo>
                <a:cubicBezTo>
                  <a:pt x="2" y="1615"/>
                  <a:pt x="294" y="2036"/>
                  <a:pt x="650" y="2033"/>
                </a:cubicBezTo>
                <a:lnTo>
                  <a:pt x="20951" y="1876"/>
                </a:lnTo>
                <a:cubicBezTo>
                  <a:pt x="21307" y="1874"/>
                  <a:pt x="21598" y="1451"/>
                  <a:pt x="21596" y="935"/>
                </a:cubicBezTo>
                <a:cubicBezTo>
                  <a:pt x="21594" y="418"/>
                  <a:pt x="21302" y="-3"/>
                  <a:pt x="20946" y="0"/>
                </a:cubicBezTo>
                <a:close/>
                <a:moveTo>
                  <a:pt x="20943" y="3867"/>
                </a:moveTo>
                <a:lnTo>
                  <a:pt x="643" y="4023"/>
                </a:lnTo>
                <a:cubicBezTo>
                  <a:pt x="286" y="4026"/>
                  <a:pt x="-2" y="4448"/>
                  <a:pt x="0" y="4965"/>
                </a:cubicBezTo>
                <a:cubicBezTo>
                  <a:pt x="2" y="5481"/>
                  <a:pt x="294" y="5902"/>
                  <a:pt x="650" y="5900"/>
                </a:cubicBezTo>
                <a:lnTo>
                  <a:pt x="20951" y="5747"/>
                </a:lnTo>
                <a:cubicBezTo>
                  <a:pt x="21307" y="5744"/>
                  <a:pt x="21598" y="5318"/>
                  <a:pt x="21596" y="4801"/>
                </a:cubicBezTo>
                <a:cubicBezTo>
                  <a:pt x="21594" y="4285"/>
                  <a:pt x="21300" y="3864"/>
                  <a:pt x="20943" y="3867"/>
                </a:cubicBezTo>
                <a:close/>
                <a:moveTo>
                  <a:pt x="20946" y="7734"/>
                </a:moveTo>
                <a:lnTo>
                  <a:pt x="643" y="7890"/>
                </a:lnTo>
                <a:cubicBezTo>
                  <a:pt x="286" y="7893"/>
                  <a:pt x="-2" y="8315"/>
                  <a:pt x="0" y="8832"/>
                </a:cubicBezTo>
                <a:cubicBezTo>
                  <a:pt x="2" y="9348"/>
                  <a:pt x="294" y="9769"/>
                  <a:pt x="650" y="9766"/>
                </a:cubicBezTo>
                <a:lnTo>
                  <a:pt x="20951" y="9610"/>
                </a:lnTo>
                <a:cubicBezTo>
                  <a:pt x="21307" y="9608"/>
                  <a:pt x="21598" y="9185"/>
                  <a:pt x="21596" y="8668"/>
                </a:cubicBezTo>
                <a:cubicBezTo>
                  <a:pt x="21594" y="8152"/>
                  <a:pt x="21302" y="7731"/>
                  <a:pt x="20946" y="7734"/>
                </a:cubicBezTo>
                <a:close/>
                <a:moveTo>
                  <a:pt x="20943" y="11714"/>
                </a:moveTo>
                <a:lnTo>
                  <a:pt x="643" y="11870"/>
                </a:lnTo>
                <a:cubicBezTo>
                  <a:pt x="286" y="11873"/>
                  <a:pt x="-2" y="12296"/>
                  <a:pt x="0" y="12812"/>
                </a:cubicBezTo>
                <a:cubicBezTo>
                  <a:pt x="2" y="13329"/>
                  <a:pt x="294" y="13749"/>
                  <a:pt x="650" y="13747"/>
                </a:cubicBezTo>
                <a:lnTo>
                  <a:pt x="20951" y="13594"/>
                </a:lnTo>
                <a:cubicBezTo>
                  <a:pt x="21307" y="13592"/>
                  <a:pt x="21598" y="13166"/>
                  <a:pt x="21596" y="12649"/>
                </a:cubicBezTo>
                <a:cubicBezTo>
                  <a:pt x="21594" y="12133"/>
                  <a:pt x="21300" y="11711"/>
                  <a:pt x="20943" y="11714"/>
                </a:cubicBezTo>
                <a:close/>
                <a:moveTo>
                  <a:pt x="20946" y="15581"/>
                </a:moveTo>
                <a:lnTo>
                  <a:pt x="643" y="15737"/>
                </a:lnTo>
                <a:cubicBezTo>
                  <a:pt x="286" y="15740"/>
                  <a:pt x="-2" y="16163"/>
                  <a:pt x="0" y="16679"/>
                </a:cubicBezTo>
                <a:cubicBezTo>
                  <a:pt x="2" y="17196"/>
                  <a:pt x="294" y="17617"/>
                  <a:pt x="650" y="17614"/>
                </a:cubicBezTo>
                <a:lnTo>
                  <a:pt x="20951" y="17458"/>
                </a:lnTo>
                <a:cubicBezTo>
                  <a:pt x="21307" y="17455"/>
                  <a:pt x="21598" y="17032"/>
                  <a:pt x="21596" y="16516"/>
                </a:cubicBezTo>
                <a:cubicBezTo>
                  <a:pt x="21594" y="15999"/>
                  <a:pt x="21302" y="15578"/>
                  <a:pt x="20946" y="15581"/>
                </a:cubicBezTo>
                <a:close/>
                <a:moveTo>
                  <a:pt x="20943" y="19562"/>
                </a:moveTo>
                <a:lnTo>
                  <a:pt x="643" y="19718"/>
                </a:lnTo>
                <a:cubicBezTo>
                  <a:pt x="286" y="19721"/>
                  <a:pt x="-2" y="20143"/>
                  <a:pt x="0" y="20660"/>
                </a:cubicBezTo>
                <a:cubicBezTo>
                  <a:pt x="2" y="21176"/>
                  <a:pt x="294" y="21597"/>
                  <a:pt x="650" y="21594"/>
                </a:cubicBezTo>
                <a:lnTo>
                  <a:pt x="20951" y="21442"/>
                </a:lnTo>
                <a:cubicBezTo>
                  <a:pt x="21307" y="21439"/>
                  <a:pt x="21598" y="21013"/>
                  <a:pt x="21596" y="20496"/>
                </a:cubicBezTo>
                <a:cubicBezTo>
                  <a:pt x="21594" y="19980"/>
                  <a:pt x="21300" y="19559"/>
                  <a:pt x="20943" y="19562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68" name="矩形 967">
            <a:extLst>
              <a:ext uri="{FF2B5EF4-FFF2-40B4-BE49-F238E27FC236}">
                <a16:creationId xmlns:a16="http://schemas.microsoft.com/office/drawing/2014/main" id="{E7E9EE0D-C510-4BEA-BECB-DE85D49A5F80}"/>
              </a:ext>
            </a:extLst>
          </p:cNvPr>
          <p:cNvSpPr/>
          <p:nvPr/>
        </p:nvSpPr>
        <p:spPr bwMode="auto">
          <a:xfrm>
            <a:off x="673100" y="3242711"/>
            <a:ext cx="2108063" cy="64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 </a:t>
            </a:r>
          </a:p>
          <a:p>
            <a:pPr algn="r"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969" name="文本框 968">
            <a:extLst>
              <a:ext uri="{FF2B5EF4-FFF2-40B4-BE49-F238E27FC236}">
                <a16:creationId xmlns:a16="http://schemas.microsoft.com/office/drawing/2014/main" id="{134CCFEA-A64A-42C6-8216-E734BE348611}"/>
              </a:ext>
            </a:extLst>
          </p:cNvPr>
          <p:cNvSpPr txBox="1"/>
          <p:nvPr/>
        </p:nvSpPr>
        <p:spPr bwMode="auto">
          <a:xfrm>
            <a:off x="673100" y="2855113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科目抓取</a:t>
            </a:r>
          </a:p>
        </p:txBody>
      </p:sp>
      <p:sp>
        <p:nvSpPr>
          <p:cNvPr id="966" name="矩形 965">
            <a:extLst>
              <a:ext uri="{FF2B5EF4-FFF2-40B4-BE49-F238E27FC236}">
                <a16:creationId xmlns:a16="http://schemas.microsoft.com/office/drawing/2014/main" id="{67A3BB5F-7310-431C-B5F0-BE18B4701F97}"/>
              </a:ext>
            </a:extLst>
          </p:cNvPr>
          <p:cNvSpPr/>
          <p:nvPr/>
        </p:nvSpPr>
        <p:spPr bwMode="auto">
          <a:xfrm>
            <a:off x="9393443" y="3242711"/>
            <a:ext cx="2108063" cy="64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 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967" name="文本框 966">
            <a:extLst>
              <a:ext uri="{FF2B5EF4-FFF2-40B4-BE49-F238E27FC236}">
                <a16:creationId xmlns:a16="http://schemas.microsoft.com/office/drawing/2014/main" id="{11C1EBC2-BF22-412C-A19F-42E00AD3E0D6}"/>
              </a:ext>
            </a:extLst>
          </p:cNvPr>
          <p:cNvSpPr txBox="1"/>
          <p:nvPr/>
        </p:nvSpPr>
        <p:spPr bwMode="auto">
          <a:xfrm>
            <a:off x="9393443" y="2855113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整体提升</a:t>
            </a:r>
          </a:p>
        </p:txBody>
      </p:sp>
      <p:sp>
        <p:nvSpPr>
          <p:cNvPr id="964" name="矩形 963">
            <a:extLst>
              <a:ext uri="{FF2B5EF4-FFF2-40B4-BE49-F238E27FC236}">
                <a16:creationId xmlns:a16="http://schemas.microsoft.com/office/drawing/2014/main" id="{257D33E9-B41C-4848-A85F-34ACFC5E30B6}"/>
              </a:ext>
            </a:extLst>
          </p:cNvPr>
          <p:cNvSpPr/>
          <p:nvPr/>
        </p:nvSpPr>
        <p:spPr bwMode="auto">
          <a:xfrm>
            <a:off x="9410837" y="4803865"/>
            <a:ext cx="2108063" cy="64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 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965" name="文本框 964">
            <a:extLst>
              <a:ext uri="{FF2B5EF4-FFF2-40B4-BE49-F238E27FC236}">
                <a16:creationId xmlns:a16="http://schemas.microsoft.com/office/drawing/2014/main" id="{F4D9035E-C32F-4C3D-9429-78CA6D543694}"/>
              </a:ext>
            </a:extLst>
          </p:cNvPr>
          <p:cNvSpPr txBox="1"/>
          <p:nvPr/>
        </p:nvSpPr>
        <p:spPr bwMode="auto">
          <a:xfrm>
            <a:off x="9410837" y="4416267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完成测试</a:t>
            </a:r>
          </a:p>
        </p:txBody>
      </p:sp>
      <p:sp>
        <p:nvSpPr>
          <p:cNvPr id="962" name="矩形 961">
            <a:extLst>
              <a:ext uri="{FF2B5EF4-FFF2-40B4-BE49-F238E27FC236}">
                <a16:creationId xmlns:a16="http://schemas.microsoft.com/office/drawing/2014/main" id="{4568956E-65C3-4C65-9F9A-7DD577583803}"/>
              </a:ext>
            </a:extLst>
          </p:cNvPr>
          <p:cNvSpPr/>
          <p:nvPr/>
        </p:nvSpPr>
        <p:spPr bwMode="auto">
          <a:xfrm>
            <a:off x="674415" y="4803865"/>
            <a:ext cx="2108063" cy="644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 </a:t>
            </a:r>
          </a:p>
          <a:p>
            <a:pPr algn="r">
              <a:lnSpc>
                <a:spcPct val="120000"/>
              </a:lnSpc>
            </a:pP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963" name="文本框 962">
            <a:extLst>
              <a:ext uri="{FF2B5EF4-FFF2-40B4-BE49-F238E27FC236}">
                <a16:creationId xmlns:a16="http://schemas.microsoft.com/office/drawing/2014/main" id="{62F003D1-4F32-4A43-B290-67CE3621C55D}"/>
              </a:ext>
            </a:extLst>
          </p:cNvPr>
          <p:cNvSpPr txBox="1"/>
          <p:nvPr/>
        </p:nvSpPr>
        <p:spPr bwMode="auto">
          <a:xfrm>
            <a:off x="674415" y="4416267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单独辅导</a:t>
            </a:r>
          </a:p>
        </p:txBody>
      </p:sp>
      <p:cxnSp>
        <p:nvCxnSpPr>
          <p:cNvPr id="947" name="直接连接符 946">
            <a:extLst>
              <a:ext uri="{FF2B5EF4-FFF2-40B4-BE49-F238E27FC236}">
                <a16:creationId xmlns:a16="http://schemas.microsoft.com/office/drawing/2014/main" id="{A42D814A-6D76-4680-8E2D-A7AB5CEE3999}"/>
              </a:ext>
            </a:extLst>
          </p:cNvPr>
          <p:cNvCxnSpPr/>
          <p:nvPr/>
        </p:nvCxnSpPr>
        <p:spPr>
          <a:xfrm>
            <a:off x="673100" y="4151829"/>
            <a:ext cx="2002900" cy="0"/>
          </a:xfrm>
          <a:prstGeom prst="line">
            <a:avLst/>
          </a:prstGeom>
          <a:ln w="3175" cap="rnd">
            <a:solidFill>
              <a:schemeClr val="bg1">
                <a:lumMod val="6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8" name="直接连接符 947">
            <a:extLst>
              <a:ext uri="{FF2B5EF4-FFF2-40B4-BE49-F238E27FC236}">
                <a16:creationId xmlns:a16="http://schemas.microsoft.com/office/drawing/2014/main" id="{937EB04E-6422-4262-A2E8-5687DEDFD5D1}"/>
              </a:ext>
            </a:extLst>
          </p:cNvPr>
          <p:cNvCxnSpPr>
            <a:cxnSpLocks/>
          </p:cNvCxnSpPr>
          <p:nvPr/>
        </p:nvCxnSpPr>
        <p:spPr>
          <a:xfrm>
            <a:off x="8970498" y="4151829"/>
            <a:ext cx="2548402" cy="0"/>
          </a:xfrm>
          <a:prstGeom prst="line">
            <a:avLst/>
          </a:prstGeom>
          <a:ln w="3175" cap="rnd">
            <a:solidFill>
              <a:schemeClr val="bg1">
                <a:lumMod val="6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9" name="文本框 948">
            <a:extLst>
              <a:ext uri="{FF2B5EF4-FFF2-40B4-BE49-F238E27FC236}">
                <a16:creationId xmlns:a16="http://schemas.microsoft.com/office/drawing/2014/main" id="{7774D8B3-F5B4-4A7C-9A59-6465B321B6FC}"/>
              </a:ext>
            </a:extLst>
          </p:cNvPr>
          <p:cNvSpPr txBox="1"/>
          <p:nvPr/>
        </p:nvSpPr>
        <p:spPr>
          <a:xfrm>
            <a:off x="673099" y="1130300"/>
            <a:ext cx="10845800" cy="58192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Unified fonts make reading more fluent.</a:t>
            </a:r>
          </a:p>
        </p:txBody>
      </p:sp>
      <p:sp>
        <p:nvSpPr>
          <p:cNvPr id="960" name="椭圆 959">
            <a:extLst>
              <a:ext uri="{FF2B5EF4-FFF2-40B4-BE49-F238E27FC236}">
                <a16:creationId xmlns:a16="http://schemas.microsoft.com/office/drawing/2014/main" id="{EF77D14C-8625-4794-93D3-19498E339AAC}"/>
              </a:ext>
            </a:extLst>
          </p:cNvPr>
          <p:cNvSpPr/>
          <p:nvPr/>
        </p:nvSpPr>
        <p:spPr>
          <a:xfrm>
            <a:off x="2903223" y="2847123"/>
            <a:ext cx="442451" cy="4424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61" name="任意多边形: 形状 960">
            <a:extLst>
              <a:ext uri="{FF2B5EF4-FFF2-40B4-BE49-F238E27FC236}">
                <a16:creationId xmlns:a16="http://schemas.microsoft.com/office/drawing/2014/main" id="{CBB900C4-42BA-42FC-8505-6C5F5BC15349}"/>
              </a:ext>
            </a:extLst>
          </p:cNvPr>
          <p:cNvSpPr/>
          <p:nvPr/>
        </p:nvSpPr>
        <p:spPr bwMode="auto">
          <a:xfrm>
            <a:off x="3009877" y="2976826"/>
            <a:ext cx="229141" cy="18304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607400" h="485208">
                <a:moveTo>
                  <a:pt x="361195" y="434600"/>
                </a:moveTo>
                <a:lnTo>
                  <a:pt x="349048" y="464927"/>
                </a:lnTo>
                <a:lnTo>
                  <a:pt x="582319" y="464927"/>
                </a:lnTo>
                <a:lnTo>
                  <a:pt x="570172" y="434600"/>
                </a:lnTo>
                <a:close/>
                <a:moveTo>
                  <a:pt x="364422" y="313291"/>
                </a:moveTo>
                <a:lnTo>
                  <a:pt x="364422" y="414508"/>
                </a:lnTo>
                <a:lnTo>
                  <a:pt x="566945" y="414508"/>
                </a:lnTo>
                <a:lnTo>
                  <a:pt x="566945" y="313291"/>
                </a:lnTo>
                <a:close/>
                <a:moveTo>
                  <a:pt x="354362" y="293199"/>
                </a:moveTo>
                <a:lnTo>
                  <a:pt x="577005" y="293199"/>
                </a:lnTo>
                <a:cubicBezTo>
                  <a:pt x="582509" y="293199"/>
                  <a:pt x="587064" y="297748"/>
                  <a:pt x="587064" y="303245"/>
                </a:cubicBezTo>
                <a:lnTo>
                  <a:pt x="587064" y="422658"/>
                </a:lnTo>
                <a:lnTo>
                  <a:pt x="606614" y="471371"/>
                </a:lnTo>
                <a:cubicBezTo>
                  <a:pt x="607943" y="474404"/>
                  <a:pt x="607563" y="478005"/>
                  <a:pt x="605665" y="480849"/>
                </a:cubicBezTo>
                <a:cubicBezTo>
                  <a:pt x="603767" y="483502"/>
                  <a:pt x="600541" y="485208"/>
                  <a:pt x="597314" y="485208"/>
                </a:cubicBezTo>
                <a:lnTo>
                  <a:pt x="334053" y="485208"/>
                </a:lnTo>
                <a:cubicBezTo>
                  <a:pt x="330637" y="485208"/>
                  <a:pt x="327600" y="483502"/>
                  <a:pt x="325702" y="480849"/>
                </a:cubicBezTo>
                <a:cubicBezTo>
                  <a:pt x="323804" y="478005"/>
                  <a:pt x="323424" y="474404"/>
                  <a:pt x="324563" y="471371"/>
                </a:cubicBezTo>
                <a:lnTo>
                  <a:pt x="344113" y="422658"/>
                </a:lnTo>
                <a:lnTo>
                  <a:pt x="344113" y="303245"/>
                </a:lnTo>
                <a:cubicBezTo>
                  <a:pt x="344113" y="297748"/>
                  <a:pt x="348668" y="293199"/>
                  <a:pt x="354362" y="293199"/>
                </a:cubicBezTo>
                <a:close/>
                <a:moveTo>
                  <a:pt x="141807" y="232584"/>
                </a:moveTo>
                <a:cubicBezTo>
                  <a:pt x="147312" y="232584"/>
                  <a:pt x="151868" y="237132"/>
                  <a:pt x="151868" y="242628"/>
                </a:cubicBezTo>
                <a:cubicBezTo>
                  <a:pt x="151868" y="320701"/>
                  <a:pt x="215462" y="384183"/>
                  <a:pt x="293674" y="384183"/>
                </a:cubicBezTo>
                <a:cubicBezTo>
                  <a:pt x="299179" y="384183"/>
                  <a:pt x="303735" y="388731"/>
                  <a:pt x="303735" y="394227"/>
                </a:cubicBezTo>
                <a:cubicBezTo>
                  <a:pt x="303735" y="399722"/>
                  <a:pt x="299179" y="404270"/>
                  <a:pt x="293674" y="404270"/>
                </a:cubicBezTo>
                <a:cubicBezTo>
                  <a:pt x="204262" y="404270"/>
                  <a:pt x="131556" y="331882"/>
                  <a:pt x="131556" y="242628"/>
                </a:cubicBezTo>
                <a:cubicBezTo>
                  <a:pt x="131556" y="237132"/>
                  <a:pt x="136112" y="232584"/>
                  <a:pt x="141807" y="232584"/>
                </a:cubicBezTo>
                <a:close/>
                <a:moveTo>
                  <a:pt x="37229" y="141590"/>
                </a:moveTo>
                <a:lnTo>
                  <a:pt x="25082" y="171917"/>
                </a:lnTo>
                <a:lnTo>
                  <a:pt x="258353" y="171917"/>
                </a:lnTo>
                <a:lnTo>
                  <a:pt x="246206" y="141590"/>
                </a:lnTo>
                <a:close/>
                <a:moveTo>
                  <a:pt x="293660" y="80939"/>
                </a:moveTo>
                <a:cubicBezTo>
                  <a:pt x="382845" y="80939"/>
                  <a:pt x="455522" y="153357"/>
                  <a:pt x="455522" y="242648"/>
                </a:cubicBezTo>
                <a:cubicBezTo>
                  <a:pt x="455522" y="248145"/>
                  <a:pt x="450968" y="252695"/>
                  <a:pt x="445465" y="252695"/>
                </a:cubicBezTo>
                <a:cubicBezTo>
                  <a:pt x="439772" y="252695"/>
                  <a:pt x="435218" y="248145"/>
                  <a:pt x="435218" y="242648"/>
                </a:cubicBezTo>
                <a:cubicBezTo>
                  <a:pt x="435218" y="164542"/>
                  <a:pt x="371650" y="101034"/>
                  <a:pt x="293660" y="101034"/>
                </a:cubicBezTo>
                <a:cubicBezTo>
                  <a:pt x="287967" y="101034"/>
                  <a:pt x="283413" y="96484"/>
                  <a:pt x="283413" y="90987"/>
                </a:cubicBezTo>
                <a:cubicBezTo>
                  <a:pt x="283413" y="85489"/>
                  <a:pt x="287967" y="80939"/>
                  <a:pt x="293660" y="80939"/>
                </a:cubicBezTo>
                <a:close/>
                <a:moveTo>
                  <a:pt x="40456" y="20281"/>
                </a:moveTo>
                <a:lnTo>
                  <a:pt x="40456" y="121309"/>
                </a:lnTo>
                <a:lnTo>
                  <a:pt x="242979" y="121309"/>
                </a:lnTo>
                <a:lnTo>
                  <a:pt x="242979" y="20281"/>
                </a:lnTo>
                <a:close/>
                <a:moveTo>
                  <a:pt x="30396" y="0"/>
                </a:moveTo>
                <a:lnTo>
                  <a:pt x="253039" y="0"/>
                </a:lnTo>
                <a:cubicBezTo>
                  <a:pt x="258733" y="0"/>
                  <a:pt x="263288" y="4549"/>
                  <a:pt x="263288" y="10046"/>
                </a:cubicBezTo>
                <a:lnTo>
                  <a:pt x="263288" y="129459"/>
                </a:lnTo>
                <a:lnTo>
                  <a:pt x="282838" y="178172"/>
                </a:lnTo>
                <a:cubicBezTo>
                  <a:pt x="283977" y="181395"/>
                  <a:pt x="283597" y="184806"/>
                  <a:pt x="281699" y="187650"/>
                </a:cubicBezTo>
                <a:cubicBezTo>
                  <a:pt x="279801" y="190493"/>
                  <a:pt x="276764" y="192009"/>
                  <a:pt x="273348" y="192009"/>
                </a:cubicBezTo>
                <a:lnTo>
                  <a:pt x="10087" y="192009"/>
                </a:lnTo>
                <a:cubicBezTo>
                  <a:pt x="6860" y="192009"/>
                  <a:pt x="3634" y="190493"/>
                  <a:pt x="1736" y="187650"/>
                </a:cubicBezTo>
                <a:cubicBezTo>
                  <a:pt x="-162" y="184806"/>
                  <a:pt x="-542" y="181395"/>
                  <a:pt x="787" y="178172"/>
                </a:cubicBezTo>
                <a:lnTo>
                  <a:pt x="20337" y="129459"/>
                </a:lnTo>
                <a:lnTo>
                  <a:pt x="20337" y="10046"/>
                </a:lnTo>
                <a:cubicBezTo>
                  <a:pt x="20337" y="4549"/>
                  <a:pt x="24892" y="0"/>
                  <a:pt x="30396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58" name="椭圆 957">
            <a:extLst>
              <a:ext uri="{FF2B5EF4-FFF2-40B4-BE49-F238E27FC236}">
                <a16:creationId xmlns:a16="http://schemas.microsoft.com/office/drawing/2014/main" id="{E86375DC-D757-4110-A5A9-AF1087C11159}"/>
              </a:ext>
            </a:extLst>
          </p:cNvPr>
          <p:cNvSpPr/>
          <p:nvPr/>
        </p:nvSpPr>
        <p:spPr>
          <a:xfrm>
            <a:off x="2903223" y="4388839"/>
            <a:ext cx="442451" cy="4424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59" name="任意多边形: 形状 958">
            <a:extLst>
              <a:ext uri="{FF2B5EF4-FFF2-40B4-BE49-F238E27FC236}">
                <a16:creationId xmlns:a16="http://schemas.microsoft.com/office/drawing/2014/main" id="{58AAD953-1BFB-4996-9955-2EA5F4E5B492}"/>
              </a:ext>
            </a:extLst>
          </p:cNvPr>
          <p:cNvSpPr/>
          <p:nvPr/>
        </p:nvSpPr>
        <p:spPr bwMode="auto">
          <a:xfrm>
            <a:off x="3019295" y="4495494"/>
            <a:ext cx="210306" cy="229141"/>
          </a:xfrm>
          <a:custGeom>
            <a:avLst/>
            <a:gdLst>
              <a:gd name="connsiteX0" fmla="*/ 176272 w 556267"/>
              <a:gd name="connsiteY0" fmla="*/ 555492 h 606087"/>
              <a:gd name="connsiteX1" fmla="*/ 380065 w 556267"/>
              <a:gd name="connsiteY1" fmla="*/ 555492 h 606087"/>
              <a:gd name="connsiteX2" fmla="*/ 379295 w 556267"/>
              <a:gd name="connsiteY2" fmla="*/ 574730 h 606087"/>
              <a:gd name="connsiteX3" fmla="*/ 379295 w 556267"/>
              <a:gd name="connsiteY3" fmla="*/ 606087 h 606087"/>
              <a:gd name="connsiteX4" fmla="*/ 177043 w 556267"/>
              <a:gd name="connsiteY4" fmla="*/ 606087 h 606087"/>
              <a:gd name="connsiteX5" fmla="*/ 177043 w 556267"/>
              <a:gd name="connsiteY5" fmla="*/ 580116 h 606087"/>
              <a:gd name="connsiteX6" fmla="*/ 176272 w 556267"/>
              <a:gd name="connsiteY6" fmla="*/ 555492 h 606087"/>
              <a:gd name="connsiteX7" fmla="*/ 170486 w 556267"/>
              <a:gd name="connsiteY7" fmla="*/ 504967 h 606087"/>
              <a:gd name="connsiteX8" fmla="*/ 386134 w 556267"/>
              <a:gd name="connsiteY8" fmla="*/ 504967 h 606087"/>
              <a:gd name="connsiteX9" fmla="*/ 382185 w 556267"/>
              <a:gd name="connsiteY9" fmla="*/ 530300 h 606087"/>
              <a:gd name="connsiteX10" fmla="*/ 174050 w 556267"/>
              <a:gd name="connsiteY10" fmla="*/ 530300 h 606087"/>
              <a:gd name="connsiteX11" fmla="*/ 170486 w 556267"/>
              <a:gd name="connsiteY11" fmla="*/ 504967 h 606087"/>
              <a:gd name="connsiteX12" fmla="*/ 481527 w 556267"/>
              <a:gd name="connsiteY12" fmla="*/ 380419 h 606087"/>
              <a:gd name="connsiteX13" fmla="*/ 525359 w 556267"/>
              <a:gd name="connsiteY13" fmla="*/ 405623 h 606087"/>
              <a:gd name="connsiteX14" fmla="*/ 512643 w 556267"/>
              <a:gd name="connsiteY14" fmla="*/ 427557 h 606087"/>
              <a:gd name="connsiteX15" fmla="*/ 468907 w 556267"/>
              <a:gd name="connsiteY15" fmla="*/ 402256 h 606087"/>
              <a:gd name="connsiteX16" fmla="*/ 74740 w 556267"/>
              <a:gd name="connsiteY16" fmla="*/ 380419 h 606087"/>
              <a:gd name="connsiteX17" fmla="*/ 87360 w 556267"/>
              <a:gd name="connsiteY17" fmla="*/ 402353 h 606087"/>
              <a:gd name="connsiteX18" fmla="*/ 43528 w 556267"/>
              <a:gd name="connsiteY18" fmla="*/ 427557 h 606087"/>
              <a:gd name="connsiteX19" fmla="*/ 30908 w 556267"/>
              <a:gd name="connsiteY19" fmla="*/ 405720 h 606087"/>
              <a:gd name="connsiteX20" fmla="*/ 505742 w 556267"/>
              <a:gd name="connsiteY20" fmla="*/ 265115 h 606087"/>
              <a:gd name="connsiteX21" fmla="*/ 556267 w 556267"/>
              <a:gd name="connsiteY21" fmla="*/ 265115 h 606087"/>
              <a:gd name="connsiteX22" fmla="*/ 556267 w 556267"/>
              <a:gd name="connsiteY22" fmla="*/ 290448 h 606087"/>
              <a:gd name="connsiteX23" fmla="*/ 505742 w 556267"/>
              <a:gd name="connsiteY23" fmla="*/ 290448 h 606087"/>
              <a:gd name="connsiteX24" fmla="*/ 0 w 556267"/>
              <a:gd name="connsiteY24" fmla="*/ 265115 h 606087"/>
              <a:gd name="connsiteX25" fmla="*/ 50525 w 556267"/>
              <a:gd name="connsiteY25" fmla="*/ 265115 h 606087"/>
              <a:gd name="connsiteX26" fmla="*/ 50525 w 556267"/>
              <a:gd name="connsiteY26" fmla="*/ 290448 h 606087"/>
              <a:gd name="connsiteX27" fmla="*/ 0 w 556267"/>
              <a:gd name="connsiteY27" fmla="*/ 290448 h 606087"/>
              <a:gd name="connsiteX28" fmla="*/ 512739 w 556267"/>
              <a:gd name="connsiteY28" fmla="*/ 128006 h 606087"/>
              <a:gd name="connsiteX29" fmla="*/ 525359 w 556267"/>
              <a:gd name="connsiteY29" fmla="*/ 149823 h 606087"/>
              <a:gd name="connsiteX30" fmla="*/ 481527 w 556267"/>
              <a:gd name="connsiteY30" fmla="*/ 175003 h 606087"/>
              <a:gd name="connsiteX31" fmla="*/ 468907 w 556267"/>
              <a:gd name="connsiteY31" fmla="*/ 153186 h 606087"/>
              <a:gd name="connsiteX32" fmla="*/ 43528 w 556267"/>
              <a:gd name="connsiteY32" fmla="*/ 127935 h 606087"/>
              <a:gd name="connsiteX33" fmla="*/ 87360 w 556267"/>
              <a:gd name="connsiteY33" fmla="*/ 153197 h 606087"/>
              <a:gd name="connsiteX34" fmla="*/ 74740 w 556267"/>
              <a:gd name="connsiteY34" fmla="*/ 175002 h 606087"/>
              <a:gd name="connsiteX35" fmla="*/ 30908 w 556267"/>
              <a:gd name="connsiteY35" fmla="*/ 149836 h 606087"/>
              <a:gd name="connsiteX36" fmla="*/ 297059 w 556267"/>
              <a:gd name="connsiteY36" fmla="*/ 76575 h 606087"/>
              <a:gd name="connsiteX37" fmla="*/ 404602 w 556267"/>
              <a:gd name="connsiteY37" fmla="*/ 124032 h 606087"/>
              <a:gd name="connsiteX38" fmla="*/ 467778 w 556267"/>
              <a:gd name="connsiteY38" fmla="*/ 265117 h 606087"/>
              <a:gd name="connsiteX39" fmla="*/ 441583 w 556267"/>
              <a:gd name="connsiteY39" fmla="*/ 361098 h 606087"/>
              <a:gd name="connsiteX40" fmla="*/ 391794 w 556267"/>
              <a:gd name="connsiteY40" fmla="*/ 479775 h 606087"/>
              <a:gd name="connsiteX41" fmla="*/ 165285 w 556267"/>
              <a:gd name="connsiteY41" fmla="*/ 479775 h 606087"/>
              <a:gd name="connsiteX42" fmla="*/ 118192 w 556267"/>
              <a:gd name="connsiteY42" fmla="*/ 366676 h 606087"/>
              <a:gd name="connsiteX43" fmla="*/ 89879 w 556267"/>
              <a:gd name="connsiteY43" fmla="*/ 242420 h 606087"/>
              <a:gd name="connsiteX44" fmla="*/ 256582 w 556267"/>
              <a:gd name="connsiteY44" fmla="*/ 76907 h 606087"/>
              <a:gd name="connsiteX45" fmla="*/ 297059 w 556267"/>
              <a:gd name="connsiteY45" fmla="*/ 76575 h 606087"/>
              <a:gd name="connsiteX46" fmla="*/ 150042 w 556267"/>
              <a:gd name="connsiteY46" fmla="*/ 30978 h 606087"/>
              <a:gd name="connsiteX47" fmla="*/ 175284 w 556267"/>
              <a:gd name="connsiteY47" fmla="*/ 74605 h 606087"/>
              <a:gd name="connsiteX48" fmla="*/ 153414 w 556267"/>
              <a:gd name="connsiteY48" fmla="*/ 87289 h 606087"/>
              <a:gd name="connsiteX49" fmla="*/ 128076 w 556267"/>
              <a:gd name="connsiteY49" fmla="*/ 43566 h 606087"/>
              <a:gd name="connsiteX50" fmla="*/ 406225 w 556267"/>
              <a:gd name="connsiteY50" fmla="*/ 30837 h 606087"/>
              <a:gd name="connsiteX51" fmla="*/ 428191 w 556267"/>
              <a:gd name="connsiteY51" fmla="*/ 43441 h 606087"/>
              <a:gd name="connsiteX52" fmla="*/ 402853 w 556267"/>
              <a:gd name="connsiteY52" fmla="*/ 87219 h 606087"/>
              <a:gd name="connsiteX53" fmla="*/ 380983 w 556267"/>
              <a:gd name="connsiteY53" fmla="*/ 74615 h 606087"/>
              <a:gd name="connsiteX54" fmla="*/ 265538 w 556267"/>
              <a:gd name="connsiteY54" fmla="*/ 0 h 606087"/>
              <a:gd name="connsiteX55" fmla="*/ 290730 w 556267"/>
              <a:gd name="connsiteY55" fmla="*/ 0 h 606087"/>
              <a:gd name="connsiteX56" fmla="*/ 290730 w 556267"/>
              <a:gd name="connsiteY56" fmla="*/ 50525 h 606087"/>
              <a:gd name="connsiteX57" fmla="*/ 265538 w 556267"/>
              <a:gd name="connsiteY57" fmla="*/ 50525 h 6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56267" h="606087">
                <a:moveTo>
                  <a:pt x="176272" y="555492"/>
                </a:moveTo>
                <a:lnTo>
                  <a:pt x="380065" y="555492"/>
                </a:lnTo>
                <a:cubicBezTo>
                  <a:pt x="379680" y="561937"/>
                  <a:pt x="379295" y="568381"/>
                  <a:pt x="379295" y="574730"/>
                </a:cubicBezTo>
                <a:lnTo>
                  <a:pt x="379295" y="606087"/>
                </a:lnTo>
                <a:lnTo>
                  <a:pt x="177043" y="606087"/>
                </a:lnTo>
                <a:lnTo>
                  <a:pt x="177043" y="580116"/>
                </a:lnTo>
                <a:cubicBezTo>
                  <a:pt x="177043" y="571844"/>
                  <a:pt x="176657" y="563668"/>
                  <a:pt x="176272" y="555492"/>
                </a:cubicBezTo>
                <a:close/>
                <a:moveTo>
                  <a:pt x="170486" y="504967"/>
                </a:moveTo>
                <a:lnTo>
                  <a:pt x="386134" y="504967"/>
                </a:lnTo>
                <a:cubicBezTo>
                  <a:pt x="384593" y="513443"/>
                  <a:pt x="383245" y="521824"/>
                  <a:pt x="382185" y="530300"/>
                </a:cubicBezTo>
                <a:lnTo>
                  <a:pt x="174050" y="530300"/>
                </a:lnTo>
                <a:cubicBezTo>
                  <a:pt x="173087" y="521727"/>
                  <a:pt x="171931" y="513347"/>
                  <a:pt x="170486" y="504967"/>
                </a:cubicBezTo>
                <a:close/>
                <a:moveTo>
                  <a:pt x="481527" y="380419"/>
                </a:moveTo>
                <a:lnTo>
                  <a:pt x="525359" y="405623"/>
                </a:lnTo>
                <a:lnTo>
                  <a:pt x="512643" y="427557"/>
                </a:lnTo>
                <a:lnTo>
                  <a:pt x="468907" y="402256"/>
                </a:lnTo>
                <a:close/>
                <a:moveTo>
                  <a:pt x="74740" y="380419"/>
                </a:moveTo>
                <a:lnTo>
                  <a:pt x="87360" y="402353"/>
                </a:lnTo>
                <a:lnTo>
                  <a:pt x="43528" y="427557"/>
                </a:lnTo>
                <a:lnTo>
                  <a:pt x="30908" y="405720"/>
                </a:lnTo>
                <a:close/>
                <a:moveTo>
                  <a:pt x="505742" y="265115"/>
                </a:moveTo>
                <a:lnTo>
                  <a:pt x="556267" y="265115"/>
                </a:lnTo>
                <a:lnTo>
                  <a:pt x="556267" y="290448"/>
                </a:lnTo>
                <a:lnTo>
                  <a:pt x="505742" y="290448"/>
                </a:lnTo>
                <a:close/>
                <a:moveTo>
                  <a:pt x="0" y="265115"/>
                </a:moveTo>
                <a:lnTo>
                  <a:pt x="50525" y="265115"/>
                </a:lnTo>
                <a:lnTo>
                  <a:pt x="50525" y="290448"/>
                </a:lnTo>
                <a:lnTo>
                  <a:pt x="0" y="290448"/>
                </a:lnTo>
                <a:close/>
                <a:moveTo>
                  <a:pt x="512739" y="128006"/>
                </a:moveTo>
                <a:lnTo>
                  <a:pt x="525359" y="149823"/>
                </a:lnTo>
                <a:lnTo>
                  <a:pt x="481527" y="175003"/>
                </a:lnTo>
                <a:lnTo>
                  <a:pt x="468907" y="153186"/>
                </a:lnTo>
                <a:close/>
                <a:moveTo>
                  <a:pt x="43528" y="127935"/>
                </a:moveTo>
                <a:lnTo>
                  <a:pt x="87360" y="153197"/>
                </a:lnTo>
                <a:lnTo>
                  <a:pt x="74740" y="175002"/>
                </a:lnTo>
                <a:lnTo>
                  <a:pt x="30908" y="149836"/>
                </a:lnTo>
                <a:close/>
                <a:moveTo>
                  <a:pt x="297059" y="76575"/>
                </a:moveTo>
                <a:cubicBezTo>
                  <a:pt x="336834" y="80411"/>
                  <a:pt x="374049" y="96623"/>
                  <a:pt x="404602" y="124032"/>
                </a:cubicBezTo>
                <a:cubicBezTo>
                  <a:pt x="444761" y="159808"/>
                  <a:pt x="467778" y="211357"/>
                  <a:pt x="467778" y="265117"/>
                </a:cubicBezTo>
                <a:cubicBezTo>
                  <a:pt x="467778" y="298874"/>
                  <a:pt x="458726" y="332053"/>
                  <a:pt x="441583" y="361098"/>
                </a:cubicBezTo>
                <a:cubicBezTo>
                  <a:pt x="418567" y="400144"/>
                  <a:pt x="402002" y="439767"/>
                  <a:pt x="391794" y="479775"/>
                </a:cubicBezTo>
                <a:lnTo>
                  <a:pt x="165285" y="479775"/>
                </a:lnTo>
                <a:cubicBezTo>
                  <a:pt x="155462" y="438709"/>
                  <a:pt x="139861" y="400529"/>
                  <a:pt x="118192" y="366676"/>
                </a:cubicBezTo>
                <a:cubicBezTo>
                  <a:pt x="94405" y="329649"/>
                  <a:pt x="84678" y="286660"/>
                  <a:pt x="89879" y="242420"/>
                </a:cubicBezTo>
                <a:cubicBezTo>
                  <a:pt x="99894" y="156057"/>
                  <a:pt x="170100" y="86524"/>
                  <a:pt x="256582" y="76907"/>
                </a:cubicBezTo>
                <a:cubicBezTo>
                  <a:pt x="270258" y="75392"/>
                  <a:pt x="283800" y="75296"/>
                  <a:pt x="297059" y="76575"/>
                </a:cubicBezTo>
                <a:close/>
                <a:moveTo>
                  <a:pt x="150042" y="30978"/>
                </a:moveTo>
                <a:lnTo>
                  <a:pt x="175284" y="74605"/>
                </a:lnTo>
                <a:lnTo>
                  <a:pt x="153414" y="87289"/>
                </a:lnTo>
                <a:lnTo>
                  <a:pt x="128076" y="43566"/>
                </a:lnTo>
                <a:close/>
                <a:moveTo>
                  <a:pt x="406225" y="30837"/>
                </a:moveTo>
                <a:lnTo>
                  <a:pt x="428191" y="43441"/>
                </a:lnTo>
                <a:lnTo>
                  <a:pt x="402853" y="87219"/>
                </a:lnTo>
                <a:lnTo>
                  <a:pt x="380983" y="74615"/>
                </a:lnTo>
                <a:close/>
                <a:moveTo>
                  <a:pt x="265538" y="0"/>
                </a:moveTo>
                <a:lnTo>
                  <a:pt x="290730" y="0"/>
                </a:lnTo>
                <a:lnTo>
                  <a:pt x="290730" y="50525"/>
                </a:lnTo>
                <a:lnTo>
                  <a:pt x="265538" y="50525"/>
                </a:ln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56" name="椭圆 955">
            <a:extLst>
              <a:ext uri="{FF2B5EF4-FFF2-40B4-BE49-F238E27FC236}">
                <a16:creationId xmlns:a16="http://schemas.microsoft.com/office/drawing/2014/main" id="{D34C960D-7A49-4C39-B113-7D7C0151E935}"/>
              </a:ext>
            </a:extLst>
          </p:cNvPr>
          <p:cNvSpPr/>
          <p:nvPr/>
        </p:nvSpPr>
        <p:spPr>
          <a:xfrm>
            <a:off x="8863843" y="2847123"/>
            <a:ext cx="442451" cy="4424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57" name="任意多边形: 形状 956">
            <a:extLst>
              <a:ext uri="{FF2B5EF4-FFF2-40B4-BE49-F238E27FC236}">
                <a16:creationId xmlns:a16="http://schemas.microsoft.com/office/drawing/2014/main" id="{36F4B47F-3B13-4A73-BBA9-039A78F27375}"/>
              </a:ext>
            </a:extLst>
          </p:cNvPr>
          <p:cNvSpPr/>
          <p:nvPr/>
        </p:nvSpPr>
        <p:spPr bwMode="auto">
          <a:xfrm>
            <a:off x="8992231" y="2953778"/>
            <a:ext cx="185673" cy="229141"/>
          </a:xfrm>
          <a:custGeom>
            <a:avLst/>
            <a:gdLst>
              <a:gd name="connsiteX0" fmla="*/ 35879 w 485081"/>
              <a:gd name="connsiteY0" fmla="*/ 269773 h 598645"/>
              <a:gd name="connsiteX1" fmla="*/ 35879 w 485081"/>
              <a:gd name="connsiteY1" fmla="*/ 468960 h 598645"/>
              <a:gd name="connsiteX2" fmla="*/ 206662 w 485081"/>
              <a:gd name="connsiteY2" fmla="*/ 544908 h 598645"/>
              <a:gd name="connsiteX3" fmla="*/ 206662 w 485081"/>
              <a:gd name="connsiteY3" fmla="*/ 345722 h 598645"/>
              <a:gd name="connsiteX4" fmla="*/ 142080 w 485081"/>
              <a:gd name="connsiteY4" fmla="*/ 150835 h 598645"/>
              <a:gd name="connsiteX5" fmla="*/ 143515 w 485081"/>
              <a:gd name="connsiteY5" fmla="*/ 153701 h 598645"/>
              <a:gd name="connsiteX6" fmla="*/ 170783 w 485081"/>
              <a:gd name="connsiteY6" fmla="*/ 169464 h 598645"/>
              <a:gd name="connsiteX7" fmla="*/ 188005 w 485081"/>
              <a:gd name="connsiteY7" fmla="*/ 169464 h 598645"/>
              <a:gd name="connsiteX8" fmla="*/ 188005 w 485081"/>
              <a:gd name="connsiteY8" fmla="*/ 226784 h 598645"/>
              <a:gd name="connsiteX9" fmla="*/ 221013 w 485081"/>
              <a:gd name="connsiteY9" fmla="*/ 259743 h 598645"/>
              <a:gd name="connsiteX10" fmla="*/ 264068 w 485081"/>
              <a:gd name="connsiteY10" fmla="*/ 259743 h 598645"/>
              <a:gd name="connsiteX11" fmla="*/ 295641 w 485081"/>
              <a:gd name="connsiteY11" fmla="*/ 226784 h 598645"/>
              <a:gd name="connsiteX12" fmla="*/ 295641 w 485081"/>
              <a:gd name="connsiteY12" fmla="*/ 169464 h 598645"/>
              <a:gd name="connsiteX13" fmla="*/ 312863 w 485081"/>
              <a:gd name="connsiteY13" fmla="*/ 169464 h 598645"/>
              <a:gd name="connsiteX14" fmla="*/ 341566 w 485081"/>
              <a:gd name="connsiteY14" fmla="*/ 153701 h 598645"/>
              <a:gd name="connsiteX15" fmla="*/ 343001 w 485081"/>
              <a:gd name="connsiteY15" fmla="*/ 150835 h 598645"/>
              <a:gd name="connsiteX16" fmla="*/ 475035 w 485081"/>
              <a:gd name="connsiteY16" fmla="*/ 209588 h 598645"/>
              <a:gd name="connsiteX17" fmla="*/ 485081 w 485081"/>
              <a:gd name="connsiteY17" fmla="*/ 225351 h 598645"/>
              <a:gd name="connsiteX18" fmla="*/ 485081 w 485081"/>
              <a:gd name="connsiteY18" fmla="*/ 481857 h 598645"/>
              <a:gd name="connsiteX19" fmla="*/ 475035 w 485081"/>
              <a:gd name="connsiteY19" fmla="*/ 496186 h 598645"/>
              <a:gd name="connsiteX20" fmla="*/ 248281 w 485081"/>
              <a:gd name="connsiteY20" fmla="*/ 596496 h 598645"/>
              <a:gd name="connsiteX21" fmla="*/ 235365 w 485081"/>
              <a:gd name="connsiteY21" fmla="*/ 596496 h 598645"/>
              <a:gd name="connsiteX22" fmla="*/ 8611 w 485081"/>
              <a:gd name="connsiteY22" fmla="*/ 496186 h 598645"/>
              <a:gd name="connsiteX23" fmla="*/ 0 w 485081"/>
              <a:gd name="connsiteY23" fmla="*/ 481857 h 598645"/>
              <a:gd name="connsiteX24" fmla="*/ 0 w 485081"/>
              <a:gd name="connsiteY24" fmla="*/ 225351 h 598645"/>
              <a:gd name="connsiteX25" fmla="*/ 8611 w 485081"/>
              <a:gd name="connsiteY25" fmla="*/ 209588 h 598645"/>
              <a:gd name="connsiteX26" fmla="*/ 241824 w 485081"/>
              <a:gd name="connsiteY26" fmla="*/ 0 h 598645"/>
              <a:gd name="connsiteX27" fmla="*/ 254021 w 485081"/>
              <a:gd name="connsiteY27" fmla="*/ 7519 h 598645"/>
              <a:gd name="connsiteX28" fmla="*/ 325771 w 485081"/>
              <a:gd name="connsiteY28" fmla="*/ 130681 h 598645"/>
              <a:gd name="connsiteX29" fmla="*/ 312856 w 485081"/>
              <a:gd name="connsiteY29" fmla="*/ 152163 h 598645"/>
              <a:gd name="connsiteX30" fmla="*/ 276981 w 485081"/>
              <a:gd name="connsiteY30" fmla="*/ 152163 h 598645"/>
              <a:gd name="connsiteX31" fmla="*/ 276981 w 485081"/>
              <a:gd name="connsiteY31" fmla="*/ 226633 h 598645"/>
              <a:gd name="connsiteX32" fmla="*/ 264066 w 485081"/>
              <a:gd name="connsiteY32" fmla="*/ 240954 h 598645"/>
              <a:gd name="connsiteX33" fmla="*/ 221016 w 485081"/>
              <a:gd name="connsiteY33" fmla="*/ 240954 h 598645"/>
              <a:gd name="connsiteX34" fmla="*/ 206666 w 485081"/>
              <a:gd name="connsiteY34" fmla="*/ 226633 h 598645"/>
              <a:gd name="connsiteX35" fmla="*/ 206666 w 485081"/>
              <a:gd name="connsiteY35" fmla="*/ 152163 h 598645"/>
              <a:gd name="connsiteX36" fmla="*/ 170791 w 485081"/>
              <a:gd name="connsiteY36" fmla="*/ 152163 h 598645"/>
              <a:gd name="connsiteX37" fmla="*/ 159311 w 485081"/>
              <a:gd name="connsiteY37" fmla="*/ 130681 h 598645"/>
              <a:gd name="connsiteX38" fmla="*/ 229626 w 485081"/>
              <a:gd name="connsiteY38" fmla="*/ 7519 h 598645"/>
              <a:gd name="connsiteX39" fmla="*/ 241824 w 485081"/>
              <a:gd name="connsiteY39" fmla="*/ 0 h 598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85081" h="598645">
                <a:moveTo>
                  <a:pt x="35879" y="269773"/>
                </a:moveTo>
                <a:lnTo>
                  <a:pt x="35879" y="468960"/>
                </a:lnTo>
                <a:lnTo>
                  <a:pt x="206662" y="544908"/>
                </a:lnTo>
                <a:lnTo>
                  <a:pt x="206662" y="345722"/>
                </a:lnTo>
                <a:close/>
                <a:moveTo>
                  <a:pt x="142080" y="150835"/>
                </a:moveTo>
                <a:cubicBezTo>
                  <a:pt x="142080" y="150835"/>
                  <a:pt x="142080" y="152268"/>
                  <a:pt x="143515" y="153701"/>
                </a:cubicBezTo>
                <a:cubicBezTo>
                  <a:pt x="149256" y="163732"/>
                  <a:pt x="159302" y="169464"/>
                  <a:pt x="170783" y="169464"/>
                </a:cubicBezTo>
                <a:lnTo>
                  <a:pt x="188005" y="169464"/>
                </a:lnTo>
                <a:lnTo>
                  <a:pt x="188005" y="226784"/>
                </a:lnTo>
                <a:cubicBezTo>
                  <a:pt x="188005" y="245413"/>
                  <a:pt x="202356" y="259743"/>
                  <a:pt x="221013" y="259743"/>
                </a:cubicBezTo>
                <a:lnTo>
                  <a:pt x="264068" y="259743"/>
                </a:lnTo>
                <a:cubicBezTo>
                  <a:pt x="281290" y="259743"/>
                  <a:pt x="295641" y="245413"/>
                  <a:pt x="295641" y="226784"/>
                </a:cubicBezTo>
                <a:lnTo>
                  <a:pt x="295641" y="169464"/>
                </a:lnTo>
                <a:lnTo>
                  <a:pt x="312863" y="169464"/>
                </a:lnTo>
                <a:cubicBezTo>
                  <a:pt x="324344" y="169464"/>
                  <a:pt x="335825" y="163732"/>
                  <a:pt x="341566" y="153701"/>
                </a:cubicBezTo>
                <a:cubicBezTo>
                  <a:pt x="341566" y="152268"/>
                  <a:pt x="341566" y="150835"/>
                  <a:pt x="343001" y="150835"/>
                </a:cubicBezTo>
                <a:lnTo>
                  <a:pt x="475035" y="209588"/>
                </a:lnTo>
                <a:cubicBezTo>
                  <a:pt x="480776" y="212454"/>
                  <a:pt x="485081" y="218186"/>
                  <a:pt x="485081" y="225351"/>
                </a:cubicBezTo>
                <a:lnTo>
                  <a:pt x="485081" y="481857"/>
                </a:lnTo>
                <a:cubicBezTo>
                  <a:pt x="485081" y="487589"/>
                  <a:pt x="480776" y="493320"/>
                  <a:pt x="475035" y="496186"/>
                </a:cubicBezTo>
                <a:lnTo>
                  <a:pt x="248281" y="596496"/>
                </a:lnTo>
                <a:cubicBezTo>
                  <a:pt x="243976" y="599362"/>
                  <a:pt x="239670" y="599362"/>
                  <a:pt x="235365" y="596496"/>
                </a:cubicBezTo>
                <a:lnTo>
                  <a:pt x="8611" y="496186"/>
                </a:lnTo>
                <a:cubicBezTo>
                  <a:pt x="2870" y="493320"/>
                  <a:pt x="0" y="487589"/>
                  <a:pt x="0" y="481857"/>
                </a:cubicBezTo>
                <a:lnTo>
                  <a:pt x="0" y="225351"/>
                </a:lnTo>
                <a:cubicBezTo>
                  <a:pt x="0" y="218186"/>
                  <a:pt x="2870" y="212454"/>
                  <a:pt x="8611" y="209588"/>
                </a:cubicBezTo>
                <a:close/>
                <a:moveTo>
                  <a:pt x="241824" y="0"/>
                </a:moveTo>
                <a:cubicBezTo>
                  <a:pt x="246487" y="0"/>
                  <a:pt x="251151" y="2507"/>
                  <a:pt x="254021" y="7519"/>
                </a:cubicBezTo>
                <a:lnTo>
                  <a:pt x="325771" y="130681"/>
                </a:lnTo>
                <a:cubicBezTo>
                  <a:pt x="331511" y="139274"/>
                  <a:pt x="324336" y="152163"/>
                  <a:pt x="312856" y="152163"/>
                </a:cubicBezTo>
                <a:lnTo>
                  <a:pt x="276981" y="152163"/>
                </a:lnTo>
                <a:lnTo>
                  <a:pt x="276981" y="226633"/>
                </a:lnTo>
                <a:cubicBezTo>
                  <a:pt x="276981" y="235226"/>
                  <a:pt x="271241" y="240954"/>
                  <a:pt x="264066" y="240954"/>
                </a:cubicBezTo>
                <a:lnTo>
                  <a:pt x="221016" y="240954"/>
                </a:lnTo>
                <a:cubicBezTo>
                  <a:pt x="212406" y="240954"/>
                  <a:pt x="206666" y="235226"/>
                  <a:pt x="206666" y="226633"/>
                </a:cubicBezTo>
                <a:lnTo>
                  <a:pt x="206666" y="152163"/>
                </a:lnTo>
                <a:lnTo>
                  <a:pt x="170791" y="152163"/>
                </a:lnTo>
                <a:cubicBezTo>
                  <a:pt x="160746" y="152163"/>
                  <a:pt x="153571" y="139274"/>
                  <a:pt x="159311" y="130681"/>
                </a:cubicBezTo>
                <a:lnTo>
                  <a:pt x="229626" y="7519"/>
                </a:lnTo>
                <a:cubicBezTo>
                  <a:pt x="232496" y="2507"/>
                  <a:pt x="237160" y="0"/>
                  <a:pt x="241824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54" name="椭圆 953">
            <a:extLst>
              <a:ext uri="{FF2B5EF4-FFF2-40B4-BE49-F238E27FC236}">
                <a16:creationId xmlns:a16="http://schemas.microsoft.com/office/drawing/2014/main" id="{BFA538DF-7A80-4C8F-A98A-B9B0FD89DA39}"/>
              </a:ext>
            </a:extLst>
          </p:cNvPr>
          <p:cNvSpPr/>
          <p:nvPr/>
        </p:nvSpPr>
        <p:spPr>
          <a:xfrm>
            <a:off x="8863843" y="4388839"/>
            <a:ext cx="442451" cy="44245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55" name="任意多边形: 形状 954">
            <a:extLst>
              <a:ext uri="{FF2B5EF4-FFF2-40B4-BE49-F238E27FC236}">
                <a16:creationId xmlns:a16="http://schemas.microsoft.com/office/drawing/2014/main" id="{37CBBC94-D2AF-4D6E-BDB8-9BA8572ADDF6}"/>
              </a:ext>
            </a:extLst>
          </p:cNvPr>
          <p:cNvSpPr/>
          <p:nvPr/>
        </p:nvSpPr>
        <p:spPr bwMode="auto">
          <a:xfrm>
            <a:off x="8970498" y="4503886"/>
            <a:ext cx="229141" cy="212356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603052" h="558878">
                <a:moveTo>
                  <a:pt x="174649" y="543212"/>
                </a:moveTo>
                <a:lnTo>
                  <a:pt x="278182" y="543212"/>
                </a:lnTo>
                <a:lnTo>
                  <a:pt x="278182" y="549259"/>
                </a:lnTo>
                <a:lnTo>
                  <a:pt x="324868" y="549259"/>
                </a:lnTo>
                <a:lnTo>
                  <a:pt x="324868" y="543212"/>
                </a:lnTo>
                <a:lnTo>
                  <a:pt x="428402" y="543212"/>
                </a:lnTo>
                <a:cubicBezTo>
                  <a:pt x="428402" y="551732"/>
                  <a:pt x="423184" y="558878"/>
                  <a:pt x="417143" y="558878"/>
                </a:cubicBezTo>
                <a:lnTo>
                  <a:pt x="185908" y="558878"/>
                </a:lnTo>
                <a:cubicBezTo>
                  <a:pt x="179867" y="558878"/>
                  <a:pt x="174649" y="551732"/>
                  <a:pt x="174649" y="543212"/>
                </a:cubicBezTo>
                <a:close/>
                <a:moveTo>
                  <a:pt x="210913" y="403140"/>
                </a:moveTo>
                <a:lnTo>
                  <a:pt x="392413" y="403140"/>
                </a:lnTo>
                <a:cubicBezTo>
                  <a:pt x="400651" y="403140"/>
                  <a:pt x="407515" y="409993"/>
                  <a:pt x="407515" y="418492"/>
                </a:cubicBezTo>
                <a:lnTo>
                  <a:pt x="407515" y="523485"/>
                </a:lnTo>
                <a:cubicBezTo>
                  <a:pt x="407515" y="531984"/>
                  <a:pt x="400651" y="538837"/>
                  <a:pt x="392413" y="538837"/>
                </a:cubicBezTo>
                <a:lnTo>
                  <a:pt x="210913" y="538837"/>
                </a:lnTo>
                <a:cubicBezTo>
                  <a:pt x="202401" y="538837"/>
                  <a:pt x="195537" y="531984"/>
                  <a:pt x="195537" y="523485"/>
                </a:cubicBezTo>
                <a:lnTo>
                  <a:pt x="195537" y="418492"/>
                </a:lnTo>
                <a:cubicBezTo>
                  <a:pt x="195537" y="409993"/>
                  <a:pt x="202401" y="403140"/>
                  <a:pt x="210913" y="403140"/>
                </a:cubicBezTo>
                <a:close/>
                <a:moveTo>
                  <a:pt x="505311" y="368845"/>
                </a:moveTo>
                <a:lnTo>
                  <a:pt x="517668" y="368845"/>
                </a:lnTo>
                <a:cubicBezTo>
                  <a:pt x="497897" y="416277"/>
                  <a:pt x="463024" y="455484"/>
                  <a:pt x="419088" y="481256"/>
                </a:cubicBezTo>
                <a:lnTo>
                  <a:pt x="419088" y="467822"/>
                </a:lnTo>
                <a:cubicBezTo>
                  <a:pt x="456983" y="444243"/>
                  <a:pt x="487188" y="409971"/>
                  <a:pt x="505311" y="368845"/>
                </a:cubicBezTo>
                <a:close/>
                <a:moveTo>
                  <a:pt x="85384" y="368845"/>
                </a:moveTo>
                <a:lnTo>
                  <a:pt x="97741" y="368845"/>
                </a:lnTo>
                <a:cubicBezTo>
                  <a:pt x="115864" y="409971"/>
                  <a:pt x="146344" y="444243"/>
                  <a:pt x="183964" y="467822"/>
                </a:cubicBezTo>
                <a:lnTo>
                  <a:pt x="183964" y="481256"/>
                </a:lnTo>
                <a:cubicBezTo>
                  <a:pt x="140028" y="455484"/>
                  <a:pt x="105155" y="416277"/>
                  <a:pt x="85384" y="368845"/>
                </a:cubicBezTo>
                <a:close/>
                <a:moveTo>
                  <a:pt x="349581" y="341678"/>
                </a:moveTo>
                <a:lnTo>
                  <a:pt x="452837" y="341678"/>
                </a:lnTo>
                <a:lnTo>
                  <a:pt x="452837" y="347725"/>
                </a:lnTo>
                <a:lnTo>
                  <a:pt x="499796" y="347725"/>
                </a:lnTo>
                <a:lnTo>
                  <a:pt x="499796" y="341678"/>
                </a:lnTo>
                <a:lnTo>
                  <a:pt x="603052" y="341678"/>
                </a:lnTo>
                <a:cubicBezTo>
                  <a:pt x="603052" y="350473"/>
                  <a:pt x="598109" y="357344"/>
                  <a:pt x="591793" y="357344"/>
                </a:cubicBezTo>
                <a:lnTo>
                  <a:pt x="360841" y="357344"/>
                </a:lnTo>
                <a:cubicBezTo>
                  <a:pt x="354524" y="357344"/>
                  <a:pt x="349581" y="350473"/>
                  <a:pt x="349581" y="341678"/>
                </a:cubicBezTo>
                <a:close/>
                <a:moveTo>
                  <a:pt x="0" y="341678"/>
                </a:moveTo>
                <a:lnTo>
                  <a:pt x="103256" y="341678"/>
                </a:lnTo>
                <a:lnTo>
                  <a:pt x="103256" y="347725"/>
                </a:lnTo>
                <a:lnTo>
                  <a:pt x="150215" y="347725"/>
                </a:lnTo>
                <a:lnTo>
                  <a:pt x="150215" y="341678"/>
                </a:lnTo>
                <a:lnTo>
                  <a:pt x="253471" y="341678"/>
                </a:lnTo>
                <a:cubicBezTo>
                  <a:pt x="253471" y="350473"/>
                  <a:pt x="248528" y="357344"/>
                  <a:pt x="242486" y="357344"/>
                </a:cubicBezTo>
                <a:lnTo>
                  <a:pt x="11259" y="357344"/>
                </a:lnTo>
                <a:cubicBezTo>
                  <a:pt x="4943" y="357344"/>
                  <a:pt x="0" y="350473"/>
                  <a:pt x="0" y="341678"/>
                </a:cubicBezTo>
                <a:close/>
                <a:moveTo>
                  <a:pt x="385564" y="201535"/>
                </a:moveTo>
                <a:lnTo>
                  <a:pt x="567070" y="201535"/>
                </a:lnTo>
                <a:cubicBezTo>
                  <a:pt x="575582" y="201535"/>
                  <a:pt x="582447" y="208392"/>
                  <a:pt x="582447" y="216896"/>
                </a:cubicBezTo>
                <a:lnTo>
                  <a:pt x="582447" y="322224"/>
                </a:lnTo>
                <a:cubicBezTo>
                  <a:pt x="582447" y="330453"/>
                  <a:pt x="575582" y="337585"/>
                  <a:pt x="567070" y="337585"/>
                </a:cubicBezTo>
                <a:lnTo>
                  <a:pt x="385564" y="337585"/>
                </a:lnTo>
                <a:cubicBezTo>
                  <a:pt x="377051" y="337585"/>
                  <a:pt x="370186" y="330453"/>
                  <a:pt x="370186" y="322224"/>
                </a:cubicBezTo>
                <a:lnTo>
                  <a:pt x="370186" y="216896"/>
                </a:lnTo>
                <a:cubicBezTo>
                  <a:pt x="370186" y="208392"/>
                  <a:pt x="377051" y="201535"/>
                  <a:pt x="385564" y="201535"/>
                </a:cubicBezTo>
                <a:close/>
                <a:moveTo>
                  <a:pt x="35982" y="201535"/>
                </a:moveTo>
                <a:lnTo>
                  <a:pt x="217489" y="201535"/>
                </a:lnTo>
                <a:cubicBezTo>
                  <a:pt x="226001" y="201535"/>
                  <a:pt x="232866" y="208392"/>
                  <a:pt x="232866" y="216896"/>
                </a:cubicBezTo>
                <a:lnTo>
                  <a:pt x="232866" y="322224"/>
                </a:lnTo>
                <a:cubicBezTo>
                  <a:pt x="232866" y="330453"/>
                  <a:pt x="226001" y="337585"/>
                  <a:pt x="217489" y="337585"/>
                </a:cubicBezTo>
                <a:lnTo>
                  <a:pt x="35982" y="337585"/>
                </a:lnTo>
                <a:cubicBezTo>
                  <a:pt x="27470" y="337585"/>
                  <a:pt x="20605" y="330453"/>
                  <a:pt x="20605" y="322224"/>
                </a:cubicBezTo>
                <a:lnTo>
                  <a:pt x="20605" y="216896"/>
                </a:lnTo>
                <a:cubicBezTo>
                  <a:pt x="20605" y="208392"/>
                  <a:pt x="27470" y="201535"/>
                  <a:pt x="35982" y="201535"/>
                </a:cubicBezTo>
                <a:close/>
                <a:moveTo>
                  <a:pt x="174649" y="140143"/>
                </a:moveTo>
                <a:lnTo>
                  <a:pt x="278182" y="140143"/>
                </a:lnTo>
                <a:lnTo>
                  <a:pt x="278182" y="146439"/>
                </a:lnTo>
                <a:lnTo>
                  <a:pt x="324868" y="146439"/>
                </a:lnTo>
                <a:lnTo>
                  <a:pt x="324868" y="140143"/>
                </a:lnTo>
                <a:lnTo>
                  <a:pt x="428402" y="140143"/>
                </a:lnTo>
                <a:cubicBezTo>
                  <a:pt x="428402" y="148903"/>
                  <a:pt x="423184" y="156020"/>
                  <a:pt x="417143" y="156020"/>
                </a:cubicBezTo>
                <a:lnTo>
                  <a:pt x="185908" y="156020"/>
                </a:lnTo>
                <a:cubicBezTo>
                  <a:pt x="179867" y="156020"/>
                  <a:pt x="174649" y="148903"/>
                  <a:pt x="174649" y="140143"/>
                </a:cubicBezTo>
                <a:close/>
                <a:moveTo>
                  <a:pt x="419088" y="77622"/>
                </a:moveTo>
                <a:cubicBezTo>
                  <a:pt x="463024" y="103394"/>
                  <a:pt x="497897" y="142875"/>
                  <a:pt x="517668" y="190033"/>
                </a:cubicBezTo>
                <a:lnTo>
                  <a:pt x="505311" y="190033"/>
                </a:lnTo>
                <a:cubicBezTo>
                  <a:pt x="487188" y="149181"/>
                  <a:pt x="456983" y="114635"/>
                  <a:pt x="419088" y="91056"/>
                </a:cubicBezTo>
                <a:close/>
                <a:moveTo>
                  <a:pt x="184034" y="77622"/>
                </a:moveTo>
                <a:lnTo>
                  <a:pt x="184034" y="91056"/>
                </a:lnTo>
                <a:cubicBezTo>
                  <a:pt x="146387" y="114635"/>
                  <a:pt x="115886" y="149181"/>
                  <a:pt x="97749" y="190033"/>
                </a:cubicBezTo>
                <a:lnTo>
                  <a:pt x="85384" y="190033"/>
                </a:lnTo>
                <a:cubicBezTo>
                  <a:pt x="105169" y="142875"/>
                  <a:pt x="140067" y="103394"/>
                  <a:pt x="184034" y="77622"/>
                </a:cubicBezTo>
                <a:close/>
                <a:moveTo>
                  <a:pt x="210913" y="0"/>
                </a:moveTo>
                <a:lnTo>
                  <a:pt x="392413" y="0"/>
                </a:lnTo>
                <a:cubicBezTo>
                  <a:pt x="400651" y="0"/>
                  <a:pt x="407515" y="6854"/>
                  <a:pt x="407515" y="15353"/>
                </a:cubicBezTo>
                <a:lnTo>
                  <a:pt x="407515" y="120627"/>
                </a:lnTo>
                <a:cubicBezTo>
                  <a:pt x="407515" y="129126"/>
                  <a:pt x="400651" y="135980"/>
                  <a:pt x="392413" y="135980"/>
                </a:cubicBezTo>
                <a:lnTo>
                  <a:pt x="210913" y="135980"/>
                </a:lnTo>
                <a:cubicBezTo>
                  <a:pt x="202401" y="135980"/>
                  <a:pt x="195537" y="129126"/>
                  <a:pt x="195537" y="120627"/>
                </a:cubicBezTo>
                <a:lnTo>
                  <a:pt x="195537" y="15353"/>
                </a:lnTo>
                <a:cubicBezTo>
                  <a:pt x="195537" y="6854"/>
                  <a:pt x="202401" y="0"/>
                  <a:pt x="210913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wrap="square" lIns="91440" tIns="45720" rIns="91440" bIns="45720" anchor="ctr"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2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工作完成情况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277604" y="369765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8963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工作完成情况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8" name="任意多边形: 形状 197">
            <a:extLst>
              <a:ext uri="{FF2B5EF4-FFF2-40B4-BE49-F238E27FC236}">
                <a16:creationId xmlns:a16="http://schemas.microsoft.com/office/drawing/2014/main" id="{52645CBF-B751-45BB-A28B-5CF892FDFE74}"/>
              </a:ext>
            </a:extLst>
          </p:cNvPr>
          <p:cNvSpPr/>
          <p:nvPr/>
        </p:nvSpPr>
        <p:spPr bwMode="auto">
          <a:xfrm>
            <a:off x="4494092" y="1666394"/>
            <a:ext cx="2515036" cy="1219791"/>
          </a:xfrm>
          <a:custGeom>
            <a:avLst/>
            <a:gdLst>
              <a:gd name="T0" fmla="*/ 13 w 241"/>
              <a:gd name="T1" fmla="*/ 117 h 117"/>
              <a:gd name="T2" fmla="*/ 103 w 241"/>
              <a:gd name="T3" fmla="*/ 104 h 117"/>
              <a:gd name="T4" fmla="*/ 76 w 241"/>
              <a:gd name="T5" fmla="*/ 84 h 117"/>
              <a:gd name="T6" fmla="*/ 152 w 241"/>
              <a:gd name="T7" fmla="*/ 58 h 117"/>
              <a:gd name="T8" fmla="*/ 204 w 241"/>
              <a:gd name="T9" fmla="*/ 70 h 117"/>
              <a:gd name="T10" fmla="*/ 205 w 241"/>
              <a:gd name="T11" fmla="*/ 71 h 117"/>
              <a:gd name="T12" fmla="*/ 200 w 241"/>
              <a:gd name="T13" fmla="*/ 32 h 117"/>
              <a:gd name="T14" fmla="*/ 241 w 241"/>
              <a:gd name="T15" fmla="*/ 26 h 117"/>
              <a:gd name="T16" fmla="*/ 228 w 241"/>
              <a:gd name="T17" fmla="*/ 19 h 117"/>
              <a:gd name="T18" fmla="*/ 137 w 241"/>
              <a:gd name="T19" fmla="*/ 2 h 117"/>
              <a:gd name="T20" fmla="*/ 29 w 241"/>
              <a:gd name="T21" fmla="*/ 49 h 117"/>
              <a:gd name="T22" fmla="*/ 0 w 241"/>
              <a:gd name="T23" fmla="*/ 27 h 117"/>
              <a:gd name="T24" fmla="*/ 13 w 241"/>
              <a:gd name="T25" fmla="*/ 117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1" h="117">
                <a:moveTo>
                  <a:pt x="13" y="117"/>
                </a:moveTo>
                <a:cubicBezTo>
                  <a:pt x="103" y="104"/>
                  <a:pt x="103" y="104"/>
                  <a:pt x="103" y="104"/>
                </a:cubicBezTo>
                <a:cubicBezTo>
                  <a:pt x="76" y="84"/>
                  <a:pt x="76" y="84"/>
                  <a:pt x="76" y="84"/>
                </a:cubicBezTo>
                <a:cubicBezTo>
                  <a:pt x="97" y="67"/>
                  <a:pt x="124" y="58"/>
                  <a:pt x="152" y="58"/>
                </a:cubicBezTo>
                <a:cubicBezTo>
                  <a:pt x="169" y="58"/>
                  <a:pt x="187" y="62"/>
                  <a:pt x="204" y="70"/>
                </a:cubicBezTo>
                <a:cubicBezTo>
                  <a:pt x="205" y="70"/>
                  <a:pt x="205" y="70"/>
                  <a:pt x="205" y="71"/>
                </a:cubicBezTo>
                <a:cubicBezTo>
                  <a:pt x="200" y="32"/>
                  <a:pt x="200" y="32"/>
                  <a:pt x="200" y="32"/>
                </a:cubicBezTo>
                <a:cubicBezTo>
                  <a:pt x="241" y="26"/>
                  <a:pt x="241" y="26"/>
                  <a:pt x="241" y="26"/>
                </a:cubicBezTo>
                <a:cubicBezTo>
                  <a:pt x="237" y="24"/>
                  <a:pt x="233" y="21"/>
                  <a:pt x="228" y="19"/>
                </a:cubicBezTo>
                <a:cubicBezTo>
                  <a:pt x="199" y="5"/>
                  <a:pt x="168" y="0"/>
                  <a:pt x="137" y="2"/>
                </a:cubicBezTo>
                <a:cubicBezTo>
                  <a:pt x="97" y="6"/>
                  <a:pt x="59" y="22"/>
                  <a:pt x="29" y="49"/>
                </a:cubicBezTo>
                <a:cubicBezTo>
                  <a:pt x="0" y="27"/>
                  <a:pt x="0" y="27"/>
                  <a:pt x="0" y="27"/>
                </a:cubicBezTo>
                <a:lnTo>
                  <a:pt x="13" y="11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9" name="任意多边形: 形状 198">
            <a:extLst>
              <a:ext uri="{FF2B5EF4-FFF2-40B4-BE49-F238E27FC236}">
                <a16:creationId xmlns:a16="http://schemas.microsoft.com/office/drawing/2014/main" id="{39BBCF5A-AF50-4C32-9FA7-DCF08BA8D8BE}"/>
              </a:ext>
            </a:extLst>
          </p:cNvPr>
          <p:cNvSpPr/>
          <p:nvPr/>
        </p:nvSpPr>
        <p:spPr bwMode="auto">
          <a:xfrm>
            <a:off x="4172168" y="2624621"/>
            <a:ext cx="1219792" cy="2515034"/>
          </a:xfrm>
          <a:custGeom>
            <a:avLst/>
            <a:gdLst>
              <a:gd name="T0" fmla="*/ 117 w 117"/>
              <a:gd name="T1" fmla="*/ 228 h 241"/>
              <a:gd name="T2" fmla="*/ 104 w 117"/>
              <a:gd name="T3" fmla="*/ 139 h 241"/>
              <a:gd name="T4" fmla="*/ 83 w 117"/>
              <a:gd name="T5" fmla="*/ 166 h 241"/>
              <a:gd name="T6" fmla="*/ 58 w 117"/>
              <a:gd name="T7" fmla="*/ 99 h 241"/>
              <a:gd name="T8" fmla="*/ 70 w 117"/>
              <a:gd name="T9" fmla="*/ 37 h 241"/>
              <a:gd name="T10" fmla="*/ 70 w 117"/>
              <a:gd name="T11" fmla="*/ 36 h 241"/>
              <a:gd name="T12" fmla="*/ 31 w 117"/>
              <a:gd name="T13" fmla="*/ 42 h 241"/>
              <a:gd name="T14" fmla="*/ 26 w 117"/>
              <a:gd name="T15" fmla="*/ 0 h 241"/>
              <a:gd name="T16" fmla="*/ 19 w 117"/>
              <a:gd name="T17" fmla="*/ 13 h 241"/>
              <a:gd name="T18" fmla="*/ 2 w 117"/>
              <a:gd name="T19" fmla="*/ 102 h 241"/>
              <a:gd name="T20" fmla="*/ 49 w 117"/>
              <a:gd name="T21" fmla="*/ 212 h 241"/>
              <a:gd name="T22" fmla="*/ 27 w 117"/>
              <a:gd name="T23" fmla="*/ 241 h 241"/>
              <a:gd name="T24" fmla="*/ 117 w 117"/>
              <a:gd name="T25" fmla="*/ 228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" h="241">
                <a:moveTo>
                  <a:pt x="117" y="228"/>
                </a:moveTo>
                <a:cubicBezTo>
                  <a:pt x="104" y="139"/>
                  <a:pt x="104" y="139"/>
                  <a:pt x="104" y="139"/>
                </a:cubicBezTo>
                <a:cubicBezTo>
                  <a:pt x="83" y="166"/>
                  <a:pt x="83" y="166"/>
                  <a:pt x="83" y="166"/>
                </a:cubicBezTo>
                <a:cubicBezTo>
                  <a:pt x="69" y="146"/>
                  <a:pt x="60" y="123"/>
                  <a:pt x="58" y="99"/>
                </a:cubicBezTo>
                <a:cubicBezTo>
                  <a:pt x="57" y="78"/>
                  <a:pt x="60" y="57"/>
                  <a:pt x="70" y="37"/>
                </a:cubicBezTo>
                <a:cubicBezTo>
                  <a:pt x="70" y="37"/>
                  <a:pt x="70" y="37"/>
                  <a:pt x="70" y="36"/>
                </a:cubicBezTo>
                <a:cubicBezTo>
                  <a:pt x="31" y="42"/>
                  <a:pt x="31" y="42"/>
                  <a:pt x="31" y="42"/>
                </a:cubicBezTo>
                <a:cubicBezTo>
                  <a:pt x="26" y="0"/>
                  <a:pt x="26" y="0"/>
                  <a:pt x="26" y="0"/>
                </a:cubicBezTo>
                <a:cubicBezTo>
                  <a:pt x="23" y="5"/>
                  <a:pt x="21" y="9"/>
                  <a:pt x="19" y="13"/>
                </a:cubicBezTo>
                <a:cubicBezTo>
                  <a:pt x="5" y="42"/>
                  <a:pt x="0" y="73"/>
                  <a:pt x="2" y="102"/>
                </a:cubicBezTo>
                <a:cubicBezTo>
                  <a:pt x="5" y="143"/>
                  <a:pt x="21" y="182"/>
                  <a:pt x="49" y="212"/>
                </a:cubicBezTo>
                <a:cubicBezTo>
                  <a:pt x="27" y="241"/>
                  <a:pt x="27" y="241"/>
                  <a:pt x="27" y="241"/>
                </a:cubicBezTo>
                <a:lnTo>
                  <a:pt x="117" y="2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0" name="任意多边形: 形状 199">
            <a:extLst>
              <a:ext uri="{FF2B5EF4-FFF2-40B4-BE49-F238E27FC236}">
                <a16:creationId xmlns:a16="http://schemas.microsoft.com/office/drawing/2014/main" id="{725F3877-86CF-4DA6-A42E-0371F9069097}"/>
              </a:ext>
            </a:extLst>
          </p:cNvPr>
          <p:cNvSpPr/>
          <p:nvPr/>
        </p:nvSpPr>
        <p:spPr bwMode="auto">
          <a:xfrm>
            <a:off x="5130398" y="4251849"/>
            <a:ext cx="2515036" cy="1232366"/>
          </a:xfrm>
          <a:custGeom>
            <a:avLst/>
            <a:gdLst>
              <a:gd name="T0" fmla="*/ 241 w 241"/>
              <a:gd name="T1" fmla="*/ 90 h 118"/>
              <a:gd name="T2" fmla="*/ 228 w 241"/>
              <a:gd name="T3" fmla="*/ 0 h 118"/>
              <a:gd name="T4" fmla="*/ 138 w 241"/>
              <a:gd name="T5" fmla="*/ 13 h 118"/>
              <a:gd name="T6" fmla="*/ 165 w 241"/>
              <a:gd name="T7" fmla="*/ 33 h 118"/>
              <a:gd name="T8" fmla="*/ 96 w 241"/>
              <a:gd name="T9" fmla="*/ 59 h 118"/>
              <a:gd name="T10" fmla="*/ 37 w 241"/>
              <a:gd name="T11" fmla="*/ 47 h 118"/>
              <a:gd name="T12" fmla="*/ 36 w 241"/>
              <a:gd name="T13" fmla="*/ 46 h 118"/>
              <a:gd name="T14" fmla="*/ 42 w 241"/>
              <a:gd name="T15" fmla="*/ 85 h 118"/>
              <a:gd name="T16" fmla="*/ 0 w 241"/>
              <a:gd name="T17" fmla="*/ 91 h 118"/>
              <a:gd name="T18" fmla="*/ 13 w 241"/>
              <a:gd name="T19" fmla="*/ 98 h 118"/>
              <a:gd name="T20" fmla="*/ 112 w 241"/>
              <a:gd name="T21" fmla="*/ 114 h 118"/>
              <a:gd name="T22" fmla="*/ 212 w 241"/>
              <a:gd name="T23" fmla="*/ 68 h 118"/>
              <a:gd name="T24" fmla="*/ 241 w 241"/>
              <a:gd name="T25" fmla="*/ 9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1" h="118">
                <a:moveTo>
                  <a:pt x="241" y="90"/>
                </a:moveTo>
                <a:cubicBezTo>
                  <a:pt x="228" y="0"/>
                  <a:pt x="228" y="0"/>
                  <a:pt x="228" y="0"/>
                </a:cubicBezTo>
                <a:cubicBezTo>
                  <a:pt x="138" y="13"/>
                  <a:pt x="138" y="13"/>
                  <a:pt x="138" y="13"/>
                </a:cubicBezTo>
                <a:cubicBezTo>
                  <a:pt x="165" y="33"/>
                  <a:pt x="165" y="33"/>
                  <a:pt x="165" y="33"/>
                </a:cubicBezTo>
                <a:cubicBezTo>
                  <a:pt x="145" y="48"/>
                  <a:pt x="121" y="57"/>
                  <a:pt x="96" y="59"/>
                </a:cubicBezTo>
                <a:cubicBezTo>
                  <a:pt x="76" y="60"/>
                  <a:pt x="56" y="56"/>
                  <a:pt x="37" y="47"/>
                </a:cubicBezTo>
                <a:cubicBezTo>
                  <a:pt x="36" y="47"/>
                  <a:pt x="36" y="47"/>
                  <a:pt x="36" y="46"/>
                </a:cubicBezTo>
                <a:cubicBezTo>
                  <a:pt x="42" y="85"/>
                  <a:pt x="42" y="85"/>
                  <a:pt x="42" y="85"/>
                </a:cubicBezTo>
                <a:cubicBezTo>
                  <a:pt x="0" y="91"/>
                  <a:pt x="0" y="91"/>
                  <a:pt x="0" y="91"/>
                </a:cubicBezTo>
                <a:cubicBezTo>
                  <a:pt x="4" y="93"/>
                  <a:pt x="8" y="96"/>
                  <a:pt x="13" y="98"/>
                </a:cubicBezTo>
                <a:cubicBezTo>
                  <a:pt x="45" y="113"/>
                  <a:pt x="79" y="118"/>
                  <a:pt x="112" y="114"/>
                </a:cubicBezTo>
                <a:cubicBezTo>
                  <a:pt x="149" y="109"/>
                  <a:pt x="184" y="93"/>
                  <a:pt x="212" y="68"/>
                </a:cubicBezTo>
                <a:lnTo>
                  <a:pt x="241" y="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1" name="任意多边形: 形状 200">
            <a:extLst>
              <a:ext uri="{FF2B5EF4-FFF2-40B4-BE49-F238E27FC236}">
                <a16:creationId xmlns:a16="http://schemas.microsoft.com/office/drawing/2014/main" id="{C021139A-3D48-406C-97A4-A6C756A50D93}"/>
              </a:ext>
            </a:extLst>
          </p:cNvPr>
          <p:cNvSpPr/>
          <p:nvPr/>
        </p:nvSpPr>
        <p:spPr bwMode="auto">
          <a:xfrm>
            <a:off x="6747565" y="1998378"/>
            <a:ext cx="1219792" cy="2504973"/>
          </a:xfrm>
          <a:custGeom>
            <a:avLst/>
            <a:gdLst>
              <a:gd name="T0" fmla="*/ 0 w 117"/>
              <a:gd name="T1" fmla="*/ 13 h 240"/>
              <a:gd name="T2" fmla="*/ 13 w 117"/>
              <a:gd name="T3" fmla="*/ 102 h 240"/>
              <a:gd name="T4" fmla="*/ 34 w 117"/>
              <a:gd name="T5" fmla="*/ 75 h 240"/>
              <a:gd name="T6" fmla="*/ 59 w 117"/>
              <a:gd name="T7" fmla="*/ 143 h 240"/>
              <a:gd name="T8" fmla="*/ 47 w 117"/>
              <a:gd name="T9" fmla="*/ 204 h 240"/>
              <a:gd name="T10" fmla="*/ 47 w 117"/>
              <a:gd name="T11" fmla="*/ 205 h 240"/>
              <a:gd name="T12" fmla="*/ 86 w 117"/>
              <a:gd name="T13" fmla="*/ 199 h 240"/>
              <a:gd name="T14" fmla="*/ 92 w 117"/>
              <a:gd name="T15" fmla="*/ 240 h 240"/>
              <a:gd name="T16" fmla="*/ 98 w 117"/>
              <a:gd name="T17" fmla="*/ 228 h 240"/>
              <a:gd name="T18" fmla="*/ 115 w 117"/>
              <a:gd name="T19" fmla="*/ 139 h 240"/>
              <a:gd name="T20" fmla="*/ 68 w 117"/>
              <a:gd name="T21" fmla="*/ 29 h 240"/>
              <a:gd name="T22" fmla="*/ 90 w 117"/>
              <a:gd name="T23" fmla="*/ 0 h 240"/>
              <a:gd name="T24" fmla="*/ 0 w 117"/>
              <a:gd name="T25" fmla="*/ 13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" h="240">
                <a:moveTo>
                  <a:pt x="0" y="13"/>
                </a:moveTo>
                <a:cubicBezTo>
                  <a:pt x="13" y="102"/>
                  <a:pt x="13" y="102"/>
                  <a:pt x="13" y="102"/>
                </a:cubicBezTo>
                <a:cubicBezTo>
                  <a:pt x="34" y="75"/>
                  <a:pt x="34" y="75"/>
                  <a:pt x="34" y="75"/>
                </a:cubicBezTo>
                <a:cubicBezTo>
                  <a:pt x="49" y="95"/>
                  <a:pt x="58" y="118"/>
                  <a:pt x="59" y="143"/>
                </a:cubicBezTo>
                <a:cubicBezTo>
                  <a:pt x="60" y="163"/>
                  <a:pt x="57" y="184"/>
                  <a:pt x="47" y="204"/>
                </a:cubicBezTo>
                <a:cubicBezTo>
                  <a:pt x="47" y="204"/>
                  <a:pt x="47" y="204"/>
                  <a:pt x="47" y="205"/>
                </a:cubicBezTo>
                <a:cubicBezTo>
                  <a:pt x="86" y="199"/>
                  <a:pt x="86" y="199"/>
                  <a:pt x="86" y="199"/>
                </a:cubicBezTo>
                <a:cubicBezTo>
                  <a:pt x="92" y="240"/>
                  <a:pt x="92" y="240"/>
                  <a:pt x="92" y="240"/>
                </a:cubicBezTo>
                <a:cubicBezTo>
                  <a:pt x="94" y="236"/>
                  <a:pt x="96" y="232"/>
                  <a:pt x="98" y="228"/>
                </a:cubicBezTo>
                <a:cubicBezTo>
                  <a:pt x="112" y="199"/>
                  <a:pt x="117" y="168"/>
                  <a:pt x="115" y="139"/>
                </a:cubicBezTo>
                <a:cubicBezTo>
                  <a:pt x="112" y="98"/>
                  <a:pt x="96" y="59"/>
                  <a:pt x="68" y="29"/>
                </a:cubicBezTo>
                <a:cubicBezTo>
                  <a:pt x="90" y="0"/>
                  <a:pt x="90" y="0"/>
                  <a:pt x="90" y="0"/>
                </a:cubicBezTo>
                <a:lnTo>
                  <a:pt x="0" y="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2" name="任意多边形: 形状 201">
            <a:extLst>
              <a:ext uri="{FF2B5EF4-FFF2-40B4-BE49-F238E27FC236}">
                <a16:creationId xmlns:a16="http://schemas.microsoft.com/office/drawing/2014/main" id="{9C0015BD-83F8-42B2-A859-1D18B36BA865}"/>
              </a:ext>
            </a:extLst>
          </p:cNvPr>
          <p:cNvSpPr/>
          <p:nvPr/>
        </p:nvSpPr>
        <p:spPr bwMode="auto">
          <a:xfrm>
            <a:off x="4731402" y="2385139"/>
            <a:ext cx="338576" cy="295217"/>
          </a:xfrm>
          <a:custGeom>
            <a:avLst/>
            <a:gdLst>
              <a:gd name="T0" fmla="*/ 8109 w 8184"/>
              <a:gd name="T1" fmla="*/ 1607 h 7147"/>
              <a:gd name="T2" fmla="*/ 7881 w 8184"/>
              <a:gd name="T3" fmla="*/ 1497 h 7147"/>
              <a:gd name="T4" fmla="*/ 6970 w 8184"/>
              <a:gd name="T5" fmla="*/ 1497 h 7147"/>
              <a:gd name="T6" fmla="*/ 7416 w 8184"/>
              <a:gd name="T7" fmla="*/ 1052 h 7147"/>
              <a:gd name="T8" fmla="*/ 7416 w 8184"/>
              <a:gd name="T9" fmla="*/ 227 h 7147"/>
              <a:gd name="T10" fmla="*/ 6592 w 8184"/>
              <a:gd name="T11" fmla="*/ 227 h 7147"/>
              <a:gd name="T12" fmla="*/ 5322 w 8184"/>
              <a:gd name="T13" fmla="*/ 1497 h 7147"/>
              <a:gd name="T14" fmla="*/ 2862 w 8184"/>
              <a:gd name="T15" fmla="*/ 1497 h 7147"/>
              <a:gd name="T16" fmla="*/ 1592 w 8184"/>
              <a:gd name="T17" fmla="*/ 227 h 7147"/>
              <a:gd name="T18" fmla="*/ 768 w 8184"/>
              <a:gd name="T19" fmla="*/ 227 h 7147"/>
              <a:gd name="T20" fmla="*/ 768 w 8184"/>
              <a:gd name="T21" fmla="*/ 1052 h 7147"/>
              <a:gd name="T22" fmla="*/ 1214 w 8184"/>
              <a:gd name="T23" fmla="*/ 1497 h 7147"/>
              <a:gd name="T24" fmla="*/ 303 w 8184"/>
              <a:gd name="T25" fmla="*/ 1497 h 7147"/>
              <a:gd name="T26" fmla="*/ 75 w 8184"/>
              <a:gd name="T27" fmla="*/ 1607 h 7147"/>
              <a:gd name="T28" fmla="*/ 19 w 8184"/>
              <a:gd name="T29" fmla="*/ 1854 h 7147"/>
              <a:gd name="T30" fmla="*/ 1185 w 8184"/>
              <a:gd name="T31" fmla="*/ 6921 h 7147"/>
              <a:gd name="T32" fmla="*/ 1469 w 8184"/>
              <a:gd name="T33" fmla="*/ 7147 h 7147"/>
              <a:gd name="T34" fmla="*/ 6715 w 8184"/>
              <a:gd name="T35" fmla="*/ 7147 h 7147"/>
              <a:gd name="T36" fmla="*/ 6999 w 8184"/>
              <a:gd name="T37" fmla="*/ 6921 h 7147"/>
              <a:gd name="T38" fmla="*/ 8165 w 8184"/>
              <a:gd name="T39" fmla="*/ 1854 h 7147"/>
              <a:gd name="T40" fmla="*/ 8109 w 8184"/>
              <a:gd name="T41" fmla="*/ 1607 h 7147"/>
              <a:gd name="T42" fmla="*/ 5118 w 8184"/>
              <a:gd name="T43" fmla="*/ 4174 h 7147"/>
              <a:gd name="T44" fmla="*/ 4835 w 8184"/>
              <a:gd name="T45" fmla="*/ 4291 h 7147"/>
              <a:gd name="T46" fmla="*/ 4552 w 8184"/>
              <a:gd name="T47" fmla="*/ 4174 h 7147"/>
              <a:gd name="T48" fmla="*/ 4492 w 8184"/>
              <a:gd name="T49" fmla="*/ 4114 h 7147"/>
              <a:gd name="T50" fmla="*/ 4492 w 8184"/>
              <a:gd name="T51" fmla="*/ 5513 h 7147"/>
              <a:gd name="T52" fmla="*/ 4092 w 8184"/>
              <a:gd name="T53" fmla="*/ 5913 h 7147"/>
              <a:gd name="T54" fmla="*/ 3692 w 8184"/>
              <a:gd name="T55" fmla="*/ 5513 h 7147"/>
              <a:gd name="T56" fmla="*/ 3692 w 8184"/>
              <a:gd name="T57" fmla="*/ 4114 h 7147"/>
              <a:gd name="T58" fmla="*/ 3632 w 8184"/>
              <a:gd name="T59" fmla="*/ 4174 h 7147"/>
              <a:gd name="T60" fmla="*/ 3066 w 8184"/>
              <a:gd name="T61" fmla="*/ 4174 h 7147"/>
              <a:gd name="T62" fmla="*/ 3066 w 8184"/>
              <a:gd name="T63" fmla="*/ 3608 h 7147"/>
              <a:gd name="T64" fmla="*/ 3809 w 8184"/>
              <a:gd name="T65" fmla="*/ 2865 h 7147"/>
              <a:gd name="T66" fmla="*/ 4375 w 8184"/>
              <a:gd name="T67" fmla="*/ 2865 h 7147"/>
              <a:gd name="T68" fmla="*/ 5118 w 8184"/>
              <a:gd name="T69" fmla="*/ 3608 h 7147"/>
              <a:gd name="T70" fmla="*/ 5118 w 8184"/>
              <a:gd name="T71" fmla="*/ 4174 h 7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184" h="7147">
                <a:moveTo>
                  <a:pt x="8109" y="1607"/>
                </a:moveTo>
                <a:cubicBezTo>
                  <a:pt x="8053" y="1538"/>
                  <a:pt x="7969" y="1497"/>
                  <a:pt x="7881" y="1497"/>
                </a:cubicBezTo>
                <a:lnTo>
                  <a:pt x="6970" y="1497"/>
                </a:lnTo>
                <a:lnTo>
                  <a:pt x="7416" y="1052"/>
                </a:lnTo>
                <a:cubicBezTo>
                  <a:pt x="7644" y="824"/>
                  <a:pt x="7644" y="455"/>
                  <a:pt x="7416" y="227"/>
                </a:cubicBezTo>
                <a:cubicBezTo>
                  <a:pt x="7188" y="0"/>
                  <a:pt x="6819" y="0"/>
                  <a:pt x="6592" y="227"/>
                </a:cubicBezTo>
                <a:lnTo>
                  <a:pt x="5322" y="1497"/>
                </a:lnTo>
                <a:lnTo>
                  <a:pt x="2862" y="1497"/>
                </a:lnTo>
                <a:lnTo>
                  <a:pt x="1592" y="227"/>
                </a:lnTo>
                <a:cubicBezTo>
                  <a:pt x="1365" y="0"/>
                  <a:pt x="996" y="0"/>
                  <a:pt x="768" y="227"/>
                </a:cubicBezTo>
                <a:cubicBezTo>
                  <a:pt x="540" y="455"/>
                  <a:pt x="540" y="824"/>
                  <a:pt x="768" y="1052"/>
                </a:cubicBezTo>
                <a:lnTo>
                  <a:pt x="1214" y="1497"/>
                </a:lnTo>
                <a:lnTo>
                  <a:pt x="303" y="1497"/>
                </a:lnTo>
                <a:cubicBezTo>
                  <a:pt x="215" y="1497"/>
                  <a:pt x="131" y="1538"/>
                  <a:pt x="75" y="1607"/>
                </a:cubicBezTo>
                <a:cubicBezTo>
                  <a:pt x="20" y="1676"/>
                  <a:pt x="0" y="1767"/>
                  <a:pt x="19" y="1854"/>
                </a:cubicBezTo>
                <a:lnTo>
                  <a:pt x="1185" y="6921"/>
                </a:lnTo>
                <a:cubicBezTo>
                  <a:pt x="1215" y="7054"/>
                  <a:pt x="1333" y="7147"/>
                  <a:pt x="1469" y="7147"/>
                </a:cubicBezTo>
                <a:lnTo>
                  <a:pt x="6715" y="7147"/>
                </a:lnTo>
                <a:cubicBezTo>
                  <a:pt x="6851" y="7147"/>
                  <a:pt x="6968" y="7054"/>
                  <a:pt x="6999" y="6921"/>
                </a:cubicBezTo>
                <a:lnTo>
                  <a:pt x="8165" y="1854"/>
                </a:lnTo>
                <a:cubicBezTo>
                  <a:pt x="8184" y="1767"/>
                  <a:pt x="8164" y="1677"/>
                  <a:pt x="8109" y="1607"/>
                </a:cubicBezTo>
                <a:close/>
                <a:moveTo>
                  <a:pt x="5118" y="4174"/>
                </a:moveTo>
                <a:cubicBezTo>
                  <a:pt x="5040" y="4252"/>
                  <a:pt x="4937" y="4291"/>
                  <a:pt x="4835" y="4291"/>
                </a:cubicBezTo>
                <a:cubicBezTo>
                  <a:pt x="4733" y="4291"/>
                  <a:pt x="4630" y="4252"/>
                  <a:pt x="4552" y="4174"/>
                </a:cubicBezTo>
                <a:lnTo>
                  <a:pt x="4492" y="4114"/>
                </a:lnTo>
                <a:lnTo>
                  <a:pt x="4492" y="5513"/>
                </a:lnTo>
                <a:cubicBezTo>
                  <a:pt x="4492" y="5734"/>
                  <a:pt x="4313" y="5913"/>
                  <a:pt x="4092" y="5913"/>
                </a:cubicBezTo>
                <a:cubicBezTo>
                  <a:pt x="3871" y="5913"/>
                  <a:pt x="3692" y="5734"/>
                  <a:pt x="3692" y="5513"/>
                </a:cubicBezTo>
                <a:lnTo>
                  <a:pt x="3692" y="4114"/>
                </a:lnTo>
                <a:lnTo>
                  <a:pt x="3632" y="4174"/>
                </a:lnTo>
                <a:cubicBezTo>
                  <a:pt x="3475" y="4330"/>
                  <a:pt x="3222" y="4330"/>
                  <a:pt x="3066" y="4174"/>
                </a:cubicBezTo>
                <a:cubicBezTo>
                  <a:pt x="2910" y="4018"/>
                  <a:pt x="2910" y="3764"/>
                  <a:pt x="3066" y="3608"/>
                </a:cubicBezTo>
                <a:lnTo>
                  <a:pt x="3809" y="2865"/>
                </a:lnTo>
                <a:cubicBezTo>
                  <a:pt x="3965" y="2709"/>
                  <a:pt x="4219" y="2709"/>
                  <a:pt x="4375" y="2865"/>
                </a:cubicBezTo>
                <a:lnTo>
                  <a:pt x="5118" y="3608"/>
                </a:lnTo>
                <a:cubicBezTo>
                  <a:pt x="5274" y="3765"/>
                  <a:pt x="5274" y="4018"/>
                  <a:pt x="5118" y="41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3" name="任意多边形: 形状 202">
            <a:extLst>
              <a:ext uri="{FF2B5EF4-FFF2-40B4-BE49-F238E27FC236}">
                <a16:creationId xmlns:a16="http://schemas.microsoft.com/office/drawing/2014/main" id="{9B9EF497-603F-4ABC-BA24-49C39E182160}"/>
              </a:ext>
            </a:extLst>
          </p:cNvPr>
          <p:cNvSpPr/>
          <p:nvPr/>
        </p:nvSpPr>
        <p:spPr bwMode="auto">
          <a:xfrm>
            <a:off x="4909909" y="4576310"/>
            <a:ext cx="310745" cy="338576"/>
          </a:xfrm>
          <a:custGeom>
            <a:avLst/>
            <a:gdLst>
              <a:gd name="connsiteX0" fmla="*/ 176272 w 556267"/>
              <a:gd name="connsiteY0" fmla="*/ 555492 h 606087"/>
              <a:gd name="connsiteX1" fmla="*/ 380065 w 556267"/>
              <a:gd name="connsiteY1" fmla="*/ 555492 h 606087"/>
              <a:gd name="connsiteX2" fmla="*/ 379295 w 556267"/>
              <a:gd name="connsiteY2" fmla="*/ 574730 h 606087"/>
              <a:gd name="connsiteX3" fmla="*/ 379295 w 556267"/>
              <a:gd name="connsiteY3" fmla="*/ 606087 h 606087"/>
              <a:gd name="connsiteX4" fmla="*/ 177043 w 556267"/>
              <a:gd name="connsiteY4" fmla="*/ 606087 h 606087"/>
              <a:gd name="connsiteX5" fmla="*/ 177043 w 556267"/>
              <a:gd name="connsiteY5" fmla="*/ 580116 h 606087"/>
              <a:gd name="connsiteX6" fmla="*/ 176272 w 556267"/>
              <a:gd name="connsiteY6" fmla="*/ 555492 h 606087"/>
              <a:gd name="connsiteX7" fmla="*/ 170486 w 556267"/>
              <a:gd name="connsiteY7" fmla="*/ 504967 h 606087"/>
              <a:gd name="connsiteX8" fmla="*/ 386134 w 556267"/>
              <a:gd name="connsiteY8" fmla="*/ 504967 h 606087"/>
              <a:gd name="connsiteX9" fmla="*/ 382185 w 556267"/>
              <a:gd name="connsiteY9" fmla="*/ 530300 h 606087"/>
              <a:gd name="connsiteX10" fmla="*/ 174050 w 556267"/>
              <a:gd name="connsiteY10" fmla="*/ 530300 h 606087"/>
              <a:gd name="connsiteX11" fmla="*/ 170486 w 556267"/>
              <a:gd name="connsiteY11" fmla="*/ 504967 h 606087"/>
              <a:gd name="connsiteX12" fmla="*/ 481527 w 556267"/>
              <a:gd name="connsiteY12" fmla="*/ 380419 h 606087"/>
              <a:gd name="connsiteX13" fmla="*/ 525359 w 556267"/>
              <a:gd name="connsiteY13" fmla="*/ 405623 h 606087"/>
              <a:gd name="connsiteX14" fmla="*/ 512643 w 556267"/>
              <a:gd name="connsiteY14" fmla="*/ 427557 h 606087"/>
              <a:gd name="connsiteX15" fmla="*/ 468907 w 556267"/>
              <a:gd name="connsiteY15" fmla="*/ 402256 h 606087"/>
              <a:gd name="connsiteX16" fmla="*/ 74740 w 556267"/>
              <a:gd name="connsiteY16" fmla="*/ 380419 h 606087"/>
              <a:gd name="connsiteX17" fmla="*/ 87360 w 556267"/>
              <a:gd name="connsiteY17" fmla="*/ 402353 h 606087"/>
              <a:gd name="connsiteX18" fmla="*/ 43528 w 556267"/>
              <a:gd name="connsiteY18" fmla="*/ 427557 h 606087"/>
              <a:gd name="connsiteX19" fmla="*/ 30908 w 556267"/>
              <a:gd name="connsiteY19" fmla="*/ 405720 h 606087"/>
              <a:gd name="connsiteX20" fmla="*/ 505742 w 556267"/>
              <a:gd name="connsiteY20" fmla="*/ 265115 h 606087"/>
              <a:gd name="connsiteX21" fmla="*/ 556267 w 556267"/>
              <a:gd name="connsiteY21" fmla="*/ 265115 h 606087"/>
              <a:gd name="connsiteX22" fmla="*/ 556267 w 556267"/>
              <a:gd name="connsiteY22" fmla="*/ 290448 h 606087"/>
              <a:gd name="connsiteX23" fmla="*/ 505742 w 556267"/>
              <a:gd name="connsiteY23" fmla="*/ 290448 h 606087"/>
              <a:gd name="connsiteX24" fmla="*/ 0 w 556267"/>
              <a:gd name="connsiteY24" fmla="*/ 265115 h 606087"/>
              <a:gd name="connsiteX25" fmla="*/ 50525 w 556267"/>
              <a:gd name="connsiteY25" fmla="*/ 265115 h 606087"/>
              <a:gd name="connsiteX26" fmla="*/ 50525 w 556267"/>
              <a:gd name="connsiteY26" fmla="*/ 290448 h 606087"/>
              <a:gd name="connsiteX27" fmla="*/ 0 w 556267"/>
              <a:gd name="connsiteY27" fmla="*/ 290448 h 606087"/>
              <a:gd name="connsiteX28" fmla="*/ 512739 w 556267"/>
              <a:gd name="connsiteY28" fmla="*/ 128006 h 606087"/>
              <a:gd name="connsiteX29" fmla="*/ 525359 w 556267"/>
              <a:gd name="connsiteY29" fmla="*/ 149823 h 606087"/>
              <a:gd name="connsiteX30" fmla="*/ 481527 w 556267"/>
              <a:gd name="connsiteY30" fmla="*/ 175003 h 606087"/>
              <a:gd name="connsiteX31" fmla="*/ 468907 w 556267"/>
              <a:gd name="connsiteY31" fmla="*/ 153186 h 606087"/>
              <a:gd name="connsiteX32" fmla="*/ 43528 w 556267"/>
              <a:gd name="connsiteY32" fmla="*/ 127935 h 606087"/>
              <a:gd name="connsiteX33" fmla="*/ 87360 w 556267"/>
              <a:gd name="connsiteY33" fmla="*/ 153197 h 606087"/>
              <a:gd name="connsiteX34" fmla="*/ 74740 w 556267"/>
              <a:gd name="connsiteY34" fmla="*/ 175002 h 606087"/>
              <a:gd name="connsiteX35" fmla="*/ 30908 w 556267"/>
              <a:gd name="connsiteY35" fmla="*/ 149836 h 606087"/>
              <a:gd name="connsiteX36" fmla="*/ 297059 w 556267"/>
              <a:gd name="connsiteY36" fmla="*/ 76575 h 606087"/>
              <a:gd name="connsiteX37" fmla="*/ 404602 w 556267"/>
              <a:gd name="connsiteY37" fmla="*/ 124032 h 606087"/>
              <a:gd name="connsiteX38" fmla="*/ 467778 w 556267"/>
              <a:gd name="connsiteY38" fmla="*/ 265117 h 606087"/>
              <a:gd name="connsiteX39" fmla="*/ 441583 w 556267"/>
              <a:gd name="connsiteY39" fmla="*/ 361098 h 606087"/>
              <a:gd name="connsiteX40" fmla="*/ 391794 w 556267"/>
              <a:gd name="connsiteY40" fmla="*/ 479775 h 606087"/>
              <a:gd name="connsiteX41" fmla="*/ 165285 w 556267"/>
              <a:gd name="connsiteY41" fmla="*/ 479775 h 606087"/>
              <a:gd name="connsiteX42" fmla="*/ 118192 w 556267"/>
              <a:gd name="connsiteY42" fmla="*/ 366676 h 606087"/>
              <a:gd name="connsiteX43" fmla="*/ 89879 w 556267"/>
              <a:gd name="connsiteY43" fmla="*/ 242420 h 606087"/>
              <a:gd name="connsiteX44" fmla="*/ 256582 w 556267"/>
              <a:gd name="connsiteY44" fmla="*/ 76907 h 606087"/>
              <a:gd name="connsiteX45" fmla="*/ 297059 w 556267"/>
              <a:gd name="connsiteY45" fmla="*/ 76575 h 606087"/>
              <a:gd name="connsiteX46" fmla="*/ 150042 w 556267"/>
              <a:gd name="connsiteY46" fmla="*/ 30978 h 606087"/>
              <a:gd name="connsiteX47" fmla="*/ 175284 w 556267"/>
              <a:gd name="connsiteY47" fmla="*/ 74605 h 606087"/>
              <a:gd name="connsiteX48" fmla="*/ 153414 w 556267"/>
              <a:gd name="connsiteY48" fmla="*/ 87289 h 606087"/>
              <a:gd name="connsiteX49" fmla="*/ 128076 w 556267"/>
              <a:gd name="connsiteY49" fmla="*/ 43566 h 606087"/>
              <a:gd name="connsiteX50" fmla="*/ 406225 w 556267"/>
              <a:gd name="connsiteY50" fmla="*/ 30837 h 606087"/>
              <a:gd name="connsiteX51" fmla="*/ 428191 w 556267"/>
              <a:gd name="connsiteY51" fmla="*/ 43441 h 606087"/>
              <a:gd name="connsiteX52" fmla="*/ 402853 w 556267"/>
              <a:gd name="connsiteY52" fmla="*/ 87219 h 606087"/>
              <a:gd name="connsiteX53" fmla="*/ 380983 w 556267"/>
              <a:gd name="connsiteY53" fmla="*/ 74615 h 606087"/>
              <a:gd name="connsiteX54" fmla="*/ 265538 w 556267"/>
              <a:gd name="connsiteY54" fmla="*/ 0 h 606087"/>
              <a:gd name="connsiteX55" fmla="*/ 290730 w 556267"/>
              <a:gd name="connsiteY55" fmla="*/ 0 h 606087"/>
              <a:gd name="connsiteX56" fmla="*/ 290730 w 556267"/>
              <a:gd name="connsiteY56" fmla="*/ 50525 h 606087"/>
              <a:gd name="connsiteX57" fmla="*/ 265538 w 556267"/>
              <a:gd name="connsiteY57" fmla="*/ 50525 h 6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556267" h="606087">
                <a:moveTo>
                  <a:pt x="176272" y="555492"/>
                </a:moveTo>
                <a:lnTo>
                  <a:pt x="380065" y="555492"/>
                </a:lnTo>
                <a:cubicBezTo>
                  <a:pt x="379680" y="561937"/>
                  <a:pt x="379295" y="568381"/>
                  <a:pt x="379295" y="574730"/>
                </a:cubicBezTo>
                <a:lnTo>
                  <a:pt x="379295" y="606087"/>
                </a:lnTo>
                <a:lnTo>
                  <a:pt x="177043" y="606087"/>
                </a:lnTo>
                <a:lnTo>
                  <a:pt x="177043" y="580116"/>
                </a:lnTo>
                <a:cubicBezTo>
                  <a:pt x="177043" y="571844"/>
                  <a:pt x="176657" y="563668"/>
                  <a:pt x="176272" y="555492"/>
                </a:cubicBezTo>
                <a:close/>
                <a:moveTo>
                  <a:pt x="170486" y="504967"/>
                </a:moveTo>
                <a:lnTo>
                  <a:pt x="386134" y="504967"/>
                </a:lnTo>
                <a:cubicBezTo>
                  <a:pt x="384593" y="513443"/>
                  <a:pt x="383245" y="521824"/>
                  <a:pt x="382185" y="530300"/>
                </a:cubicBezTo>
                <a:lnTo>
                  <a:pt x="174050" y="530300"/>
                </a:lnTo>
                <a:cubicBezTo>
                  <a:pt x="173087" y="521727"/>
                  <a:pt x="171931" y="513347"/>
                  <a:pt x="170486" y="504967"/>
                </a:cubicBezTo>
                <a:close/>
                <a:moveTo>
                  <a:pt x="481527" y="380419"/>
                </a:moveTo>
                <a:lnTo>
                  <a:pt x="525359" y="405623"/>
                </a:lnTo>
                <a:lnTo>
                  <a:pt x="512643" y="427557"/>
                </a:lnTo>
                <a:lnTo>
                  <a:pt x="468907" y="402256"/>
                </a:lnTo>
                <a:close/>
                <a:moveTo>
                  <a:pt x="74740" y="380419"/>
                </a:moveTo>
                <a:lnTo>
                  <a:pt x="87360" y="402353"/>
                </a:lnTo>
                <a:lnTo>
                  <a:pt x="43528" y="427557"/>
                </a:lnTo>
                <a:lnTo>
                  <a:pt x="30908" y="405720"/>
                </a:lnTo>
                <a:close/>
                <a:moveTo>
                  <a:pt x="505742" y="265115"/>
                </a:moveTo>
                <a:lnTo>
                  <a:pt x="556267" y="265115"/>
                </a:lnTo>
                <a:lnTo>
                  <a:pt x="556267" y="290448"/>
                </a:lnTo>
                <a:lnTo>
                  <a:pt x="505742" y="290448"/>
                </a:lnTo>
                <a:close/>
                <a:moveTo>
                  <a:pt x="0" y="265115"/>
                </a:moveTo>
                <a:lnTo>
                  <a:pt x="50525" y="265115"/>
                </a:lnTo>
                <a:lnTo>
                  <a:pt x="50525" y="290448"/>
                </a:lnTo>
                <a:lnTo>
                  <a:pt x="0" y="290448"/>
                </a:lnTo>
                <a:close/>
                <a:moveTo>
                  <a:pt x="512739" y="128006"/>
                </a:moveTo>
                <a:lnTo>
                  <a:pt x="525359" y="149823"/>
                </a:lnTo>
                <a:lnTo>
                  <a:pt x="481527" y="175003"/>
                </a:lnTo>
                <a:lnTo>
                  <a:pt x="468907" y="153186"/>
                </a:lnTo>
                <a:close/>
                <a:moveTo>
                  <a:pt x="43528" y="127935"/>
                </a:moveTo>
                <a:lnTo>
                  <a:pt x="87360" y="153197"/>
                </a:lnTo>
                <a:lnTo>
                  <a:pt x="74740" y="175002"/>
                </a:lnTo>
                <a:lnTo>
                  <a:pt x="30908" y="149836"/>
                </a:lnTo>
                <a:close/>
                <a:moveTo>
                  <a:pt x="297059" y="76575"/>
                </a:moveTo>
                <a:cubicBezTo>
                  <a:pt x="336834" y="80411"/>
                  <a:pt x="374049" y="96623"/>
                  <a:pt x="404602" y="124032"/>
                </a:cubicBezTo>
                <a:cubicBezTo>
                  <a:pt x="444761" y="159808"/>
                  <a:pt x="467778" y="211357"/>
                  <a:pt x="467778" y="265117"/>
                </a:cubicBezTo>
                <a:cubicBezTo>
                  <a:pt x="467778" y="298874"/>
                  <a:pt x="458726" y="332053"/>
                  <a:pt x="441583" y="361098"/>
                </a:cubicBezTo>
                <a:cubicBezTo>
                  <a:pt x="418567" y="400144"/>
                  <a:pt x="402002" y="439767"/>
                  <a:pt x="391794" y="479775"/>
                </a:cubicBezTo>
                <a:lnTo>
                  <a:pt x="165285" y="479775"/>
                </a:lnTo>
                <a:cubicBezTo>
                  <a:pt x="155462" y="438709"/>
                  <a:pt x="139861" y="400529"/>
                  <a:pt x="118192" y="366676"/>
                </a:cubicBezTo>
                <a:cubicBezTo>
                  <a:pt x="94405" y="329649"/>
                  <a:pt x="84678" y="286660"/>
                  <a:pt x="89879" y="242420"/>
                </a:cubicBezTo>
                <a:cubicBezTo>
                  <a:pt x="99894" y="156057"/>
                  <a:pt x="170100" y="86524"/>
                  <a:pt x="256582" y="76907"/>
                </a:cubicBezTo>
                <a:cubicBezTo>
                  <a:pt x="270258" y="75392"/>
                  <a:pt x="283800" y="75296"/>
                  <a:pt x="297059" y="76575"/>
                </a:cubicBezTo>
                <a:close/>
                <a:moveTo>
                  <a:pt x="150042" y="30978"/>
                </a:moveTo>
                <a:lnTo>
                  <a:pt x="175284" y="74605"/>
                </a:lnTo>
                <a:lnTo>
                  <a:pt x="153414" y="87289"/>
                </a:lnTo>
                <a:lnTo>
                  <a:pt x="128076" y="43566"/>
                </a:lnTo>
                <a:close/>
                <a:moveTo>
                  <a:pt x="406225" y="30837"/>
                </a:moveTo>
                <a:lnTo>
                  <a:pt x="428191" y="43441"/>
                </a:lnTo>
                <a:lnTo>
                  <a:pt x="402853" y="87219"/>
                </a:lnTo>
                <a:lnTo>
                  <a:pt x="380983" y="74615"/>
                </a:lnTo>
                <a:close/>
                <a:moveTo>
                  <a:pt x="265538" y="0"/>
                </a:moveTo>
                <a:lnTo>
                  <a:pt x="290730" y="0"/>
                </a:lnTo>
                <a:lnTo>
                  <a:pt x="290730" y="50525"/>
                </a:lnTo>
                <a:lnTo>
                  <a:pt x="265538" y="5052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4" name="任意多边形: 形状 203">
            <a:extLst>
              <a:ext uri="{FF2B5EF4-FFF2-40B4-BE49-F238E27FC236}">
                <a16:creationId xmlns:a16="http://schemas.microsoft.com/office/drawing/2014/main" id="{F7A6D75C-A1F9-4367-93AB-D4C02FC68E6A}"/>
              </a:ext>
            </a:extLst>
          </p:cNvPr>
          <p:cNvSpPr/>
          <p:nvPr/>
        </p:nvSpPr>
        <p:spPr bwMode="auto">
          <a:xfrm>
            <a:off x="7083585" y="4411718"/>
            <a:ext cx="261070" cy="338576"/>
          </a:xfrm>
          <a:custGeom>
            <a:avLst/>
            <a:gdLst>
              <a:gd name="connsiteX0" fmla="*/ 413527 w 468321"/>
              <a:gd name="connsiteY0" fmla="*/ 385995 h 607354"/>
              <a:gd name="connsiteX1" fmla="*/ 468321 w 468321"/>
              <a:gd name="connsiteY1" fmla="*/ 440719 h 607354"/>
              <a:gd name="connsiteX2" fmla="*/ 413527 w 468321"/>
              <a:gd name="connsiteY2" fmla="*/ 495443 h 607354"/>
              <a:gd name="connsiteX3" fmla="*/ 358733 w 468321"/>
              <a:gd name="connsiteY3" fmla="*/ 440719 h 607354"/>
              <a:gd name="connsiteX4" fmla="*/ 413527 w 468321"/>
              <a:gd name="connsiteY4" fmla="*/ 385995 h 607354"/>
              <a:gd name="connsiteX5" fmla="*/ 182327 w 468321"/>
              <a:gd name="connsiteY5" fmla="*/ 126800 h 607354"/>
              <a:gd name="connsiteX6" fmla="*/ 211636 w 468321"/>
              <a:gd name="connsiteY6" fmla="*/ 133670 h 607354"/>
              <a:gd name="connsiteX7" fmla="*/ 425749 w 468321"/>
              <a:gd name="connsiteY7" fmla="*/ 276539 h 607354"/>
              <a:gd name="connsiteX8" fmla="*/ 434001 w 468321"/>
              <a:gd name="connsiteY8" fmla="*/ 318786 h 607354"/>
              <a:gd name="connsiteX9" fmla="*/ 391775 w 468321"/>
              <a:gd name="connsiteY9" fmla="*/ 327026 h 607354"/>
              <a:gd name="connsiteX10" fmla="*/ 247541 w 468321"/>
              <a:gd name="connsiteY10" fmla="*/ 230348 h 607354"/>
              <a:gd name="connsiteX11" fmla="*/ 155189 w 468321"/>
              <a:gd name="connsiteY11" fmla="*/ 325097 h 607354"/>
              <a:gd name="connsiteX12" fmla="*/ 260534 w 468321"/>
              <a:gd name="connsiteY12" fmla="*/ 368572 h 607354"/>
              <a:gd name="connsiteX13" fmla="*/ 283710 w 468321"/>
              <a:gd name="connsiteY13" fmla="*/ 395831 h 607354"/>
              <a:gd name="connsiteX14" fmla="*/ 322073 w 468321"/>
              <a:gd name="connsiteY14" fmla="*/ 559561 h 607354"/>
              <a:gd name="connsiteX15" fmla="*/ 292752 w 468321"/>
              <a:gd name="connsiteY15" fmla="*/ 606366 h 607354"/>
              <a:gd name="connsiteX16" fmla="*/ 246137 w 468321"/>
              <a:gd name="connsiteY16" fmla="*/ 577880 h 607354"/>
              <a:gd name="connsiteX17" fmla="*/ 212339 w 468321"/>
              <a:gd name="connsiteY17" fmla="*/ 433082 h 607354"/>
              <a:gd name="connsiteX18" fmla="*/ 154224 w 468321"/>
              <a:gd name="connsiteY18" fmla="*/ 409241 h 607354"/>
              <a:gd name="connsiteX19" fmla="*/ 158086 w 468321"/>
              <a:gd name="connsiteY19" fmla="*/ 416691 h 607354"/>
              <a:gd name="connsiteX20" fmla="*/ 159403 w 468321"/>
              <a:gd name="connsiteY20" fmla="*/ 423966 h 607354"/>
              <a:gd name="connsiteX21" fmla="*/ 160105 w 468321"/>
              <a:gd name="connsiteY21" fmla="*/ 431417 h 607354"/>
              <a:gd name="connsiteX22" fmla="*/ 158262 w 468321"/>
              <a:gd name="connsiteY22" fmla="*/ 439568 h 607354"/>
              <a:gd name="connsiteX23" fmla="*/ 156945 w 468321"/>
              <a:gd name="connsiteY23" fmla="*/ 445265 h 607354"/>
              <a:gd name="connsiteX24" fmla="*/ 95670 w 468321"/>
              <a:gd name="connsiteY24" fmla="*/ 580159 h 607354"/>
              <a:gd name="connsiteX25" fmla="*/ 44314 w 468321"/>
              <a:gd name="connsiteY25" fmla="*/ 599617 h 607354"/>
              <a:gd name="connsiteX26" fmla="*/ 24650 w 468321"/>
              <a:gd name="connsiteY26" fmla="*/ 548079 h 607354"/>
              <a:gd name="connsiteX27" fmla="*/ 75830 w 468321"/>
              <a:gd name="connsiteY27" fmla="*/ 435098 h 607354"/>
              <a:gd name="connsiteX28" fmla="*/ 22631 w 468321"/>
              <a:gd name="connsiteY28" fmla="*/ 370500 h 607354"/>
              <a:gd name="connsiteX29" fmla="*/ 19734 w 468321"/>
              <a:gd name="connsiteY29" fmla="*/ 368309 h 607354"/>
              <a:gd name="connsiteX30" fmla="*/ 9375 w 468321"/>
              <a:gd name="connsiteY30" fmla="*/ 354372 h 607354"/>
              <a:gd name="connsiteX31" fmla="*/ 5074 w 468321"/>
              <a:gd name="connsiteY31" fmla="*/ 346572 h 607354"/>
              <a:gd name="connsiteX32" fmla="*/ 1299 w 468321"/>
              <a:gd name="connsiteY32" fmla="*/ 334476 h 607354"/>
              <a:gd name="connsiteX33" fmla="*/ 19120 w 468321"/>
              <a:gd name="connsiteY33" fmla="*/ 274786 h 607354"/>
              <a:gd name="connsiteX34" fmla="*/ 154926 w 468321"/>
              <a:gd name="connsiteY34" fmla="*/ 139192 h 607354"/>
              <a:gd name="connsiteX35" fmla="*/ 182327 w 468321"/>
              <a:gd name="connsiteY35" fmla="*/ 126800 h 607354"/>
              <a:gd name="connsiteX36" fmla="*/ 240813 w 468321"/>
              <a:gd name="connsiteY36" fmla="*/ 96 h 607354"/>
              <a:gd name="connsiteX37" fmla="*/ 296162 w 468321"/>
              <a:gd name="connsiteY37" fmla="*/ 41292 h 607354"/>
              <a:gd name="connsiteX38" fmla="*/ 258330 w 468321"/>
              <a:gd name="connsiteY38" fmla="*/ 120796 h 607354"/>
              <a:gd name="connsiteX39" fmla="*/ 178629 w 468321"/>
              <a:gd name="connsiteY39" fmla="*/ 83454 h 607354"/>
              <a:gd name="connsiteX40" fmla="*/ 216285 w 468321"/>
              <a:gd name="connsiteY40" fmla="*/ 3687 h 607354"/>
              <a:gd name="connsiteX41" fmla="*/ 240813 w 468321"/>
              <a:gd name="connsiteY41" fmla="*/ 96 h 607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68321" h="607354">
                <a:moveTo>
                  <a:pt x="413527" y="385995"/>
                </a:moveTo>
                <a:cubicBezTo>
                  <a:pt x="443789" y="385995"/>
                  <a:pt x="468321" y="410496"/>
                  <a:pt x="468321" y="440719"/>
                </a:cubicBezTo>
                <a:cubicBezTo>
                  <a:pt x="468321" y="470942"/>
                  <a:pt x="443789" y="495443"/>
                  <a:pt x="413527" y="495443"/>
                </a:cubicBezTo>
                <a:cubicBezTo>
                  <a:pt x="383265" y="495443"/>
                  <a:pt x="358733" y="470942"/>
                  <a:pt x="358733" y="440719"/>
                </a:cubicBezTo>
                <a:cubicBezTo>
                  <a:pt x="358733" y="410496"/>
                  <a:pt x="383265" y="385995"/>
                  <a:pt x="413527" y="385995"/>
                </a:cubicBezTo>
                <a:close/>
                <a:moveTo>
                  <a:pt x="182327" y="126800"/>
                </a:moveTo>
                <a:cubicBezTo>
                  <a:pt x="192587" y="125803"/>
                  <a:pt x="203165" y="128017"/>
                  <a:pt x="211636" y="133670"/>
                </a:cubicBezTo>
                <a:lnTo>
                  <a:pt x="425749" y="276539"/>
                </a:lnTo>
                <a:cubicBezTo>
                  <a:pt x="439619" y="285830"/>
                  <a:pt x="443482" y="304675"/>
                  <a:pt x="434001" y="318786"/>
                </a:cubicBezTo>
                <a:cubicBezTo>
                  <a:pt x="424520" y="332898"/>
                  <a:pt x="405646" y="336579"/>
                  <a:pt x="391775" y="327026"/>
                </a:cubicBezTo>
                <a:lnTo>
                  <a:pt x="247541" y="230348"/>
                </a:lnTo>
                <a:lnTo>
                  <a:pt x="155189" y="325097"/>
                </a:lnTo>
                <a:lnTo>
                  <a:pt x="260534" y="368572"/>
                </a:lnTo>
                <a:cubicBezTo>
                  <a:pt x="272473" y="373392"/>
                  <a:pt x="280813" y="383472"/>
                  <a:pt x="283710" y="395831"/>
                </a:cubicBezTo>
                <a:lnTo>
                  <a:pt x="322073" y="559561"/>
                </a:lnTo>
                <a:cubicBezTo>
                  <a:pt x="326813" y="580509"/>
                  <a:pt x="313645" y="601195"/>
                  <a:pt x="292752" y="606366"/>
                </a:cubicBezTo>
                <a:cubicBezTo>
                  <a:pt x="271771" y="611099"/>
                  <a:pt x="251316" y="598390"/>
                  <a:pt x="246137" y="577880"/>
                </a:cubicBezTo>
                <a:cubicBezTo>
                  <a:pt x="246137" y="577617"/>
                  <a:pt x="219450" y="463146"/>
                  <a:pt x="212339" y="433082"/>
                </a:cubicBezTo>
                <a:cubicBezTo>
                  <a:pt x="201278" y="428524"/>
                  <a:pt x="178365" y="418883"/>
                  <a:pt x="154224" y="409241"/>
                </a:cubicBezTo>
                <a:cubicBezTo>
                  <a:pt x="155541" y="411783"/>
                  <a:pt x="157209" y="414062"/>
                  <a:pt x="158086" y="416691"/>
                </a:cubicBezTo>
                <a:cubicBezTo>
                  <a:pt x="158964" y="418970"/>
                  <a:pt x="159052" y="421512"/>
                  <a:pt x="159403" y="423966"/>
                </a:cubicBezTo>
                <a:cubicBezTo>
                  <a:pt x="159754" y="426421"/>
                  <a:pt x="160193" y="428875"/>
                  <a:pt x="160105" y="431417"/>
                </a:cubicBezTo>
                <a:cubicBezTo>
                  <a:pt x="160018" y="434221"/>
                  <a:pt x="159140" y="436763"/>
                  <a:pt x="158262" y="439568"/>
                </a:cubicBezTo>
                <a:cubicBezTo>
                  <a:pt x="157735" y="441409"/>
                  <a:pt x="157823" y="443249"/>
                  <a:pt x="156945" y="445265"/>
                </a:cubicBezTo>
                <a:lnTo>
                  <a:pt x="95670" y="580159"/>
                </a:lnTo>
                <a:cubicBezTo>
                  <a:pt x="86979" y="599792"/>
                  <a:pt x="63803" y="608470"/>
                  <a:pt x="44314" y="599617"/>
                </a:cubicBezTo>
                <a:cubicBezTo>
                  <a:pt x="24475" y="590677"/>
                  <a:pt x="15784" y="567712"/>
                  <a:pt x="24650" y="548079"/>
                </a:cubicBezTo>
                <a:lnTo>
                  <a:pt x="75830" y="435098"/>
                </a:lnTo>
                <a:lnTo>
                  <a:pt x="22631" y="370500"/>
                </a:lnTo>
                <a:cubicBezTo>
                  <a:pt x="21578" y="369623"/>
                  <a:pt x="20700" y="369098"/>
                  <a:pt x="19734" y="368309"/>
                </a:cubicBezTo>
                <a:cubicBezTo>
                  <a:pt x="15696" y="364189"/>
                  <a:pt x="12184" y="359544"/>
                  <a:pt x="9375" y="354372"/>
                </a:cubicBezTo>
                <a:cubicBezTo>
                  <a:pt x="7619" y="352356"/>
                  <a:pt x="6654" y="349727"/>
                  <a:pt x="5074" y="346572"/>
                </a:cubicBezTo>
                <a:cubicBezTo>
                  <a:pt x="3142" y="342803"/>
                  <a:pt x="1825" y="338683"/>
                  <a:pt x="1299" y="334476"/>
                </a:cubicBezTo>
                <a:cubicBezTo>
                  <a:pt x="-2915" y="313703"/>
                  <a:pt x="3142" y="291089"/>
                  <a:pt x="19120" y="274786"/>
                </a:cubicBezTo>
                <a:lnTo>
                  <a:pt x="154926" y="139192"/>
                </a:lnTo>
                <a:cubicBezTo>
                  <a:pt x="162125" y="132005"/>
                  <a:pt x="172067" y="127797"/>
                  <a:pt x="182327" y="126800"/>
                </a:cubicBezTo>
                <a:close/>
                <a:moveTo>
                  <a:pt x="240813" y="96"/>
                </a:moveTo>
                <a:cubicBezTo>
                  <a:pt x="265089" y="1452"/>
                  <a:pt x="287340" y="17033"/>
                  <a:pt x="296162" y="41292"/>
                </a:cubicBezTo>
                <a:cubicBezTo>
                  <a:pt x="307573" y="73461"/>
                  <a:pt x="290895" y="109225"/>
                  <a:pt x="258330" y="120796"/>
                </a:cubicBezTo>
                <a:cubicBezTo>
                  <a:pt x="225941" y="132454"/>
                  <a:pt x="190216" y="115536"/>
                  <a:pt x="178629" y="83454"/>
                </a:cubicBezTo>
                <a:cubicBezTo>
                  <a:pt x="167218" y="51022"/>
                  <a:pt x="183808" y="15170"/>
                  <a:pt x="216285" y="3687"/>
                </a:cubicBezTo>
                <a:cubicBezTo>
                  <a:pt x="224405" y="773"/>
                  <a:pt x="232721" y="-356"/>
                  <a:pt x="240813" y="9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5" name="任意多边形: 形状 204">
            <a:extLst>
              <a:ext uri="{FF2B5EF4-FFF2-40B4-BE49-F238E27FC236}">
                <a16:creationId xmlns:a16="http://schemas.microsoft.com/office/drawing/2014/main" id="{5A72A738-F48C-4153-86BA-155E86DAB858}"/>
              </a:ext>
            </a:extLst>
          </p:cNvPr>
          <p:cNvSpPr/>
          <p:nvPr/>
        </p:nvSpPr>
        <p:spPr bwMode="auto">
          <a:xfrm>
            <a:off x="6925962" y="2235712"/>
            <a:ext cx="338576" cy="338042"/>
          </a:xfrm>
          <a:custGeom>
            <a:avLst/>
            <a:gdLst>
              <a:gd name="connsiteX0" fmla="*/ 444127 w 581459"/>
              <a:gd name="connsiteY0" fmla="*/ 439120 h 580542"/>
              <a:gd name="connsiteX1" fmla="*/ 419829 w 581459"/>
              <a:gd name="connsiteY1" fmla="*/ 463387 h 580542"/>
              <a:gd name="connsiteX2" fmla="*/ 444127 w 581459"/>
              <a:gd name="connsiteY2" fmla="*/ 487742 h 580542"/>
              <a:gd name="connsiteX3" fmla="*/ 468514 w 581459"/>
              <a:gd name="connsiteY3" fmla="*/ 463387 h 580542"/>
              <a:gd name="connsiteX4" fmla="*/ 444127 w 581459"/>
              <a:gd name="connsiteY4" fmla="*/ 439120 h 580542"/>
              <a:gd name="connsiteX5" fmla="*/ 137243 w 581459"/>
              <a:gd name="connsiteY5" fmla="*/ 439120 h 580542"/>
              <a:gd name="connsiteX6" fmla="*/ 112946 w 581459"/>
              <a:gd name="connsiteY6" fmla="*/ 463387 h 580542"/>
              <a:gd name="connsiteX7" fmla="*/ 137243 w 581459"/>
              <a:gd name="connsiteY7" fmla="*/ 487742 h 580542"/>
              <a:gd name="connsiteX8" fmla="*/ 161630 w 581459"/>
              <a:gd name="connsiteY8" fmla="*/ 463387 h 580542"/>
              <a:gd name="connsiteX9" fmla="*/ 137243 w 581459"/>
              <a:gd name="connsiteY9" fmla="*/ 439120 h 580542"/>
              <a:gd name="connsiteX10" fmla="*/ 117485 w 581459"/>
              <a:gd name="connsiteY10" fmla="*/ 346053 h 580542"/>
              <a:gd name="connsiteX11" fmla="*/ 463975 w 581459"/>
              <a:gd name="connsiteY11" fmla="*/ 346053 h 580542"/>
              <a:gd name="connsiteX12" fmla="*/ 581459 w 581459"/>
              <a:gd name="connsiteY12" fmla="*/ 463298 h 580542"/>
              <a:gd name="connsiteX13" fmla="*/ 463975 w 581459"/>
              <a:gd name="connsiteY13" fmla="*/ 580542 h 580542"/>
              <a:gd name="connsiteX14" fmla="*/ 117485 w 581459"/>
              <a:gd name="connsiteY14" fmla="*/ 580542 h 580542"/>
              <a:gd name="connsiteX15" fmla="*/ 0 w 581459"/>
              <a:gd name="connsiteY15" fmla="*/ 463298 h 580542"/>
              <a:gd name="connsiteX16" fmla="*/ 117485 w 581459"/>
              <a:gd name="connsiteY16" fmla="*/ 346053 h 580542"/>
              <a:gd name="connsiteX17" fmla="*/ 289615 w 581459"/>
              <a:gd name="connsiteY17" fmla="*/ 75354 h 580542"/>
              <a:gd name="connsiteX18" fmla="*/ 272449 w 581459"/>
              <a:gd name="connsiteY18" fmla="*/ 82487 h 580542"/>
              <a:gd name="connsiteX19" fmla="*/ 272449 w 581459"/>
              <a:gd name="connsiteY19" fmla="*/ 116708 h 580542"/>
              <a:gd name="connsiteX20" fmla="*/ 279124 w 581459"/>
              <a:gd name="connsiteY20" fmla="*/ 123375 h 580542"/>
              <a:gd name="connsiteX21" fmla="*/ 243880 w 581459"/>
              <a:gd name="connsiteY21" fmla="*/ 123375 h 580542"/>
              <a:gd name="connsiteX22" fmla="*/ 219673 w 581459"/>
              <a:gd name="connsiteY22" fmla="*/ 147374 h 580542"/>
              <a:gd name="connsiteX23" fmla="*/ 243880 w 581459"/>
              <a:gd name="connsiteY23" fmla="*/ 171552 h 580542"/>
              <a:gd name="connsiteX24" fmla="*/ 279124 w 581459"/>
              <a:gd name="connsiteY24" fmla="*/ 171552 h 580542"/>
              <a:gd name="connsiteX25" fmla="*/ 272449 w 581459"/>
              <a:gd name="connsiteY25" fmla="*/ 178218 h 580542"/>
              <a:gd name="connsiteX26" fmla="*/ 272449 w 581459"/>
              <a:gd name="connsiteY26" fmla="*/ 212440 h 580542"/>
              <a:gd name="connsiteX27" fmla="*/ 306714 w 581459"/>
              <a:gd name="connsiteY27" fmla="*/ 212440 h 580542"/>
              <a:gd name="connsiteX28" fmla="*/ 354685 w 581459"/>
              <a:gd name="connsiteY28" fmla="*/ 164619 h 580542"/>
              <a:gd name="connsiteX29" fmla="*/ 354685 w 581459"/>
              <a:gd name="connsiteY29" fmla="*/ 130308 h 580542"/>
              <a:gd name="connsiteX30" fmla="*/ 306714 w 581459"/>
              <a:gd name="connsiteY30" fmla="*/ 82487 h 580542"/>
              <a:gd name="connsiteX31" fmla="*/ 289615 w 581459"/>
              <a:gd name="connsiteY31" fmla="*/ 75354 h 580542"/>
              <a:gd name="connsiteX32" fmla="*/ 128893 w 581459"/>
              <a:gd name="connsiteY32" fmla="*/ 0 h 580542"/>
              <a:gd name="connsiteX33" fmla="*/ 452673 w 581459"/>
              <a:gd name="connsiteY33" fmla="*/ 0 h 580542"/>
              <a:gd name="connsiteX34" fmla="*/ 476881 w 581459"/>
              <a:gd name="connsiteY34" fmla="*/ 24177 h 580542"/>
              <a:gd name="connsiteX35" fmla="*/ 476881 w 581459"/>
              <a:gd name="connsiteY35" fmla="*/ 270927 h 580542"/>
              <a:gd name="connsiteX36" fmla="*/ 452673 w 581459"/>
              <a:gd name="connsiteY36" fmla="*/ 295105 h 580542"/>
              <a:gd name="connsiteX37" fmla="*/ 128893 w 581459"/>
              <a:gd name="connsiteY37" fmla="*/ 295105 h 580542"/>
              <a:gd name="connsiteX38" fmla="*/ 104685 w 581459"/>
              <a:gd name="connsiteY38" fmla="*/ 270927 h 580542"/>
              <a:gd name="connsiteX39" fmla="*/ 104685 w 581459"/>
              <a:gd name="connsiteY39" fmla="*/ 24177 h 580542"/>
              <a:gd name="connsiteX40" fmla="*/ 128893 w 581459"/>
              <a:gd name="connsiteY40" fmla="*/ 0 h 580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81459" h="580542">
                <a:moveTo>
                  <a:pt x="444127" y="439120"/>
                </a:moveTo>
                <a:cubicBezTo>
                  <a:pt x="430777" y="439120"/>
                  <a:pt x="419829" y="450053"/>
                  <a:pt x="419829" y="463387"/>
                </a:cubicBezTo>
                <a:cubicBezTo>
                  <a:pt x="419829" y="476809"/>
                  <a:pt x="430777" y="487742"/>
                  <a:pt x="444127" y="487742"/>
                </a:cubicBezTo>
                <a:cubicBezTo>
                  <a:pt x="457567" y="487742"/>
                  <a:pt x="468514" y="476809"/>
                  <a:pt x="468514" y="463387"/>
                </a:cubicBezTo>
                <a:cubicBezTo>
                  <a:pt x="468514" y="450053"/>
                  <a:pt x="457567" y="439120"/>
                  <a:pt x="444127" y="439120"/>
                </a:cubicBezTo>
                <a:close/>
                <a:moveTo>
                  <a:pt x="137243" y="439120"/>
                </a:moveTo>
                <a:cubicBezTo>
                  <a:pt x="123893" y="439120"/>
                  <a:pt x="112946" y="450053"/>
                  <a:pt x="112946" y="463387"/>
                </a:cubicBezTo>
                <a:cubicBezTo>
                  <a:pt x="112946" y="476809"/>
                  <a:pt x="123893" y="487742"/>
                  <a:pt x="137243" y="487742"/>
                </a:cubicBezTo>
                <a:cubicBezTo>
                  <a:pt x="150683" y="487742"/>
                  <a:pt x="161630" y="476809"/>
                  <a:pt x="161630" y="463387"/>
                </a:cubicBezTo>
                <a:cubicBezTo>
                  <a:pt x="161630" y="450053"/>
                  <a:pt x="150683" y="439120"/>
                  <a:pt x="137243" y="439120"/>
                </a:cubicBezTo>
                <a:close/>
                <a:moveTo>
                  <a:pt x="117485" y="346053"/>
                </a:moveTo>
                <a:lnTo>
                  <a:pt x="463975" y="346053"/>
                </a:lnTo>
                <a:cubicBezTo>
                  <a:pt x="528769" y="346053"/>
                  <a:pt x="581459" y="398675"/>
                  <a:pt x="581459" y="463298"/>
                </a:cubicBezTo>
                <a:cubicBezTo>
                  <a:pt x="581459" y="527920"/>
                  <a:pt x="528769" y="580542"/>
                  <a:pt x="463975" y="580542"/>
                </a:cubicBezTo>
                <a:lnTo>
                  <a:pt x="117485" y="580542"/>
                </a:lnTo>
                <a:cubicBezTo>
                  <a:pt x="52690" y="580542"/>
                  <a:pt x="0" y="528009"/>
                  <a:pt x="0" y="463298"/>
                </a:cubicBezTo>
                <a:cubicBezTo>
                  <a:pt x="0" y="398675"/>
                  <a:pt x="52690" y="346053"/>
                  <a:pt x="117485" y="346053"/>
                </a:cubicBezTo>
                <a:close/>
                <a:moveTo>
                  <a:pt x="289615" y="75354"/>
                </a:moveTo>
                <a:cubicBezTo>
                  <a:pt x="283419" y="75354"/>
                  <a:pt x="277211" y="77732"/>
                  <a:pt x="272449" y="82487"/>
                </a:cubicBezTo>
                <a:cubicBezTo>
                  <a:pt x="262926" y="91909"/>
                  <a:pt x="262926" y="107198"/>
                  <a:pt x="272449" y="116708"/>
                </a:cubicBezTo>
                <a:lnTo>
                  <a:pt x="279124" y="123375"/>
                </a:lnTo>
                <a:lnTo>
                  <a:pt x="243880" y="123375"/>
                </a:lnTo>
                <a:cubicBezTo>
                  <a:pt x="230442" y="123375"/>
                  <a:pt x="219673" y="134130"/>
                  <a:pt x="219673" y="147374"/>
                </a:cubicBezTo>
                <a:cubicBezTo>
                  <a:pt x="219673" y="160796"/>
                  <a:pt x="230442" y="171552"/>
                  <a:pt x="243880" y="171552"/>
                </a:cubicBezTo>
                <a:lnTo>
                  <a:pt x="279124" y="171552"/>
                </a:lnTo>
                <a:lnTo>
                  <a:pt x="272449" y="178218"/>
                </a:lnTo>
                <a:cubicBezTo>
                  <a:pt x="262926" y="187729"/>
                  <a:pt x="262837" y="203107"/>
                  <a:pt x="272449" y="212440"/>
                </a:cubicBezTo>
                <a:cubicBezTo>
                  <a:pt x="285176" y="224795"/>
                  <a:pt x="301552" y="218662"/>
                  <a:pt x="306714" y="212440"/>
                </a:cubicBezTo>
                <a:lnTo>
                  <a:pt x="354685" y="164619"/>
                </a:lnTo>
                <a:cubicBezTo>
                  <a:pt x="364208" y="155108"/>
                  <a:pt x="364208" y="139819"/>
                  <a:pt x="354685" y="130308"/>
                </a:cubicBezTo>
                <a:lnTo>
                  <a:pt x="306714" y="82487"/>
                </a:lnTo>
                <a:cubicBezTo>
                  <a:pt x="301997" y="77732"/>
                  <a:pt x="295812" y="75354"/>
                  <a:pt x="289615" y="75354"/>
                </a:cubicBezTo>
                <a:close/>
                <a:moveTo>
                  <a:pt x="128893" y="0"/>
                </a:moveTo>
                <a:lnTo>
                  <a:pt x="452673" y="0"/>
                </a:lnTo>
                <a:cubicBezTo>
                  <a:pt x="466112" y="0"/>
                  <a:pt x="476881" y="10755"/>
                  <a:pt x="476881" y="24177"/>
                </a:cubicBezTo>
                <a:lnTo>
                  <a:pt x="476881" y="270927"/>
                </a:lnTo>
                <a:cubicBezTo>
                  <a:pt x="476881" y="284261"/>
                  <a:pt x="466112" y="295105"/>
                  <a:pt x="452673" y="295105"/>
                </a:cubicBezTo>
                <a:lnTo>
                  <a:pt x="128893" y="295105"/>
                </a:lnTo>
                <a:cubicBezTo>
                  <a:pt x="115454" y="295105"/>
                  <a:pt x="104507" y="284261"/>
                  <a:pt x="104685" y="270927"/>
                </a:cubicBezTo>
                <a:lnTo>
                  <a:pt x="104685" y="24177"/>
                </a:lnTo>
                <a:cubicBezTo>
                  <a:pt x="104685" y="10755"/>
                  <a:pt x="115454" y="0"/>
                  <a:pt x="12889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6" name="任意多边形: 形状 205">
            <a:extLst>
              <a:ext uri="{FF2B5EF4-FFF2-40B4-BE49-F238E27FC236}">
                <a16:creationId xmlns:a16="http://schemas.microsoft.com/office/drawing/2014/main" id="{2AA749EB-58EE-46AA-BC80-3F9F71A34E8C}"/>
              </a:ext>
            </a:extLst>
          </p:cNvPr>
          <p:cNvSpPr/>
          <p:nvPr/>
        </p:nvSpPr>
        <p:spPr bwMode="auto">
          <a:xfrm>
            <a:off x="5746110" y="2927228"/>
            <a:ext cx="647304" cy="647271"/>
          </a:xfrm>
          <a:custGeom>
            <a:avLst/>
            <a:gdLst>
              <a:gd name="connsiteX0" fmla="*/ 52908 w 606775"/>
              <a:gd name="connsiteY0" fmla="*/ 341560 h 606745"/>
              <a:gd name="connsiteX1" fmla="*/ 115358 w 606775"/>
              <a:gd name="connsiteY1" fmla="*/ 370976 h 606745"/>
              <a:gd name="connsiteX2" fmla="*/ 105394 w 606775"/>
              <a:gd name="connsiteY2" fmla="*/ 370976 h 606745"/>
              <a:gd name="connsiteX3" fmla="*/ 105394 w 606775"/>
              <a:gd name="connsiteY3" fmla="*/ 580529 h 606745"/>
              <a:gd name="connsiteX4" fmla="*/ 79151 w 606775"/>
              <a:gd name="connsiteY4" fmla="*/ 606745 h 606745"/>
              <a:gd name="connsiteX5" fmla="*/ 52908 w 606775"/>
              <a:gd name="connsiteY5" fmla="*/ 580529 h 606745"/>
              <a:gd name="connsiteX6" fmla="*/ 168755 w 606775"/>
              <a:gd name="connsiteY6" fmla="*/ 314181 h 606745"/>
              <a:gd name="connsiteX7" fmla="*/ 169200 w 606775"/>
              <a:gd name="connsiteY7" fmla="*/ 580528 h 606745"/>
              <a:gd name="connsiteX8" fmla="*/ 142950 w 606775"/>
              <a:gd name="connsiteY8" fmla="*/ 606745 h 606745"/>
              <a:gd name="connsiteX9" fmla="*/ 116699 w 606775"/>
              <a:gd name="connsiteY9" fmla="*/ 580528 h 606745"/>
              <a:gd name="connsiteX10" fmla="*/ 116699 w 606775"/>
              <a:gd name="connsiteY10" fmla="*/ 371414 h 606745"/>
              <a:gd name="connsiteX11" fmla="*/ 149445 w 606775"/>
              <a:gd name="connsiteY11" fmla="*/ 356039 h 606745"/>
              <a:gd name="connsiteX12" fmla="*/ 112784 w 606775"/>
              <a:gd name="connsiteY12" fmla="*/ 235448 h 606745"/>
              <a:gd name="connsiteX13" fmla="*/ 163488 w 606775"/>
              <a:gd name="connsiteY13" fmla="*/ 258727 h 606745"/>
              <a:gd name="connsiteX14" fmla="*/ 168825 w 606775"/>
              <a:gd name="connsiteY14" fmla="*/ 273033 h 606745"/>
              <a:gd name="connsiteX15" fmla="*/ 133955 w 606775"/>
              <a:gd name="connsiteY15" fmla="*/ 348913 h 606745"/>
              <a:gd name="connsiteX16" fmla="*/ 119544 w 606775"/>
              <a:gd name="connsiteY16" fmla="*/ 354244 h 606745"/>
              <a:gd name="connsiteX17" fmla="*/ 114118 w 606775"/>
              <a:gd name="connsiteY17" fmla="*/ 351756 h 606745"/>
              <a:gd name="connsiteX18" fmla="*/ 127284 w 606775"/>
              <a:gd name="connsiteY18" fmla="*/ 337717 h 606745"/>
              <a:gd name="connsiteX19" fmla="*/ 111983 w 606775"/>
              <a:gd name="connsiteY19" fmla="*/ 284139 h 606745"/>
              <a:gd name="connsiteX20" fmla="*/ 85297 w 606775"/>
              <a:gd name="connsiteY20" fmla="*/ 269301 h 606745"/>
              <a:gd name="connsiteX21" fmla="*/ 98373 w 606775"/>
              <a:gd name="connsiteY21" fmla="*/ 240779 h 606745"/>
              <a:gd name="connsiteX22" fmla="*/ 112784 w 606775"/>
              <a:gd name="connsiteY22" fmla="*/ 235448 h 606745"/>
              <a:gd name="connsiteX23" fmla="*/ 100409 w 606775"/>
              <a:gd name="connsiteY23" fmla="*/ 161971 h 606745"/>
              <a:gd name="connsiteX24" fmla="*/ 122122 w 606775"/>
              <a:gd name="connsiteY24" fmla="*/ 161971 h 606745"/>
              <a:gd name="connsiteX25" fmla="*/ 124881 w 606775"/>
              <a:gd name="connsiteY25" fmla="*/ 166680 h 606745"/>
              <a:gd name="connsiteX26" fmla="*/ 117050 w 606775"/>
              <a:gd name="connsiteY26" fmla="*/ 180983 h 606745"/>
              <a:gd name="connsiteX27" fmla="*/ 125860 w 606775"/>
              <a:gd name="connsiteY27" fmla="*/ 197152 h 606745"/>
              <a:gd name="connsiteX28" fmla="*/ 126839 w 606775"/>
              <a:gd name="connsiteY28" fmla="*/ 203460 h 606745"/>
              <a:gd name="connsiteX29" fmla="*/ 123012 w 606775"/>
              <a:gd name="connsiteY29" fmla="*/ 221317 h 606745"/>
              <a:gd name="connsiteX30" fmla="*/ 98718 w 606775"/>
              <a:gd name="connsiteY30" fmla="*/ 219096 h 606745"/>
              <a:gd name="connsiteX31" fmla="*/ 95603 w 606775"/>
              <a:gd name="connsiteY31" fmla="*/ 203371 h 606745"/>
              <a:gd name="connsiteX32" fmla="*/ 96582 w 606775"/>
              <a:gd name="connsiteY32" fmla="*/ 197241 h 606745"/>
              <a:gd name="connsiteX33" fmla="*/ 105481 w 606775"/>
              <a:gd name="connsiteY33" fmla="*/ 181072 h 606745"/>
              <a:gd name="connsiteX34" fmla="*/ 97561 w 606775"/>
              <a:gd name="connsiteY34" fmla="*/ 166680 h 606745"/>
              <a:gd name="connsiteX35" fmla="*/ 100409 w 606775"/>
              <a:gd name="connsiteY35" fmla="*/ 161971 h 606745"/>
              <a:gd name="connsiteX36" fmla="*/ 148367 w 606775"/>
              <a:gd name="connsiteY36" fmla="*/ 161618 h 606745"/>
              <a:gd name="connsiteX37" fmla="*/ 169821 w 606775"/>
              <a:gd name="connsiteY37" fmla="*/ 161618 h 606745"/>
              <a:gd name="connsiteX38" fmla="*/ 221631 w 606775"/>
              <a:gd name="connsiteY38" fmla="*/ 213079 h 606745"/>
              <a:gd name="connsiteX39" fmla="*/ 221809 w 606775"/>
              <a:gd name="connsiteY39" fmla="*/ 253964 h 606745"/>
              <a:gd name="connsiteX40" fmla="*/ 266141 w 606775"/>
              <a:gd name="connsiteY40" fmla="*/ 226500 h 606745"/>
              <a:gd name="connsiteX41" fmla="*/ 296319 w 606775"/>
              <a:gd name="connsiteY41" fmla="*/ 233522 h 606745"/>
              <a:gd name="connsiteX42" fmla="*/ 289286 w 606775"/>
              <a:gd name="connsiteY42" fmla="*/ 263563 h 606745"/>
              <a:gd name="connsiteX43" fmla="*/ 211750 w 606775"/>
              <a:gd name="connsiteY43" fmla="*/ 311647 h 606745"/>
              <a:gd name="connsiteX44" fmla="*/ 178367 w 606775"/>
              <a:gd name="connsiteY44" fmla="*/ 294937 h 606745"/>
              <a:gd name="connsiteX45" fmla="*/ 177922 w 606775"/>
              <a:gd name="connsiteY45" fmla="*/ 213346 h 606745"/>
              <a:gd name="connsiteX46" fmla="*/ 177922 w 606775"/>
              <a:gd name="connsiteY46" fmla="*/ 213257 h 606745"/>
              <a:gd name="connsiteX47" fmla="*/ 173293 w 606775"/>
              <a:gd name="connsiteY47" fmla="*/ 208724 h 606745"/>
              <a:gd name="connsiteX48" fmla="*/ 168753 w 606775"/>
              <a:gd name="connsiteY48" fmla="*/ 213257 h 606745"/>
              <a:gd name="connsiteX49" fmla="*/ 168753 w 606775"/>
              <a:gd name="connsiteY49" fmla="*/ 242321 h 606745"/>
              <a:gd name="connsiteX50" fmla="*/ 124955 w 606775"/>
              <a:gd name="connsiteY50" fmla="*/ 222234 h 606745"/>
              <a:gd name="connsiteX51" fmla="*/ 148367 w 606775"/>
              <a:gd name="connsiteY51" fmla="*/ 161618 h 606745"/>
              <a:gd name="connsiteX52" fmla="*/ 52160 w 606775"/>
              <a:gd name="connsiteY52" fmla="*/ 161618 h 606745"/>
              <a:gd name="connsiteX53" fmla="*/ 74144 w 606775"/>
              <a:gd name="connsiteY53" fmla="*/ 161618 h 606745"/>
              <a:gd name="connsiteX54" fmla="*/ 96663 w 606775"/>
              <a:gd name="connsiteY54" fmla="*/ 219911 h 606745"/>
              <a:gd name="connsiteX55" fmla="*/ 82778 w 606775"/>
              <a:gd name="connsiteY55" fmla="*/ 233685 h 606745"/>
              <a:gd name="connsiteX56" fmla="*/ 70228 w 606775"/>
              <a:gd name="connsiteY56" fmla="*/ 260965 h 606745"/>
              <a:gd name="connsiteX57" fmla="*/ 52872 w 606775"/>
              <a:gd name="connsiteY57" fmla="*/ 251368 h 606745"/>
              <a:gd name="connsiteX58" fmla="*/ 52872 w 606775"/>
              <a:gd name="connsiteY58" fmla="*/ 213335 h 606745"/>
              <a:gd name="connsiteX59" fmla="*/ 48510 w 606775"/>
              <a:gd name="connsiteY59" fmla="*/ 208981 h 606745"/>
              <a:gd name="connsiteX60" fmla="*/ 44149 w 606775"/>
              <a:gd name="connsiteY60" fmla="*/ 213335 h 606745"/>
              <a:gd name="connsiteX61" fmla="*/ 43793 w 606775"/>
              <a:gd name="connsiteY61" fmla="*/ 266474 h 606745"/>
              <a:gd name="connsiteX62" fmla="*/ 103427 w 606775"/>
              <a:gd name="connsiteY62" fmla="*/ 299531 h 606745"/>
              <a:gd name="connsiteX63" fmla="*/ 111883 w 606775"/>
              <a:gd name="connsiteY63" fmla="*/ 329210 h 606745"/>
              <a:gd name="connsiteX64" fmla="*/ 82155 w 606775"/>
              <a:gd name="connsiteY64" fmla="*/ 337741 h 606745"/>
              <a:gd name="connsiteX65" fmla="*/ 11217 w 606775"/>
              <a:gd name="connsiteY65" fmla="*/ 298376 h 606745"/>
              <a:gd name="connsiteX66" fmla="*/ 2 w 606775"/>
              <a:gd name="connsiteY66" fmla="*/ 279182 h 606745"/>
              <a:gd name="connsiteX67" fmla="*/ 447 w 606775"/>
              <a:gd name="connsiteY67" fmla="*/ 213069 h 606745"/>
              <a:gd name="connsiteX68" fmla="*/ 52160 w 606775"/>
              <a:gd name="connsiteY68" fmla="*/ 161618 h 606745"/>
              <a:gd name="connsiteX69" fmla="*/ 111018 w 606775"/>
              <a:gd name="connsiteY69" fmla="*/ 56617 h 606745"/>
              <a:gd name="connsiteX70" fmla="*/ 156356 w 606775"/>
              <a:gd name="connsiteY70" fmla="*/ 101920 h 606745"/>
              <a:gd name="connsiteX71" fmla="*/ 111018 w 606775"/>
              <a:gd name="connsiteY71" fmla="*/ 147223 h 606745"/>
              <a:gd name="connsiteX72" fmla="*/ 65680 w 606775"/>
              <a:gd name="connsiteY72" fmla="*/ 101920 h 606745"/>
              <a:gd name="connsiteX73" fmla="*/ 111018 w 606775"/>
              <a:gd name="connsiteY73" fmla="*/ 56617 h 606745"/>
              <a:gd name="connsiteX74" fmla="*/ 422167 w 606775"/>
              <a:gd name="connsiteY74" fmla="*/ 39638 h 606745"/>
              <a:gd name="connsiteX75" fmla="*/ 373122 w 606775"/>
              <a:gd name="connsiteY75" fmla="*/ 88696 h 606745"/>
              <a:gd name="connsiteX76" fmla="*/ 471212 w 606775"/>
              <a:gd name="connsiteY76" fmla="*/ 88696 h 606745"/>
              <a:gd name="connsiteX77" fmla="*/ 422200 w 606775"/>
              <a:gd name="connsiteY77" fmla="*/ 0 h 606745"/>
              <a:gd name="connsiteX78" fmla="*/ 433827 w 606775"/>
              <a:gd name="connsiteY78" fmla="*/ 4799 h 606745"/>
              <a:gd name="connsiteX79" fmla="*/ 517764 w 606775"/>
              <a:gd name="connsiteY79" fmla="*/ 88696 h 606745"/>
              <a:gd name="connsiteX80" fmla="*/ 591465 w 606775"/>
              <a:gd name="connsiteY80" fmla="*/ 88696 h 606745"/>
              <a:gd name="connsiteX81" fmla="*/ 606775 w 606775"/>
              <a:gd name="connsiteY81" fmla="*/ 103894 h 606745"/>
              <a:gd name="connsiteX82" fmla="*/ 606775 w 606775"/>
              <a:gd name="connsiteY82" fmla="*/ 354430 h 606745"/>
              <a:gd name="connsiteX83" fmla="*/ 591465 w 606775"/>
              <a:gd name="connsiteY83" fmla="*/ 369716 h 606745"/>
              <a:gd name="connsiteX84" fmla="*/ 252869 w 606775"/>
              <a:gd name="connsiteY84" fmla="*/ 369716 h 606745"/>
              <a:gd name="connsiteX85" fmla="*/ 237648 w 606775"/>
              <a:gd name="connsiteY85" fmla="*/ 354430 h 606745"/>
              <a:gd name="connsiteX86" fmla="*/ 237648 w 606775"/>
              <a:gd name="connsiteY86" fmla="*/ 321280 h 606745"/>
              <a:gd name="connsiteX87" fmla="*/ 268179 w 606775"/>
              <a:gd name="connsiteY87" fmla="*/ 302261 h 606745"/>
              <a:gd name="connsiteX88" fmla="*/ 300757 w 606775"/>
              <a:gd name="connsiteY88" fmla="*/ 282086 h 606745"/>
              <a:gd name="connsiteX89" fmla="*/ 320161 w 606775"/>
              <a:gd name="connsiteY89" fmla="*/ 234361 h 606745"/>
              <a:gd name="connsiteX90" fmla="*/ 375703 w 606775"/>
              <a:gd name="connsiteY90" fmla="*/ 190724 h 606745"/>
              <a:gd name="connsiteX91" fmla="*/ 378908 w 606775"/>
              <a:gd name="connsiteY91" fmla="*/ 162995 h 606745"/>
              <a:gd name="connsiteX92" fmla="*/ 351226 w 606775"/>
              <a:gd name="connsiteY92" fmla="*/ 159706 h 606745"/>
              <a:gd name="connsiteX93" fmla="*/ 294259 w 606775"/>
              <a:gd name="connsiteY93" fmla="*/ 204499 h 606745"/>
              <a:gd name="connsiteX94" fmla="*/ 254649 w 606775"/>
              <a:gd name="connsiteY94" fmla="*/ 207876 h 606745"/>
              <a:gd name="connsiteX95" fmla="*/ 237648 w 606775"/>
              <a:gd name="connsiteY95" fmla="*/ 218363 h 606745"/>
              <a:gd name="connsiteX96" fmla="*/ 237648 w 606775"/>
              <a:gd name="connsiteY96" fmla="*/ 103894 h 606745"/>
              <a:gd name="connsiteX97" fmla="*/ 252869 w 606775"/>
              <a:gd name="connsiteY97" fmla="*/ 88696 h 606745"/>
              <a:gd name="connsiteX98" fmla="*/ 326570 w 606775"/>
              <a:gd name="connsiteY98" fmla="*/ 88696 h 606745"/>
              <a:gd name="connsiteX99" fmla="*/ 410507 w 606775"/>
              <a:gd name="connsiteY99" fmla="*/ 4799 h 606745"/>
              <a:gd name="connsiteX100" fmla="*/ 422200 w 606775"/>
              <a:gd name="connsiteY100" fmla="*/ 0 h 606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606775" h="606745">
                <a:moveTo>
                  <a:pt x="52908" y="341560"/>
                </a:moveTo>
                <a:cubicBezTo>
                  <a:pt x="52908" y="341560"/>
                  <a:pt x="113223" y="370265"/>
                  <a:pt x="115358" y="370976"/>
                </a:cubicBezTo>
                <a:lnTo>
                  <a:pt x="105394" y="370976"/>
                </a:lnTo>
                <a:lnTo>
                  <a:pt x="105394" y="580529"/>
                </a:lnTo>
                <a:cubicBezTo>
                  <a:pt x="105394" y="595014"/>
                  <a:pt x="93652" y="606745"/>
                  <a:pt x="79151" y="606745"/>
                </a:cubicBezTo>
                <a:cubicBezTo>
                  <a:pt x="64651" y="606745"/>
                  <a:pt x="52908" y="595014"/>
                  <a:pt x="52908" y="580529"/>
                </a:cubicBezTo>
                <a:close/>
                <a:moveTo>
                  <a:pt x="168755" y="314181"/>
                </a:moveTo>
                <a:cubicBezTo>
                  <a:pt x="168755" y="328756"/>
                  <a:pt x="169200" y="567286"/>
                  <a:pt x="169200" y="580528"/>
                </a:cubicBezTo>
                <a:cubicBezTo>
                  <a:pt x="169200" y="595014"/>
                  <a:pt x="157454" y="606745"/>
                  <a:pt x="142950" y="606745"/>
                </a:cubicBezTo>
                <a:cubicBezTo>
                  <a:pt x="128445" y="606745"/>
                  <a:pt x="116699" y="595014"/>
                  <a:pt x="116699" y="580528"/>
                </a:cubicBezTo>
                <a:lnTo>
                  <a:pt x="116699" y="371414"/>
                </a:lnTo>
                <a:cubicBezTo>
                  <a:pt x="129869" y="374969"/>
                  <a:pt x="143839" y="368392"/>
                  <a:pt x="149445" y="356039"/>
                </a:cubicBezTo>
                <a:close/>
                <a:moveTo>
                  <a:pt x="112784" y="235448"/>
                </a:moveTo>
                <a:lnTo>
                  <a:pt x="163488" y="258727"/>
                </a:lnTo>
                <a:cubicBezTo>
                  <a:pt x="168914" y="261215"/>
                  <a:pt x="171316" y="267613"/>
                  <a:pt x="168825" y="273033"/>
                </a:cubicBezTo>
                <a:lnTo>
                  <a:pt x="133955" y="348913"/>
                </a:lnTo>
                <a:cubicBezTo>
                  <a:pt x="131464" y="354333"/>
                  <a:pt x="124971" y="356732"/>
                  <a:pt x="119544" y="354244"/>
                </a:cubicBezTo>
                <a:lnTo>
                  <a:pt x="114118" y="351756"/>
                </a:lnTo>
                <a:cubicBezTo>
                  <a:pt x="119456" y="348380"/>
                  <a:pt x="123992" y="343671"/>
                  <a:pt x="127284" y="337717"/>
                </a:cubicBezTo>
                <a:cubicBezTo>
                  <a:pt x="137869" y="318703"/>
                  <a:pt x="131020" y="294713"/>
                  <a:pt x="111983" y="284139"/>
                </a:cubicBezTo>
                <a:lnTo>
                  <a:pt x="85297" y="269301"/>
                </a:lnTo>
                <a:lnTo>
                  <a:pt x="98373" y="240779"/>
                </a:lnTo>
                <a:cubicBezTo>
                  <a:pt x="100864" y="235359"/>
                  <a:pt x="107358" y="232960"/>
                  <a:pt x="112784" y="235448"/>
                </a:cubicBezTo>
                <a:close/>
                <a:moveTo>
                  <a:pt x="100409" y="161971"/>
                </a:moveTo>
                <a:lnTo>
                  <a:pt x="122122" y="161971"/>
                </a:lnTo>
                <a:cubicBezTo>
                  <a:pt x="124525" y="161971"/>
                  <a:pt x="126038" y="164547"/>
                  <a:pt x="124881" y="166680"/>
                </a:cubicBezTo>
                <a:lnTo>
                  <a:pt x="117050" y="180983"/>
                </a:lnTo>
                <a:lnTo>
                  <a:pt x="125860" y="197152"/>
                </a:lnTo>
                <a:cubicBezTo>
                  <a:pt x="126928" y="199107"/>
                  <a:pt x="127284" y="201328"/>
                  <a:pt x="126839" y="203460"/>
                </a:cubicBezTo>
                <a:lnTo>
                  <a:pt x="123012" y="221317"/>
                </a:lnTo>
                <a:cubicBezTo>
                  <a:pt x="115092" y="217763"/>
                  <a:pt x="108062" y="215720"/>
                  <a:pt x="98718" y="219096"/>
                </a:cubicBezTo>
                <a:lnTo>
                  <a:pt x="95603" y="203371"/>
                </a:lnTo>
                <a:cubicBezTo>
                  <a:pt x="95247" y="201328"/>
                  <a:pt x="95514" y="199107"/>
                  <a:pt x="96582" y="197241"/>
                </a:cubicBezTo>
                <a:lnTo>
                  <a:pt x="105481" y="181072"/>
                </a:lnTo>
                <a:lnTo>
                  <a:pt x="97561" y="166680"/>
                </a:lnTo>
                <a:cubicBezTo>
                  <a:pt x="96404" y="164547"/>
                  <a:pt x="98006" y="161971"/>
                  <a:pt x="100409" y="161971"/>
                </a:cubicBezTo>
                <a:close/>
                <a:moveTo>
                  <a:pt x="148367" y="161618"/>
                </a:moveTo>
                <a:lnTo>
                  <a:pt x="169821" y="161618"/>
                </a:lnTo>
                <a:cubicBezTo>
                  <a:pt x="198308" y="161618"/>
                  <a:pt x="221542" y="184727"/>
                  <a:pt x="221631" y="213079"/>
                </a:cubicBezTo>
                <a:cubicBezTo>
                  <a:pt x="221720" y="236721"/>
                  <a:pt x="221631" y="217257"/>
                  <a:pt x="221809" y="253964"/>
                </a:cubicBezTo>
                <a:lnTo>
                  <a:pt x="266141" y="226500"/>
                </a:lnTo>
                <a:cubicBezTo>
                  <a:pt x="276467" y="220101"/>
                  <a:pt x="289909" y="223211"/>
                  <a:pt x="296319" y="233522"/>
                </a:cubicBezTo>
                <a:cubicBezTo>
                  <a:pt x="302639" y="243743"/>
                  <a:pt x="299523" y="257252"/>
                  <a:pt x="289286" y="263563"/>
                </a:cubicBezTo>
                <a:lnTo>
                  <a:pt x="211750" y="311647"/>
                </a:lnTo>
                <a:cubicBezTo>
                  <a:pt x="197951" y="320179"/>
                  <a:pt x="179702" y="311291"/>
                  <a:pt x="178367" y="294937"/>
                </a:cubicBezTo>
                <a:lnTo>
                  <a:pt x="177922" y="213346"/>
                </a:lnTo>
                <a:lnTo>
                  <a:pt x="177922" y="213257"/>
                </a:lnTo>
                <a:cubicBezTo>
                  <a:pt x="177922" y="210768"/>
                  <a:pt x="175874" y="208724"/>
                  <a:pt x="173293" y="208724"/>
                </a:cubicBezTo>
                <a:cubicBezTo>
                  <a:pt x="170800" y="208724"/>
                  <a:pt x="168753" y="210768"/>
                  <a:pt x="168753" y="213257"/>
                </a:cubicBezTo>
                <a:lnTo>
                  <a:pt x="168753" y="242321"/>
                </a:lnTo>
                <a:lnTo>
                  <a:pt x="124955" y="222234"/>
                </a:lnTo>
                <a:cubicBezTo>
                  <a:pt x="129050" y="211568"/>
                  <a:pt x="142848" y="175839"/>
                  <a:pt x="148367" y="161618"/>
                </a:cubicBezTo>
                <a:close/>
                <a:moveTo>
                  <a:pt x="52160" y="161618"/>
                </a:moveTo>
                <a:lnTo>
                  <a:pt x="74144" y="161618"/>
                </a:lnTo>
                <a:cubicBezTo>
                  <a:pt x="76636" y="168016"/>
                  <a:pt x="94170" y="213602"/>
                  <a:pt x="96663" y="219911"/>
                </a:cubicBezTo>
                <a:cubicBezTo>
                  <a:pt x="90610" y="222666"/>
                  <a:pt x="85626" y="227464"/>
                  <a:pt x="82778" y="233685"/>
                </a:cubicBezTo>
                <a:lnTo>
                  <a:pt x="70228" y="260965"/>
                </a:lnTo>
                <a:lnTo>
                  <a:pt x="52872" y="251368"/>
                </a:lnTo>
                <a:lnTo>
                  <a:pt x="52872" y="213335"/>
                </a:lnTo>
                <a:cubicBezTo>
                  <a:pt x="52872" y="210936"/>
                  <a:pt x="50913" y="208981"/>
                  <a:pt x="48510" y="208981"/>
                </a:cubicBezTo>
                <a:cubicBezTo>
                  <a:pt x="46107" y="208981"/>
                  <a:pt x="44149" y="210936"/>
                  <a:pt x="44149" y="213335"/>
                </a:cubicBezTo>
                <a:cubicBezTo>
                  <a:pt x="44060" y="231996"/>
                  <a:pt x="43971" y="246569"/>
                  <a:pt x="43793" y="266474"/>
                </a:cubicBezTo>
                <a:lnTo>
                  <a:pt x="103427" y="299531"/>
                </a:lnTo>
                <a:cubicBezTo>
                  <a:pt x="113930" y="305396"/>
                  <a:pt x="117757" y="318636"/>
                  <a:pt x="111883" y="329210"/>
                </a:cubicBezTo>
                <a:cubicBezTo>
                  <a:pt x="106008" y="339785"/>
                  <a:pt x="92746" y="343606"/>
                  <a:pt x="82155" y="337741"/>
                </a:cubicBezTo>
                <a:lnTo>
                  <a:pt x="11217" y="298376"/>
                </a:lnTo>
                <a:cubicBezTo>
                  <a:pt x="4274" y="294466"/>
                  <a:pt x="-87" y="287090"/>
                  <a:pt x="2" y="279182"/>
                </a:cubicBezTo>
                <a:cubicBezTo>
                  <a:pt x="91" y="269585"/>
                  <a:pt x="358" y="222577"/>
                  <a:pt x="447" y="213069"/>
                </a:cubicBezTo>
                <a:cubicBezTo>
                  <a:pt x="536" y="184722"/>
                  <a:pt x="23767" y="161618"/>
                  <a:pt x="52160" y="161618"/>
                </a:cubicBezTo>
                <a:close/>
                <a:moveTo>
                  <a:pt x="111018" y="56617"/>
                </a:moveTo>
                <a:cubicBezTo>
                  <a:pt x="136057" y="56617"/>
                  <a:pt x="156356" y="76900"/>
                  <a:pt x="156356" y="101920"/>
                </a:cubicBezTo>
                <a:cubicBezTo>
                  <a:pt x="156356" y="126940"/>
                  <a:pt x="136057" y="147223"/>
                  <a:pt x="111018" y="147223"/>
                </a:cubicBezTo>
                <a:cubicBezTo>
                  <a:pt x="85979" y="147223"/>
                  <a:pt x="65680" y="126940"/>
                  <a:pt x="65680" y="101920"/>
                </a:cubicBezTo>
                <a:cubicBezTo>
                  <a:pt x="65680" y="76900"/>
                  <a:pt x="85979" y="56617"/>
                  <a:pt x="111018" y="56617"/>
                </a:cubicBezTo>
                <a:close/>
                <a:moveTo>
                  <a:pt x="422167" y="39638"/>
                </a:moveTo>
                <a:lnTo>
                  <a:pt x="373122" y="88696"/>
                </a:lnTo>
                <a:lnTo>
                  <a:pt x="471212" y="88696"/>
                </a:lnTo>
                <a:close/>
                <a:moveTo>
                  <a:pt x="422200" y="0"/>
                </a:moveTo>
                <a:cubicBezTo>
                  <a:pt x="426417" y="0"/>
                  <a:pt x="430623" y="1600"/>
                  <a:pt x="433827" y="4799"/>
                </a:cubicBezTo>
                <a:lnTo>
                  <a:pt x="517764" y="88696"/>
                </a:lnTo>
                <a:lnTo>
                  <a:pt x="591465" y="88696"/>
                </a:lnTo>
                <a:cubicBezTo>
                  <a:pt x="599921" y="88696"/>
                  <a:pt x="606775" y="95451"/>
                  <a:pt x="606775" y="103894"/>
                </a:cubicBezTo>
                <a:lnTo>
                  <a:pt x="606775" y="354430"/>
                </a:lnTo>
                <a:cubicBezTo>
                  <a:pt x="606775" y="362873"/>
                  <a:pt x="599921" y="369716"/>
                  <a:pt x="591465" y="369716"/>
                </a:cubicBezTo>
                <a:lnTo>
                  <a:pt x="252869" y="369716"/>
                </a:lnTo>
                <a:cubicBezTo>
                  <a:pt x="244502" y="369716"/>
                  <a:pt x="237648" y="362873"/>
                  <a:pt x="237648" y="354430"/>
                </a:cubicBezTo>
                <a:lnTo>
                  <a:pt x="237648" y="321280"/>
                </a:lnTo>
                <a:lnTo>
                  <a:pt x="268179" y="302261"/>
                </a:lnTo>
                <a:lnTo>
                  <a:pt x="300757" y="282086"/>
                </a:lnTo>
                <a:cubicBezTo>
                  <a:pt x="317312" y="271866"/>
                  <a:pt x="324611" y="252313"/>
                  <a:pt x="320161" y="234361"/>
                </a:cubicBezTo>
                <a:lnTo>
                  <a:pt x="375703" y="190724"/>
                </a:lnTo>
                <a:cubicBezTo>
                  <a:pt x="384248" y="183969"/>
                  <a:pt x="385673" y="171527"/>
                  <a:pt x="378908" y="162995"/>
                </a:cubicBezTo>
                <a:cubicBezTo>
                  <a:pt x="372232" y="154463"/>
                  <a:pt x="359771" y="152952"/>
                  <a:pt x="351226" y="159706"/>
                </a:cubicBezTo>
                <a:lnTo>
                  <a:pt x="294259" y="204499"/>
                </a:lnTo>
                <a:cubicBezTo>
                  <a:pt x="281530" y="199344"/>
                  <a:pt x="266754" y="200322"/>
                  <a:pt x="254649" y="207876"/>
                </a:cubicBezTo>
                <a:lnTo>
                  <a:pt x="237648" y="218363"/>
                </a:lnTo>
                <a:lnTo>
                  <a:pt x="237648" y="103894"/>
                </a:lnTo>
                <a:cubicBezTo>
                  <a:pt x="237648" y="95451"/>
                  <a:pt x="244413" y="88696"/>
                  <a:pt x="252869" y="88696"/>
                </a:cubicBezTo>
                <a:lnTo>
                  <a:pt x="326570" y="88696"/>
                </a:lnTo>
                <a:lnTo>
                  <a:pt x="410507" y="4799"/>
                </a:lnTo>
                <a:cubicBezTo>
                  <a:pt x="413755" y="1600"/>
                  <a:pt x="417984" y="0"/>
                  <a:pt x="4222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7" name="文本框 206">
            <a:extLst>
              <a:ext uri="{FF2B5EF4-FFF2-40B4-BE49-F238E27FC236}">
                <a16:creationId xmlns:a16="http://schemas.microsoft.com/office/drawing/2014/main" id="{327449F3-EAF4-4141-8353-AD3A92350521}"/>
              </a:ext>
            </a:extLst>
          </p:cNvPr>
          <p:cNvSpPr txBox="1"/>
          <p:nvPr/>
        </p:nvSpPr>
        <p:spPr>
          <a:xfrm>
            <a:off x="5376038" y="3583991"/>
            <a:ext cx="1387448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spcBef>
                <a:spcPct val="0"/>
              </a:spcBef>
              <a:defRPr/>
            </a:pPr>
            <a:r>
              <a:rPr lang="en-US" altLang="zh-CN" b="1">
                <a:cs typeface="+mn-ea"/>
                <a:sym typeface="+mn-lt"/>
              </a:rPr>
              <a:t>… text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034C5F55-6C21-47EB-A87F-0602E5652E2D}"/>
              </a:ext>
            </a:extLst>
          </p:cNvPr>
          <p:cNvSpPr txBox="1"/>
          <p:nvPr/>
        </p:nvSpPr>
        <p:spPr>
          <a:xfrm>
            <a:off x="1744049" y="1567854"/>
            <a:ext cx="2568113" cy="483522"/>
          </a:xfrm>
          <a:prstGeom prst="rect">
            <a:avLst/>
          </a:prstGeom>
          <a:noFill/>
        </p:spPr>
        <p:txBody>
          <a:bodyPr wrap="none" rtlCol="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全面辅导</a:t>
            </a:r>
          </a:p>
        </p:txBody>
      </p:sp>
      <p:sp>
        <p:nvSpPr>
          <p:cNvPr id="209" name="矩形 208">
            <a:extLst>
              <a:ext uri="{FF2B5EF4-FFF2-40B4-BE49-F238E27FC236}">
                <a16:creationId xmlns:a16="http://schemas.microsoft.com/office/drawing/2014/main" id="{CBAF4950-0A9D-4405-9FD0-3AC07433607A}"/>
              </a:ext>
            </a:extLst>
          </p:cNvPr>
          <p:cNvSpPr/>
          <p:nvPr/>
        </p:nvSpPr>
        <p:spPr bwMode="auto">
          <a:xfrm>
            <a:off x="1744049" y="2051376"/>
            <a:ext cx="2568113" cy="73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BBF4125F-1CC9-4ADA-BBA6-BB549997E55E}"/>
              </a:ext>
            </a:extLst>
          </p:cNvPr>
          <p:cNvSpPr txBox="1"/>
          <p:nvPr/>
        </p:nvSpPr>
        <p:spPr>
          <a:xfrm>
            <a:off x="1744049" y="4169439"/>
            <a:ext cx="2568113" cy="483522"/>
          </a:xfrm>
          <a:prstGeom prst="rect">
            <a:avLst/>
          </a:prstGeom>
          <a:noFill/>
        </p:spPr>
        <p:txBody>
          <a:bodyPr wrap="none" rtlCol="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单科抓取</a:t>
            </a:r>
          </a:p>
        </p:txBody>
      </p:sp>
      <p:sp>
        <p:nvSpPr>
          <p:cNvPr id="211" name="矩形 210">
            <a:extLst>
              <a:ext uri="{FF2B5EF4-FFF2-40B4-BE49-F238E27FC236}">
                <a16:creationId xmlns:a16="http://schemas.microsoft.com/office/drawing/2014/main" id="{88340A26-B560-4258-86F6-C600DC35CF29}"/>
              </a:ext>
            </a:extLst>
          </p:cNvPr>
          <p:cNvSpPr/>
          <p:nvPr/>
        </p:nvSpPr>
        <p:spPr bwMode="auto">
          <a:xfrm>
            <a:off x="1744049" y="4652961"/>
            <a:ext cx="2568113" cy="73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12" name="文本框 211">
            <a:extLst>
              <a:ext uri="{FF2B5EF4-FFF2-40B4-BE49-F238E27FC236}">
                <a16:creationId xmlns:a16="http://schemas.microsoft.com/office/drawing/2014/main" id="{3FB55AF9-9B0D-4280-BE0D-641891626935}"/>
              </a:ext>
            </a:extLst>
          </p:cNvPr>
          <p:cNvSpPr txBox="1"/>
          <p:nvPr/>
        </p:nvSpPr>
        <p:spPr>
          <a:xfrm>
            <a:off x="7879838" y="1567854"/>
            <a:ext cx="2568113" cy="483522"/>
          </a:xfrm>
          <a:prstGeom prst="rect">
            <a:avLst/>
          </a:prstGeom>
          <a:noFill/>
        </p:spPr>
        <p:txBody>
          <a:bodyPr wrap="none" rtlCol="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获得</a:t>
            </a:r>
            <a:r>
              <a:rPr lang="en-US" altLang="zh-CN" b="1" dirty="0">
                <a:cs typeface="+mn-ea"/>
                <a:sym typeface="+mn-lt"/>
              </a:rPr>
              <a:t>A</a:t>
            </a:r>
            <a:r>
              <a:rPr lang="zh-CN" altLang="en-US" b="1" dirty="0">
                <a:cs typeface="+mn-ea"/>
                <a:sym typeface="+mn-lt"/>
              </a:rPr>
              <a:t>班资格</a:t>
            </a:r>
          </a:p>
        </p:txBody>
      </p:sp>
      <p:sp>
        <p:nvSpPr>
          <p:cNvPr id="213" name="矩形 212">
            <a:extLst>
              <a:ext uri="{FF2B5EF4-FFF2-40B4-BE49-F238E27FC236}">
                <a16:creationId xmlns:a16="http://schemas.microsoft.com/office/drawing/2014/main" id="{9D5F1A5B-0F84-463D-8F69-AA2506659EF6}"/>
              </a:ext>
            </a:extLst>
          </p:cNvPr>
          <p:cNvSpPr/>
          <p:nvPr/>
        </p:nvSpPr>
        <p:spPr bwMode="auto">
          <a:xfrm>
            <a:off x="7879838" y="2051376"/>
            <a:ext cx="2568113" cy="73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14" name="文本框 213">
            <a:extLst>
              <a:ext uri="{FF2B5EF4-FFF2-40B4-BE49-F238E27FC236}">
                <a16:creationId xmlns:a16="http://schemas.microsoft.com/office/drawing/2014/main" id="{303266C0-F0C6-4F49-A4BA-6A4BE01A5094}"/>
              </a:ext>
            </a:extLst>
          </p:cNvPr>
          <p:cNvSpPr txBox="1"/>
          <p:nvPr/>
        </p:nvSpPr>
        <p:spPr>
          <a:xfrm>
            <a:off x="7879838" y="4169439"/>
            <a:ext cx="2568113" cy="483522"/>
          </a:xfrm>
          <a:prstGeom prst="rect">
            <a:avLst/>
          </a:prstGeom>
          <a:noFill/>
        </p:spPr>
        <p:txBody>
          <a:bodyPr wrap="none" rtlCol="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身体素质提升</a:t>
            </a:r>
          </a:p>
        </p:txBody>
      </p:sp>
      <p:sp>
        <p:nvSpPr>
          <p:cNvPr id="215" name="矩形 214">
            <a:extLst>
              <a:ext uri="{FF2B5EF4-FFF2-40B4-BE49-F238E27FC236}">
                <a16:creationId xmlns:a16="http://schemas.microsoft.com/office/drawing/2014/main" id="{0FB86B8A-C6EE-4CDA-84ED-9D52C99D2290}"/>
              </a:ext>
            </a:extLst>
          </p:cNvPr>
          <p:cNvSpPr/>
          <p:nvPr/>
        </p:nvSpPr>
        <p:spPr bwMode="auto">
          <a:xfrm>
            <a:off x="7879838" y="4652961"/>
            <a:ext cx="2568113" cy="73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工作完成情况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95" name="任意多边形: 形状 94">
            <a:extLst>
              <a:ext uri="{FF2B5EF4-FFF2-40B4-BE49-F238E27FC236}">
                <a16:creationId xmlns:a16="http://schemas.microsoft.com/office/drawing/2014/main" id="{5296FF39-504F-48F1-A050-0A20FD2FFB73}"/>
              </a:ext>
            </a:extLst>
          </p:cNvPr>
          <p:cNvSpPr/>
          <p:nvPr/>
        </p:nvSpPr>
        <p:spPr>
          <a:xfrm>
            <a:off x="794211" y="1"/>
            <a:ext cx="10603580" cy="4372938"/>
          </a:xfrm>
          <a:custGeom>
            <a:avLst/>
            <a:gdLst>
              <a:gd name="connsiteX0" fmla="*/ 0 w 10603580"/>
              <a:gd name="connsiteY0" fmla="*/ 0 h 4372938"/>
              <a:gd name="connsiteX1" fmla="*/ 10603580 w 10603580"/>
              <a:gd name="connsiteY1" fmla="*/ 0 h 4372938"/>
              <a:gd name="connsiteX2" fmla="*/ 10592742 w 10603580"/>
              <a:gd name="connsiteY2" fmla="*/ 60687 h 4372938"/>
              <a:gd name="connsiteX3" fmla="*/ 5301790 w 10603580"/>
              <a:gd name="connsiteY3" fmla="*/ 4372938 h 4372938"/>
              <a:gd name="connsiteX4" fmla="*/ 10838 w 10603580"/>
              <a:gd name="connsiteY4" fmla="*/ 60687 h 437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3580" h="4372938">
                <a:moveTo>
                  <a:pt x="0" y="0"/>
                </a:moveTo>
                <a:lnTo>
                  <a:pt x="10603580" y="0"/>
                </a:lnTo>
                <a:lnTo>
                  <a:pt x="10592742" y="60687"/>
                </a:lnTo>
                <a:cubicBezTo>
                  <a:pt x="10089150" y="2521684"/>
                  <a:pt x="7911661" y="4372938"/>
                  <a:pt x="5301790" y="4372938"/>
                </a:cubicBezTo>
                <a:cubicBezTo>
                  <a:pt x="2691919" y="4372938"/>
                  <a:pt x="514431" y="2521684"/>
                  <a:pt x="10838" y="60687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50000"/>
                  <a:alpha val="15000"/>
                </a:schemeClr>
              </a:gs>
              <a:gs pos="74000">
                <a:schemeClr val="bg1">
                  <a:lumMod val="50000"/>
                  <a:alpha val="0"/>
                </a:schemeClr>
              </a:gs>
            </a:gsLst>
            <a:lin ang="5400000" scaled="1"/>
          </a:gradFill>
          <a:ln>
            <a:gradFill>
              <a:gsLst>
                <a:gs pos="100000">
                  <a:schemeClr val="bg1">
                    <a:lumMod val="50000"/>
                    <a:alpha val="56000"/>
                  </a:schemeClr>
                </a:gs>
                <a:gs pos="64000">
                  <a:schemeClr val="bg1">
                    <a:lumMod val="50000"/>
                    <a:alpha val="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rgbClr val="F2F2F2"/>
              </a:solidFill>
              <a:cs typeface="+mn-ea"/>
              <a:sym typeface="+mn-lt"/>
            </a:endParaRPr>
          </a:p>
        </p:txBody>
      </p:sp>
      <p:sp>
        <p:nvSpPr>
          <p:cNvPr id="114" name="椭圆 113">
            <a:extLst>
              <a:ext uri="{FF2B5EF4-FFF2-40B4-BE49-F238E27FC236}">
                <a16:creationId xmlns:a16="http://schemas.microsoft.com/office/drawing/2014/main" id="{C4D9AECF-DCA9-4B49-A0B0-860333696516}"/>
              </a:ext>
            </a:extLst>
          </p:cNvPr>
          <p:cNvSpPr/>
          <p:nvPr/>
        </p:nvSpPr>
        <p:spPr>
          <a:xfrm>
            <a:off x="2500685" y="3004335"/>
            <a:ext cx="151075" cy="1510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5" name="椭圆 114">
            <a:extLst>
              <a:ext uri="{FF2B5EF4-FFF2-40B4-BE49-F238E27FC236}">
                <a16:creationId xmlns:a16="http://schemas.microsoft.com/office/drawing/2014/main" id="{CE61F9DD-6B67-4044-80EF-FD13B73EFF3B}"/>
              </a:ext>
            </a:extLst>
          </p:cNvPr>
          <p:cNvSpPr/>
          <p:nvPr/>
        </p:nvSpPr>
        <p:spPr>
          <a:xfrm>
            <a:off x="9540240" y="3004335"/>
            <a:ext cx="151075" cy="1510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6" name="椭圆 115">
            <a:extLst>
              <a:ext uri="{FF2B5EF4-FFF2-40B4-BE49-F238E27FC236}">
                <a16:creationId xmlns:a16="http://schemas.microsoft.com/office/drawing/2014/main" id="{135696F6-3118-4A27-B272-2B95F49DDDD4}"/>
              </a:ext>
            </a:extLst>
          </p:cNvPr>
          <p:cNvSpPr/>
          <p:nvPr/>
        </p:nvSpPr>
        <p:spPr>
          <a:xfrm>
            <a:off x="4533361" y="4104148"/>
            <a:ext cx="151075" cy="1510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7" name="椭圆 116">
            <a:extLst>
              <a:ext uri="{FF2B5EF4-FFF2-40B4-BE49-F238E27FC236}">
                <a16:creationId xmlns:a16="http://schemas.microsoft.com/office/drawing/2014/main" id="{B86AEB81-A3F0-43B8-8AB8-635EF7B7EA6F}"/>
              </a:ext>
            </a:extLst>
          </p:cNvPr>
          <p:cNvSpPr/>
          <p:nvPr/>
        </p:nvSpPr>
        <p:spPr>
          <a:xfrm>
            <a:off x="7507564" y="4104148"/>
            <a:ext cx="151075" cy="15107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8F8B44E4-0810-4F2C-8635-D10841146B25}"/>
              </a:ext>
            </a:extLst>
          </p:cNvPr>
          <p:cNvSpPr txBox="1"/>
          <p:nvPr/>
        </p:nvSpPr>
        <p:spPr>
          <a:xfrm flipH="1">
            <a:off x="3395132" y="5169753"/>
            <a:ext cx="2679699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C37F29B9-8C48-43C7-ADED-DC4F96D001D8}"/>
              </a:ext>
            </a:extLst>
          </p:cNvPr>
          <p:cNvSpPr/>
          <p:nvPr/>
        </p:nvSpPr>
        <p:spPr>
          <a:xfrm flipH="1">
            <a:off x="3395134" y="4812218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单科抓取</a:t>
            </a:r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ECC6B6F0-33D9-4774-B209-A5589B566A97}"/>
              </a:ext>
            </a:extLst>
          </p:cNvPr>
          <p:cNvSpPr txBox="1"/>
          <p:nvPr/>
        </p:nvSpPr>
        <p:spPr>
          <a:xfrm flipH="1">
            <a:off x="6117165" y="5169753"/>
            <a:ext cx="2679699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73ED7D82-B228-45CE-BDF8-03AB2B8B9D48}"/>
              </a:ext>
            </a:extLst>
          </p:cNvPr>
          <p:cNvSpPr/>
          <p:nvPr/>
        </p:nvSpPr>
        <p:spPr>
          <a:xfrm flipH="1">
            <a:off x="6117167" y="4812218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身体素质提升</a:t>
            </a:r>
          </a:p>
        </p:txBody>
      </p:sp>
      <p:sp>
        <p:nvSpPr>
          <p:cNvPr id="108" name="文本框 107">
            <a:extLst>
              <a:ext uri="{FF2B5EF4-FFF2-40B4-BE49-F238E27FC236}">
                <a16:creationId xmlns:a16="http://schemas.microsoft.com/office/drawing/2014/main" id="{397BC044-E6A9-4C00-9146-00F628B0D4E0}"/>
              </a:ext>
            </a:extLst>
          </p:cNvPr>
          <p:cNvSpPr txBox="1"/>
          <p:nvPr/>
        </p:nvSpPr>
        <p:spPr>
          <a:xfrm flipH="1">
            <a:off x="673099" y="4279114"/>
            <a:ext cx="2679699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09" name="矩形 108">
            <a:extLst>
              <a:ext uri="{FF2B5EF4-FFF2-40B4-BE49-F238E27FC236}">
                <a16:creationId xmlns:a16="http://schemas.microsoft.com/office/drawing/2014/main" id="{158355A4-C62E-4C3D-91B4-41CE7C1A921F}"/>
              </a:ext>
            </a:extLst>
          </p:cNvPr>
          <p:cNvSpPr/>
          <p:nvPr/>
        </p:nvSpPr>
        <p:spPr>
          <a:xfrm flipH="1">
            <a:off x="673101" y="3921579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全面辅导</a:t>
            </a:r>
          </a:p>
        </p:txBody>
      </p:sp>
      <p:sp>
        <p:nvSpPr>
          <p:cNvPr id="106" name="文本框 105">
            <a:extLst>
              <a:ext uri="{FF2B5EF4-FFF2-40B4-BE49-F238E27FC236}">
                <a16:creationId xmlns:a16="http://schemas.microsoft.com/office/drawing/2014/main" id="{E56024A4-5E38-428F-9753-7950A288F8FD}"/>
              </a:ext>
            </a:extLst>
          </p:cNvPr>
          <p:cNvSpPr txBox="1"/>
          <p:nvPr/>
        </p:nvSpPr>
        <p:spPr>
          <a:xfrm flipH="1">
            <a:off x="8839199" y="4255564"/>
            <a:ext cx="2679699" cy="973872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16ABD782-4101-4D9D-8B70-E6AE1AE7F242}"/>
              </a:ext>
            </a:extLst>
          </p:cNvPr>
          <p:cNvSpPr/>
          <p:nvPr/>
        </p:nvSpPr>
        <p:spPr>
          <a:xfrm flipH="1">
            <a:off x="8839201" y="3898029"/>
            <a:ext cx="2679699" cy="357534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4378">
              <a:spcBef>
                <a:spcPct val="0"/>
              </a:spcBef>
              <a:defRPr/>
            </a:pPr>
            <a:r>
              <a:rPr lang="zh-CN" altLang="en-US" b="1" dirty="0">
                <a:cs typeface="+mn-ea"/>
                <a:sym typeface="+mn-lt"/>
              </a:rPr>
              <a:t>获得</a:t>
            </a:r>
            <a:r>
              <a:rPr lang="en-US" altLang="zh-CN" b="1" dirty="0">
                <a:cs typeface="+mn-ea"/>
                <a:sym typeface="+mn-lt"/>
              </a:rPr>
              <a:t>A</a:t>
            </a:r>
            <a:r>
              <a:rPr lang="zh-CN" altLang="en-US" b="1" dirty="0">
                <a:cs typeface="+mn-ea"/>
                <a:sym typeface="+mn-lt"/>
              </a:rPr>
              <a:t>班资格</a:t>
            </a:r>
          </a:p>
        </p:txBody>
      </p:sp>
      <p:sp>
        <p:nvSpPr>
          <p:cNvPr id="102" name="椭圆 101">
            <a:extLst>
              <a:ext uri="{FF2B5EF4-FFF2-40B4-BE49-F238E27FC236}">
                <a16:creationId xmlns:a16="http://schemas.microsoft.com/office/drawing/2014/main" id="{88596F63-883D-4C79-86C9-024CF6B1F5FE}"/>
              </a:ext>
            </a:extLst>
          </p:cNvPr>
          <p:cNvSpPr/>
          <p:nvPr/>
        </p:nvSpPr>
        <p:spPr>
          <a:xfrm>
            <a:off x="5318760" y="1130300"/>
            <a:ext cx="1554480" cy="1554480"/>
          </a:xfrm>
          <a:prstGeom prst="ellipse">
            <a:avLst/>
          </a:prstGeom>
          <a:blipFill>
            <a:blip r:embed="rId3"/>
            <a:stretch>
              <a:fillRect l="-39207" r="-38571"/>
            </a:stretch>
          </a:blipFill>
          <a:ln w="285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A2053C96-9A1B-45BC-81C2-1F677899F3BE}"/>
              </a:ext>
            </a:extLst>
          </p:cNvPr>
          <p:cNvGrpSpPr/>
          <p:nvPr/>
        </p:nvGrpSpPr>
        <p:grpSpPr>
          <a:xfrm>
            <a:off x="4727575" y="2763164"/>
            <a:ext cx="2736850" cy="1045565"/>
            <a:chOff x="4727574" y="2743679"/>
            <a:chExt cx="2736850" cy="1045565"/>
          </a:xfrm>
        </p:grpSpPr>
        <p:sp>
          <p:nvSpPr>
            <p:cNvPr id="104" name="文本框 103">
              <a:extLst>
                <a:ext uri="{FF2B5EF4-FFF2-40B4-BE49-F238E27FC236}">
                  <a16:creationId xmlns:a16="http://schemas.microsoft.com/office/drawing/2014/main" id="{2699A438-37B3-4173-8F21-ADEF97150E2C}"/>
                </a:ext>
              </a:extLst>
            </p:cNvPr>
            <p:cNvSpPr txBox="1"/>
            <p:nvPr/>
          </p:nvSpPr>
          <p:spPr>
            <a:xfrm flipH="1">
              <a:off x="4727575" y="3182958"/>
              <a:ext cx="2736849" cy="60628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105" name="矩形 104">
              <a:extLst>
                <a:ext uri="{FF2B5EF4-FFF2-40B4-BE49-F238E27FC236}">
                  <a16:creationId xmlns:a16="http://schemas.microsoft.com/office/drawing/2014/main" id="{F6F41EFA-8A7F-43F6-B3C7-46329C4D1A5B}"/>
                </a:ext>
              </a:extLst>
            </p:cNvPr>
            <p:cNvSpPr/>
            <p:nvPr/>
          </p:nvSpPr>
          <p:spPr>
            <a:xfrm flipH="1">
              <a:off x="4727574" y="2743679"/>
              <a:ext cx="2736849" cy="439278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i="1" dirty="0">
                  <a:solidFill>
                    <a:schemeClr val="accent2"/>
                  </a:solidFill>
                  <a:cs typeface="+mn-ea"/>
                  <a:sym typeface="+mn-lt"/>
                </a:rPr>
                <a:t>Text here</a:t>
              </a:r>
              <a:endParaRPr lang="zh-CN" altLang="en-US" sz="2000" b="1" i="1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2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成功项目展示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277604" y="369765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6768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4449879b-5bf3-495f-8dd1-6494be33c84d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8274B"/>
      </a:accent1>
      <a:accent2>
        <a:srgbClr val="12D5D5"/>
      </a:accent2>
      <a:accent3>
        <a:srgbClr val="9D91F7"/>
      </a:accent3>
      <a:accent4>
        <a:srgbClr val="F2D08B"/>
      </a:accent4>
      <a:accent5>
        <a:srgbClr val="00B3BC"/>
      </a:accent5>
      <a:accent6>
        <a:srgbClr val="81BE4D"/>
      </a:accent6>
      <a:hlink>
        <a:srgbClr val="4472C4"/>
      </a:hlink>
      <a:folHlink>
        <a:srgbClr val="BFBFBF"/>
      </a:folHlink>
    </a:clrScheme>
    <a:fontScheme name="tf3k4nx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8274B"/>
    </a:accent1>
    <a:accent2>
      <a:srgbClr val="12D5D5"/>
    </a:accent2>
    <a:accent3>
      <a:srgbClr val="9D91F7"/>
    </a:accent3>
    <a:accent4>
      <a:srgbClr val="F2D08B"/>
    </a:accent4>
    <a:accent5>
      <a:srgbClr val="00B3BC"/>
    </a:accent5>
    <a:accent6>
      <a:srgbClr val="81BE4D"/>
    </a:accent6>
    <a:hlink>
      <a:srgbClr val="4472C4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Props1.xml><?xml version="1.0" encoding="utf-8"?>
<ds:datastoreItem xmlns:ds="http://schemas.openxmlformats.org/officeDocument/2006/customXml" ds:itemID="{6DF718C3-6AEF-492D-9EF2-3149F08C59BF}"/>
</file>

<file path=customXml/itemProps2.xml><?xml version="1.0" encoding="utf-8"?>
<ds:datastoreItem xmlns:ds="http://schemas.openxmlformats.org/officeDocument/2006/customXml" ds:itemID="{7DC5BAAD-7016-42A0-B625-BC00BD87D2D0}"/>
</file>

<file path=customXml/itemProps3.xml><?xml version="1.0" encoding="utf-8"?>
<ds:datastoreItem xmlns:ds="http://schemas.openxmlformats.org/officeDocument/2006/customXml" ds:itemID="{1410D230-38D6-47FD-A701-FE8909D376ED}"/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27</TotalTime>
  <Words>638</Words>
  <Application>Microsoft Office PowerPoint</Application>
  <PresentationFormat>宽屏</PresentationFormat>
  <Paragraphs>143</Paragraphs>
  <Slides>1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0" baseType="lpstr">
      <vt:lpstr>等线</vt:lpstr>
      <vt:lpstr>Arial</vt:lpstr>
      <vt:lpstr>Calibri</vt:lpstr>
      <vt:lpstr>主题5</vt:lpstr>
      <vt:lpstr>think-cell Slide</vt:lpstr>
      <vt:lpstr>20XX-XX三年级二班 年度教学总结</vt:lpstr>
      <vt:lpstr>PowerPoint 演示文稿</vt:lpstr>
      <vt:lpstr>年度工作概述</vt:lpstr>
      <vt:lpstr>年度工作概述1</vt:lpstr>
      <vt:lpstr>年度工作概述2</vt:lpstr>
      <vt:lpstr>工作完成情况</vt:lpstr>
      <vt:lpstr>工作完成情况1</vt:lpstr>
      <vt:lpstr>工作完成情况2</vt:lpstr>
      <vt:lpstr>成功项目展示</vt:lpstr>
      <vt:lpstr>成功项目展示1</vt:lpstr>
      <vt:lpstr>成功项目展示2</vt:lpstr>
      <vt:lpstr>明年工作计划</vt:lpstr>
      <vt:lpstr>明年工作计划1</vt:lpstr>
      <vt:lpstr>明年工作计划2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i yi Zhang (Chinasoft Shanghai)</cp:lastModifiedBy>
  <cp:revision>96</cp:revision>
  <cp:lastPrinted>2017-11-14T16:00:00Z</cp:lastPrinted>
  <dcterms:created xsi:type="dcterms:W3CDTF">2017-11-14T16:00:00Z</dcterms:created>
  <dcterms:modified xsi:type="dcterms:W3CDTF">2022-09-29T07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